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s/slide18.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10.xml" ContentType="application/vnd.openxmlformats-officedocument.presentationml.slide+xml"/>
  <Override PartName="/ppt/slides/slide17.xml" ContentType="application/vnd.openxmlformats-officedocument.presentationml.slide+xml"/>
  <Override PartName="/ppt/slides/slide20.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1.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19.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notesSlides/notesSlide7.xml" ContentType="application/vnd.openxmlformats-officedocument.presentationml.notesSlide+xml"/>
  <Override PartName="/ppt/notesSlides/notesSlide16.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8.xml" ContentType="application/vnd.openxmlformats-officedocument.presentationml.notesSlide+xml"/>
  <Override PartName="/ppt/notesSlides/notesSlide6.xml" ContentType="application/vnd.openxmlformats-officedocument.presentationml.notesSlide+xml"/>
  <Override PartName="/ppt/notesSlides/notesSlide10.xml" ContentType="application/vnd.openxmlformats-officedocument.presentationml.notesSlide+xml"/>
  <Override PartName="/ppt/notesSlides/notesSlide15.xml" ContentType="application/vnd.openxmlformats-officedocument.presentationml.notesSlide+xml"/>
  <Override PartName="/ppt/notesSlides/notesSlide14.xml" ContentType="application/vnd.openxmlformats-officedocument.presentationml.notesSlide+xml"/>
  <Override PartName="/ppt/notesSlides/notesSlide13.xml" ContentType="application/vnd.openxmlformats-officedocument.presentationml.notesSlide+xml"/>
  <Override PartName="/ppt/slideMasters/slideMaster1.xml" ContentType="application/vnd.openxmlformats-officedocument.presentationml.slideMaster+xml"/>
  <Override PartName="/ppt/notesSlides/notesSlide12.xml" ContentType="application/vnd.openxmlformats-officedocument.presentationml.notesSlide+xml"/>
  <Override PartName="/ppt/notesSlides/notesSlide11.xml" ContentType="application/vnd.openxmlformats-officedocument.presentationml.notesSlide+xml"/>
  <Override PartName="/ppt/notesSlides/notesSlide9.xml" ContentType="application/vnd.openxmlformats-officedocument.presentationml.notesSlide+xml"/>
  <Override PartName="/ppt/notesSlides/notesSlide2.xml" ContentType="application/vnd.openxmlformats-officedocument.presentationml.notesSlid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notesSlides/notesSlide3.xml" ContentType="application/vnd.openxmlformats-officedocument.presentationml.notesSlide+xml"/>
  <Override PartName="/ppt/notesSlides/notesSlide1.xml" ContentType="application/vnd.openxmlformats-officedocument.presentationml.notesSlide+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theme/theme2.xml" ContentType="application/vnd.openxmlformats-officedocument.theme+xml"/>
  <Override PartName="/ppt/theme/theme3.xml" ContentType="application/vnd.openxmlformats-officedocument.theme+xml"/>
  <Override PartName="/ppt/notesMasters/notesMaster1.xml" ContentType="application/vnd.openxmlformats-officedocument.presentationml.notesMaster+xml"/>
  <Override PartName="/ppt/theme/theme1.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docProps/app.xml" ContentType="application/vnd.openxmlformats-officedocument.extended-properties+xml"/>
  <Override PartName="/docProps/core.xml" ContentType="application/vnd.openxmlformats-package.core-properties+xml"/>
  <Override PartName="/ppt/tags/tag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32" r:id="rId1"/>
  </p:sldMasterIdLst>
  <p:notesMasterIdLst>
    <p:notesMasterId r:id="rId24"/>
  </p:notesMasterIdLst>
  <p:handoutMasterIdLst>
    <p:handoutMasterId r:id="rId25"/>
  </p:handoutMasterIdLst>
  <p:sldIdLst>
    <p:sldId id="1682" r:id="rId2"/>
    <p:sldId id="1683" r:id="rId3"/>
    <p:sldId id="1809" r:id="rId4"/>
    <p:sldId id="1685" r:id="rId5"/>
    <p:sldId id="1686" r:id="rId6"/>
    <p:sldId id="1688" r:id="rId7"/>
    <p:sldId id="1689" r:id="rId8"/>
    <p:sldId id="1690" r:id="rId9"/>
    <p:sldId id="1691" r:id="rId10"/>
    <p:sldId id="1694" r:id="rId11"/>
    <p:sldId id="1695" r:id="rId12"/>
    <p:sldId id="1810" r:id="rId13"/>
    <p:sldId id="1697" r:id="rId14"/>
    <p:sldId id="1825" r:id="rId15"/>
    <p:sldId id="1811" r:id="rId16"/>
    <p:sldId id="1812" r:id="rId17"/>
    <p:sldId id="1826" r:id="rId18"/>
    <p:sldId id="1778" r:id="rId19"/>
    <p:sldId id="1827" r:id="rId20"/>
    <p:sldId id="1780" r:id="rId21"/>
    <p:sldId id="1828" r:id="rId22"/>
    <p:sldId id="1829" r:id="rId2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llect and load big data" id="{8C79BD0A-A134-4E6B-8C3D-085C0A5026B6}">
          <p14:sldIdLst>
            <p14:sldId id="1682"/>
            <p14:sldId id="1683"/>
            <p14:sldId id="1809"/>
            <p14:sldId id="1685"/>
            <p14:sldId id="1686"/>
            <p14:sldId id="1688"/>
            <p14:sldId id="1689"/>
            <p14:sldId id="1690"/>
            <p14:sldId id="1691"/>
            <p14:sldId id="1694"/>
            <p14:sldId id="1695"/>
            <p14:sldId id="1810"/>
            <p14:sldId id="1697"/>
          </p14:sldIdLst>
        </p14:section>
        <p14:section name="HDI Clusters" id="{69CB43B2-8A26-455D-AFBD-0D9C016410E7}">
          <p14:sldIdLst>
            <p14:sldId id="1825"/>
            <p14:sldId id="1811"/>
            <p14:sldId id="1812"/>
          </p14:sldIdLst>
        </p14:section>
        <p14:section name="Cluster Customizations" id="{49D3EA4E-4401-4917-AFEF-ED65A5AC95D9}">
          <p14:sldIdLst>
            <p14:sldId id="1826"/>
            <p14:sldId id="1778"/>
          </p14:sldIdLst>
        </p14:section>
        <p14:section name="Visual Studio Tooling" id="{950222D2-4E92-4129-AB1D-7EDAA85B1594}">
          <p14:sldIdLst>
            <p14:sldId id="1827"/>
            <p14:sldId id="1780"/>
            <p14:sldId id="1828"/>
            <p14:sldId id="1829"/>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5050"/>
    <a:srgbClr val="767676"/>
    <a:srgbClr val="DBDBDB"/>
    <a:srgbClr val="0072C6"/>
    <a:srgbClr val="68217A"/>
    <a:srgbClr val="FAED22"/>
    <a:srgbClr val="03020E"/>
    <a:srgbClr val="006256"/>
    <a:srgbClr val="595959"/>
    <a:srgbClr val="B490B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282" autoAdjust="0"/>
    <p:restoredTop sz="86240" autoAdjust="0"/>
  </p:normalViewPr>
  <p:slideViewPr>
    <p:cSldViewPr snapToGrid="0" snapToObjects="1">
      <p:cViewPr varScale="1">
        <p:scale>
          <a:sx n="59" d="100"/>
          <a:sy n="59" d="100"/>
        </p:scale>
        <p:origin x="264" y="58"/>
      </p:cViewPr>
      <p:guideLst/>
    </p:cSldViewPr>
  </p:slideViewPr>
  <p:outlineViewPr>
    <p:cViewPr>
      <p:scale>
        <a:sx n="33" d="100"/>
        <a:sy n="33" d="100"/>
      </p:scale>
      <p:origin x="0" y="0"/>
    </p:cViewPr>
  </p:outlineViewPr>
  <p:notesTextViewPr>
    <p:cViewPr>
      <p:scale>
        <a:sx n="150" d="100"/>
        <a:sy n="150" d="100"/>
      </p:scale>
      <p:origin x="0" y="0"/>
    </p:cViewPr>
  </p:notesTextViewPr>
  <p:sorterViewPr>
    <p:cViewPr varScale="1">
      <p:scale>
        <a:sx n="1" d="1"/>
        <a:sy n="1" d="1"/>
      </p:scale>
      <p:origin x="0" y="-8532"/>
    </p:cViewPr>
  </p:sorterViewPr>
  <p:notesViewPr>
    <p:cSldViewPr snapToGrid="0" snapToObjects="1" showGuides="1">
      <p:cViewPr varScale="1">
        <p:scale>
          <a:sx n="88" d="100"/>
          <a:sy n="88" d="100"/>
        </p:scale>
        <p:origin x="3822"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33" Type="http://schemas.openxmlformats.org/officeDocument/2006/relationships/customXml" Target="../customXml/item3.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32" Type="http://schemas.openxmlformats.org/officeDocument/2006/relationships/customXml" Target="../customXml/item2.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ustomXml" Target="../customXml/item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1240DAF-4509-4283-9FF4-DDA9FA99C811}" type="datetime1">
              <a:rPr lang="en-US" smtClean="0">
                <a:latin typeface="Segoe UI" pitchFamily="34" charset="0"/>
              </a:rPr>
              <a:t>4/2/2015</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smtClean="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590F7684-CECC-4566-98F8-54DC205EBE94}" type="datetime1">
              <a:rPr lang="en-US" smtClean="0"/>
              <a:t>4/2/2015</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40396B2-28DB-4FED-B8C9-9CF6C0335AB2}" type="datetime1">
              <a:rPr lang="en-US" smtClean="0"/>
              <a:t>4/2/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9927895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13</a:t>
            </a:fld>
            <a:endParaRPr lang="en-US">
              <a:solidFill>
                <a:prstClr val="black"/>
              </a:solidFill>
            </a:endParaRPr>
          </a:p>
        </p:txBody>
      </p:sp>
    </p:spTree>
    <p:extLst>
      <p:ext uri="{BB962C8B-B14F-4D97-AF65-F5344CB8AC3E}">
        <p14:creationId xmlns:p14="http://schemas.microsoft.com/office/powerpoint/2010/main" val="22103049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F36F2424-EA31-493A-99AF-258DCB705A86}" type="datetime1">
              <a:rPr lang="en-US" smtClean="0"/>
              <a:t>4/2/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8337065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DFD44857-BBF3-43F9-97EC-D5B2C6D75886}" type="datetime1">
              <a:rPr lang="en-US" smtClean="0"/>
              <a:t>4/2/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27547806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F36F2424-EA31-493A-99AF-258DCB705A86}" type="datetime1">
              <a:rPr lang="en-US" smtClean="0"/>
              <a:t>4/2/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42805132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590F7684-CECC-4566-98F8-54DC205EBE94}" type="datetime1">
              <a:rPr lang="en-US" smtClean="0"/>
              <a:t>4/2/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7657791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F36F2424-EA31-493A-99AF-258DCB705A86}" type="datetime1">
              <a:rPr lang="en-US" smtClean="0"/>
              <a:t>4/2/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36289285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pPr>
                <a:defRPr/>
              </a:pPr>
              <a:t>21</a:t>
            </a:fld>
            <a:endParaRPr lang="en-US"/>
          </a:p>
        </p:txBody>
      </p:sp>
    </p:spTree>
    <p:extLst>
      <p:ext uri="{BB962C8B-B14F-4D97-AF65-F5344CB8AC3E}">
        <p14:creationId xmlns:p14="http://schemas.microsoft.com/office/powerpoint/2010/main" val="13544441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CA5ADD74-641D-4CFD-8B5F-2A804F940E1A}" type="datetime1">
              <a:rPr lang="en-US" smtClean="0"/>
              <a:t>4/2/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8728319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FD52474B-0DD5-4019-B1E5-A0ABDBE68FBB}" type="datetime1">
              <a:rPr lang="en-US" smtClean="0"/>
              <a:t>4/2/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30510024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81819DEC-4466-4403-A328-7BF86C77DDB1}" type="datetime1">
              <a:rPr lang="en-US" smtClean="0"/>
              <a:t>4/2/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31489817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9306" lvl="1" indent="0">
              <a:buNone/>
            </a:pPr>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C690FEDC-C7B0-437E-8E9B-6BFD923A5324}" type="datetime1">
              <a:rPr lang="en-US" smtClean="0"/>
              <a:t>4/2/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42828422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F36F2424-EA31-493A-99AF-258DCB705A86}" type="datetime1">
              <a:rPr lang="en-US" smtClean="0"/>
              <a:t>4/2/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4946714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059D4D2D-C6E4-458B-877C-A7558DA25873}" type="datetime1">
              <a:rPr lang="en-US" smtClean="0">
                <a:solidFill>
                  <a:prstClr val="black"/>
                </a:solidFill>
              </a:rPr>
              <a:t>4/2/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4243105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11</a:t>
            </a:fld>
            <a:endParaRPr lang="en-US">
              <a:solidFill>
                <a:prstClr val="black"/>
              </a:solidFill>
            </a:endParaRPr>
          </a:p>
        </p:txBody>
      </p:sp>
    </p:spTree>
    <p:extLst>
      <p:ext uri="{BB962C8B-B14F-4D97-AF65-F5344CB8AC3E}">
        <p14:creationId xmlns:p14="http://schemas.microsoft.com/office/powerpoint/2010/main" val="7808959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12</a:t>
            </a:fld>
            <a:endParaRPr lang="en-US">
              <a:solidFill>
                <a:prstClr val="black"/>
              </a:solidFill>
            </a:endParaRPr>
          </a:p>
        </p:txBody>
      </p:sp>
    </p:spTree>
    <p:extLst>
      <p:ext uri="{BB962C8B-B14F-4D97-AF65-F5344CB8AC3E}">
        <p14:creationId xmlns:p14="http://schemas.microsoft.com/office/powerpoint/2010/main" val="20405487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30" y="-1"/>
            <a:ext cx="12436475" cy="6995517"/>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8158823" y="2348029"/>
            <a:ext cx="2812534" cy="2806484"/>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705600" y="241300"/>
            <a:ext cx="5573713"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0" y="0"/>
            <a:ext cx="6175127"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7" rIns="0" bIns="46637" anchor="ctr"/>
          <a:lstStyle/>
          <a:p>
            <a:pPr algn="ctr" defTabSz="932472">
              <a:defRPr/>
            </a:pPr>
            <a:endParaRPr lang="en-US" sz="2000"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73075" y="479425"/>
            <a:ext cx="133032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74639" y="1456836"/>
            <a:ext cx="5597112" cy="915537"/>
          </a:xfrm>
        </p:spPr>
        <p:txBody>
          <a:bodyPr/>
          <a:lstStyle>
            <a:lvl1pPr>
              <a:defRPr sz="5200">
                <a:solidFill>
                  <a:schemeClr val="bg1"/>
                </a:solidFill>
              </a:defRPr>
            </a:lvl1pPr>
          </a:lstStyle>
          <a:p>
            <a:r>
              <a:rPr lang="en-US" smtClean="0"/>
              <a:t>Click to edit Master title style</a:t>
            </a:r>
            <a:endParaRPr lang="en-US" dirty="0"/>
          </a:p>
        </p:txBody>
      </p:sp>
      <p:sp>
        <p:nvSpPr>
          <p:cNvPr id="17" name="Subtitle 2"/>
          <p:cNvSpPr>
            <a:spLocks noGrp="1"/>
          </p:cNvSpPr>
          <p:nvPr>
            <p:ph type="subTitle" idx="1"/>
          </p:nvPr>
        </p:nvSpPr>
        <p:spPr>
          <a:xfrm>
            <a:off x="274702" y="4440118"/>
            <a:ext cx="5597048" cy="1076679"/>
          </a:xfrm>
        </p:spPr>
        <p:txBody>
          <a:bodyPr/>
          <a:lstStyle>
            <a:lvl1pPr marL="0" indent="0" algn="l">
              <a:lnSpc>
                <a:spcPts val="2700"/>
              </a:lnSpc>
              <a:buNone/>
              <a:defRPr sz="22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smtClean="0"/>
          </a:p>
        </p:txBody>
      </p:sp>
    </p:spTree>
    <p:extLst>
      <p:ext uri="{BB962C8B-B14F-4D97-AF65-F5344CB8AC3E}">
        <p14:creationId xmlns:p14="http://schemas.microsoft.com/office/powerpoint/2010/main" val="333290454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p:nvSpPr>
        <p:spPr bwMode="hidden">
          <a:xfrm>
            <a:off x="1" y="1178952"/>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28850" y="1476624"/>
            <a:ext cx="11378776" cy="2131353"/>
          </a:xfrm>
        </p:spPr>
        <p:txBody>
          <a:bodyPr/>
          <a:lstStyle>
            <a:lvl1pPr marL="0" indent="0">
              <a:buNone/>
              <a:defRPr sz="3300">
                <a:gradFill>
                  <a:gsLst>
                    <a:gs pos="1250">
                      <a:srgbClr val="000000"/>
                    </a:gs>
                    <a:gs pos="100000">
                      <a:srgbClr val="000000"/>
                    </a:gs>
                  </a:gsLst>
                  <a:lin ang="5400000" scaled="0"/>
                </a:gradFill>
                <a:latin typeface="Consolas" pitchFamily="49" charset="0"/>
                <a:cs typeface="Consolas" pitchFamily="49" charset="0"/>
              </a:defRPr>
            </a:lvl1pPr>
            <a:lvl2pPr marL="346553" indent="0">
              <a:buNone/>
              <a:defRPr>
                <a:gradFill>
                  <a:gsLst>
                    <a:gs pos="1250">
                      <a:srgbClr val="000000"/>
                    </a:gs>
                    <a:gs pos="100000">
                      <a:srgbClr val="000000"/>
                    </a:gs>
                  </a:gsLst>
                  <a:lin ang="5400000" scaled="0"/>
                </a:gradFill>
                <a:latin typeface="Consolas" pitchFamily="49" charset="0"/>
                <a:cs typeface="Consolas" pitchFamily="49" charset="0"/>
              </a:defRPr>
            </a:lvl2pPr>
            <a:lvl3pPr marL="584607" indent="0">
              <a:buNone/>
              <a:defRPr>
                <a:gradFill>
                  <a:gsLst>
                    <a:gs pos="1250">
                      <a:srgbClr val="000000"/>
                    </a:gs>
                    <a:gs pos="100000">
                      <a:srgbClr val="000000"/>
                    </a:gs>
                  </a:gsLst>
                  <a:lin ang="5400000" scaled="0"/>
                </a:gradFill>
                <a:latin typeface="Consolas" pitchFamily="49" charset="0"/>
                <a:cs typeface="Consolas" pitchFamily="49" charset="0"/>
              </a:defRPr>
            </a:lvl3pPr>
            <a:lvl4pPr marL="814563" indent="0">
              <a:buNone/>
              <a:defRPr>
                <a:gradFill>
                  <a:gsLst>
                    <a:gs pos="1250">
                      <a:srgbClr val="000000"/>
                    </a:gs>
                    <a:gs pos="100000">
                      <a:srgbClr val="000000"/>
                    </a:gs>
                  </a:gsLst>
                  <a:lin ang="5400000" scaled="0"/>
                </a:gradFill>
                <a:latin typeface="Consolas" pitchFamily="49" charset="0"/>
                <a:cs typeface="Consolas" pitchFamily="49" charset="0"/>
              </a:defRPr>
            </a:lvl4pPr>
            <a:lvl5pPr marL="1050997"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2"/>
          <p:cNvSpPr>
            <a:spLocks noGrp="1"/>
          </p:cNvSpPr>
          <p:nvPr>
            <p:ph type="sldNum" sz="quarter" idx="12"/>
          </p:nvPr>
        </p:nvSpPr>
        <p:spPr>
          <a:xfrm>
            <a:off x="11595100" y="6565900"/>
            <a:ext cx="566738" cy="136525"/>
          </a:xfrm>
        </p:spPr>
        <p:txBody>
          <a:bodyPr/>
          <a:lstStyle>
            <a:lvl1pPr defTabSz="931863"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30406571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1824" y="250962"/>
            <a:ext cx="11192828" cy="448490"/>
          </a:xfrm>
        </p:spPr>
        <p:txBody>
          <a:bodyPr/>
          <a:lstStyle/>
          <a:p>
            <a:r>
              <a:rPr lang="en-US" smtClean="0"/>
              <a:t>Click to edit Master title style</a:t>
            </a:r>
            <a:endParaRPr lang="en-US"/>
          </a:p>
        </p:txBody>
      </p:sp>
      <p:sp>
        <p:nvSpPr>
          <p:cNvPr id="3" name="Content Placeholder 2"/>
          <p:cNvSpPr>
            <a:spLocks noGrp="1"/>
          </p:cNvSpPr>
          <p:nvPr>
            <p:ph idx="1"/>
          </p:nvPr>
        </p:nvSpPr>
        <p:spPr>
          <a:xfrm>
            <a:off x="621824" y="1532746"/>
            <a:ext cx="11192828" cy="2295500"/>
          </a:xfrm>
        </p:spPr>
        <p:txBody>
          <a:bodyPr/>
          <a:lstStyle>
            <a:lvl1pPr>
              <a:spcAft>
                <a:spcPts val="0"/>
              </a:spcAft>
              <a:defRPr/>
            </a:lvl1pPr>
            <a:lvl2pPr>
              <a:spcBef>
                <a:spcPts val="1122"/>
              </a:spcBef>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8"/>
          <p:cNvSpPr>
            <a:spLocks noGrp="1"/>
          </p:cNvSpPr>
          <p:nvPr>
            <p:ph type="body" sz="quarter" idx="13"/>
          </p:nvPr>
        </p:nvSpPr>
        <p:spPr>
          <a:xfrm>
            <a:off x="621824" y="640388"/>
            <a:ext cx="11192828" cy="318357"/>
          </a:xfrm>
        </p:spPr>
        <p:txBody>
          <a:bodyPr tIns="0"/>
          <a:lstStyle>
            <a:lvl1pPr>
              <a:spcAft>
                <a:spcPts val="0"/>
              </a:spcAft>
              <a:defRPr sz="1632">
                <a:solidFill>
                  <a:schemeClr val="bg1"/>
                </a:solidFill>
                <a:latin typeface="Segoe" pitchFamily="34" charset="0"/>
              </a:defRPr>
            </a:lvl1pPr>
          </a:lstStyle>
          <a:p>
            <a:pPr lvl="0"/>
            <a:r>
              <a:rPr lang="en-US" smtClean="0"/>
              <a:t>Click to edit Master text styles</a:t>
            </a:r>
          </a:p>
        </p:txBody>
      </p:sp>
      <p:sp>
        <p:nvSpPr>
          <p:cNvPr id="5" name="Slide Number Placeholder 2"/>
          <p:cNvSpPr>
            <a:spLocks noGrp="1"/>
          </p:cNvSpPr>
          <p:nvPr>
            <p:ph type="sldNum" sz="quarter" idx="12"/>
          </p:nvPr>
        </p:nvSpPr>
        <p:spPr>
          <a:xfrm>
            <a:off x="11595100" y="6565900"/>
            <a:ext cx="566738" cy="136525"/>
          </a:xfrm>
        </p:spPr>
        <p:txBody>
          <a:bodyPr/>
          <a:lstStyle>
            <a:lvl1pPr defTabSz="931863"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55460394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31279" y="1476625"/>
            <a:ext cx="5504574" cy="2674578"/>
          </a:xfrm>
        </p:spPr>
        <p:txBody>
          <a:bodyPr/>
          <a:lstStyle>
            <a:lvl1pPr marL="0" indent="0">
              <a:spcBef>
                <a:spcPts val="1224"/>
              </a:spcBef>
              <a:buNone/>
              <a:defRPr sz="4100">
                <a:gradFill>
                  <a:gsLst>
                    <a:gs pos="100000">
                      <a:schemeClr val="tx2"/>
                    </a:gs>
                    <a:gs pos="0">
                      <a:schemeClr val="tx2"/>
                    </a:gs>
                  </a:gsLst>
                  <a:lin ang="5400000" scaled="0"/>
                </a:gradFill>
                <a:latin typeface="+mj-lt"/>
              </a:defRPr>
            </a:lvl1pPr>
            <a:lvl2pPr marL="0" indent="0">
              <a:buNone/>
              <a:defRPr sz="2000"/>
            </a:lvl2pPr>
            <a:lvl3pPr marL="238054" indent="0">
              <a:buNone/>
              <a:defRPr sz="2000"/>
            </a:lvl3pPr>
            <a:lvl4pPr marL="466390" indent="0">
              <a:buNone/>
              <a:defRPr sz="2000"/>
            </a:lvl4pPr>
            <a:lvl5pPr marL="707682"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405480" y="1476625"/>
            <a:ext cx="5504574" cy="2674578"/>
          </a:xfrm>
        </p:spPr>
        <p:txBody>
          <a:bodyPr/>
          <a:lstStyle>
            <a:lvl1pPr marL="0" indent="0">
              <a:spcBef>
                <a:spcPts val="1224"/>
              </a:spcBef>
              <a:buNone/>
              <a:defRPr lang="en-US" sz="4100" kern="1200" spc="-71" baseline="0" dirty="0" smtClean="0">
                <a:gradFill>
                  <a:gsLst>
                    <a:gs pos="100000">
                      <a:schemeClr val="tx2"/>
                    </a:gs>
                    <a:gs pos="0">
                      <a:schemeClr val="tx2"/>
                    </a:gs>
                  </a:gsLst>
                  <a:lin ang="5400000" scaled="0"/>
                </a:gra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5" name="TextBox 7"/>
          <p:cNvSpPr txBox="1"/>
          <p:nvPr/>
        </p:nvSpPr>
        <p:spPr>
          <a:xfrm>
            <a:off x="4244844" y="6724747"/>
            <a:ext cx="3946786" cy="1692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100" spc="153"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899931984"/>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1" y="-318"/>
            <a:ext cx="12451397" cy="6995160"/>
          </a:xfrm>
          <a:prstGeom prst="rect">
            <a:avLst/>
          </a:prstGeom>
        </p:spPr>
      </p:pic>
    </p:spTree>
    <p:extLst>
      <p:ext uri="{BB962C8B-B14F-4D97-AF65-F5344CB8AC3E}">
        <p14:creationId xmlns:p14="http://schemas.microsoft.com/office/powerpoint/2010/main" val="181307403"/>
      </p:ext>
    </p:extLst>
  </p:cSld>
  <p:clrMapOvr>
    <a:masterClrMapping/>
  </p:clrMapOvr>
  <p:transition spd="med">
    <p:wipe dir="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8" y="1304925"/>
            <a:ext cx="11033125"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smtClean="0"/>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200">
                <a:solidFill>
                  <a:schemeClr val="tx2"/>
                </a:solidFill>
              </a:defRPr>
            </a:lvl1pPr>
          </a:lstStyle>
          <a:p>
            <a:r>
              <a:rPr lang="en-US" smtClean="0"/>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31863"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390197236"/>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31863"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074407234"/>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200">
                <a:solidFill>
                  <a:schemeClr val="tx2"/>
                </a:solidFill>
              </a:defRPr>
            </a:lvl1pPr>
          </a:lstStyle>
          <a:p>
            <a:r>
              <a:rPr lang="en-US" smtClean="0"/>
              <a:t>Click to edit Master title style</a:t>
            </a:r>
            <a:endParaRPr lang="en-US" dirty="0"/>
          </a:p>
        </p:txBody>
      </p:sp>
      <p:sp>
        <p:nvSpPr>
          <p:cNvPr id="4" name="Slide Number Placeholder 2"/>
          <p:cNvSpPr>
            <a:spLocks noGrp="1"/>
          </p:cNvSpPr>
          <p:nvPr>
            <p:ph type="sldNum" sz="quarter" idx="11"/>
          </p:nvPr>
        </p:nvSpPr>
        <p:spPr>
          <a:xfrm>
            <a:off x="11595100" y="6565900"/>
            <a:ext cx="566738" cy="136525"/>
          </a:xfrm>
        </p:spPr>
        <p:txBody>
          <a:bodyPr/>
          <a:lstStyle>
            <a:lvl1pPr defTabSz="931863"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533632" y="6562761"/>
            <a:ext cx="954588" cy="244197"/>
          </a:xfrm>
          <a:prstGeom prst="rect">
            <a:avLst/>
          </a:prstGeom>
        </p:spPr>
      </p:pic>
    </p:spTree>
    <p:extLst>
      <p:ext uri="{BB962C8B-B14F-4D97-AF65-F5344CB8AC3E}">
        <p14:creationId xmlns:p14="http://schemas.microsoft.com/office/powerpoint/2010/main" val="3572683532"/>
      </p:ext>
    </p:extLst>
  </p:cSld>
  <p:clrMapOvr>
    <a:masterClrMapping/>
  </p:clrMapOvr>
  <p:transition spd="med">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200">
                <a:solidFill>
                  <a:schemeClr val="tx2"/>
                </a:solidFill>
              </a:defRPr>
            </a:lvl1pPr>
          </a:lstStyle>
          <a:p>
            <a:r>
              <a:rPr lang="en-US" smtClean="0"/>
              <a:t>Click to edit Master title style</a:t>
            </a:r>
            <a:endParaRPr lang="en-US" dirty="0"/>
          </a:p>
        </p:txBody>
      </p:sp>
      <p:sp>
        <p:nvSpPr>
          <p:cNvPr id="4" name="Slide Number Placeholder 2"/>
          <p:cNvSpPr>
            <a:spLocks noGrp="1"/>
          </p:cNvSpPr>
          <p:nvPr>
            <p:ph type="sldNum" sz="quarter" idx="11"/>
          </p:nvPr>
        </p:nvSpPr>
        <p:spPr>
          <a:xfrm>
            <a:off x="11595100" y="6565900"/>
            <a:ext cx="566738" cy="136525"/>
          </a:xfrm>
        </p:spPr>
        <p:txBody>
          <a:bodyPr/>
          <a:lstStyle>
            <a:lvl1pPr defTabSz="931863"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466194823"/>
      </p:ext>
    </p:extLst>
  </p:cSld>
  <p:clrMapOvr>
    <a:masterClrMapping/>
  </p:clrMapOvr>
  <p:transition spd="med">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525399" y="-916554"/>
            <a:ext cx="3385680" cy="12436477"/>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7" rIns="0" bIns="46637" anchor="ctr"/>
          <a:lstStyle/>
          <a:p>
            <a:pPr algn="ctr" defTabSz="932472">
              <a:defRPr/>
            </a:pPr>
            <a:endParaRPr lang="en-US" sz="2000"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0"/>
            <a:ext cx="12458700" cy="6995160"/>
          </a:xfrm>
          <a:prstGeom prst="rect">
            <a:avLst/>
          </a:prstGeom>
        </p:spPr>
      </p:pic>
    </p:spTree>
    <p:extLst>
      <p:ext uri="{BB962C8B-B14F-4D97-AF65-F5344CB8AC3E}">
        <p14:creationId xmlns:p14="http://schemas.microsoft.com/office/powerpoint/2010/main" val="2564556866"/>
      </p:ext>
    </p:extLst>
  </p:cSld>
  <p:clrMapOvr>
    <a:masterClrMapping/>
  </p:clrMapOvr>
  <p:transition spd="med">
    <p:wipe dir="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385204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2274" y="1309816"/>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2"/>
          <p:cNvSpPr>
            <a:spLocks noGrp="1"/>
          </p:cNvSpPr>
          <p:nvPr>
            <p:ph type="sldNum" sz="quarter" idx="12"/>
          </p:nvPr>
        </p:nvSpPr>
        <p:spPr>
          <a:xfrm>
            <a:off x="11595100" y="6565900"/>
            <a:ext cx="566738" cy="136525"/>
          </a:xfrm>
        </p:spPr>
        <p:txBody>
          <a:bodyPr/>
          <a:lstStyle>
            <a:lvl1pPr defTabSz="931863"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14550856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5"/>
            </p:custDataLst>
            <p:extLst>
              <p:ext uri="{D42A27DB-BD31-4B8C-83A1-F6EECF244321}">
                <p14:modId xmlns:p14="http://schemas.microsoft.com/office/powerpoint/2010/main" val="30139742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03" name="think-cell Slide" r:id="rId16" imgW="377" imgH="377" progId="TCLayout.ActiveDocument.1">
                  <p:embed/>
                </p:oleObj>
              </mc:Choice>
              <mc:Fallback>
                <p:oleObj name="think-cell Slide" r:id="rId16" imgW="377" imgH="377"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8" y="295275"/>
            <a:ext cx="11888787"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2051" name="Text Placeholder 3"/>
          <p:cNvSpPr>
            <a:spLocks noGrp="1"/>
          </p:cNvSpPr>
          <p:nvPr>
            <p:ph type="body" idx="1"/>
          </p:nvPr>
        </p:nvSpPr>
        <p:spPr bwMode="auto">
          <a:xfrm>
            <a:off x="274638" y="1304925"/>
            <a:ext cx="11887200" cy="20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Footer Placeholder 2"/>
          <p:cNvSpPr>
            <a:spLocks noGrp="1"/>
          </p:cNvSpPr>
          <p:nvPr>
            <p:ph type="ftr" sz="quarter" idx="3"/>
          </p:nvPr>
        </p:nvSpPr>
        <p:spPr>
          <a:xfrm>
            <a:off x="457200" y="6565900"/>
            <a:ext cx="3937000" cy="136525"/>
          </a:xfrm>
          <a:prstGeom prst="rect">
            <a:avLst/>
          </a:prstGeom>
        </p:spPr>
        <p:txBody>
          <a:bodyPr vert="horz" lIns="0" tIns="0" rIns="91440" bIns="0" rtlCol="0" anchor="ctr"/>
          <a:lstStyle>
            <a:lvl1pPr marL="0" algn="l" defTabSz="932742"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595100" y="6565900"/>
            <a:ext cx="566738" cy="136525"/>
          </a:xfrm>
          <a:prstGeom prst="rect">
            <a:avLst/>
          </a:prstGeom>
        </p:spPr>
        <p:txBody>
          <a:bodyPr vert="horz" lIns="91440" tIns="0" rIns="0" bIns="0" rtlCol="0" anchor="ctr"/>
          <a:lstStyle>
            <a:lvl1pPr algn="r" defTabSz="932742"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357701309"/>
      </p:ext>
    </p:extLst>
  </p:cSld>
  <p:clrMap bg1="lt1" tx1="dk1" bg2="lt2" tx2="dk2" accent1="accent1" accent2="accent2" accent3="accent3" accent4="accent4" accent5="accent5" accent6="accent6" hlink="hlink" folHlink="folHlink"/>
  <p:sldLayoutIdLst>
    <p:sldLayoutId id="2147484233" r:id="rId1"/>
    <p:sldLayoutId id="2147484234" r:id="rId2"/>
    <p:sldLayoutId id="2147484235" r:id="rId3"/>
    <p:sldLayoutId id="2147484236" r:id="rId4"/>
    <p:sldLayoutId id="2147484237" r:id="rId5"/>
    <p:sldLayoutId id="2147484258" r:id="rId6"/>
    <p:sldLayoutId id="2147484238" r:id="rId7"/>
    <p:sldLayoutId id="2147484239" r:id="rId8"/>
    <p:sldLayoutId id="2147484240" r:id="rId9"/>
    <p:sldLayoutId id="2147484245" r:id="rId10"/>
    <p:sldLayoutId id="2147484246" r:id="rId11"/>
    <p:sldLayoutId id="2147484247" r:id="rId12"/>
  </p:sldLayoutIdLst>
  <p:transition>
    <p:fade/>
  </p:transition>
  <p:timing>
    <p:tnLst>
      <p:par>
        <p:cTn id="1" dur="indefinite" restart="never" nodeType="tmRoot"/>
      </p:par>
    </p:tnLst>
  </p:timing>
  <p:hf hdr="0" ftr="0" dt="0"/>
  <p:txStyles>
    <p:titleStyle>
      <a:lvl1pPr algn="l" defTabSz="931863" rtl="0" eaLnBrk="1" fontAlgn="base" hangingPunct="1">
        <a:lnSpc>
          <a:spcPct val="90000"/>
        </a:lnSpc>
        <a:spcBef>
          <a:spcPct val="0"/>
        </a:spcBef>
        <a:spcAft>
          <a:spcPct val="0"/>
        </a:spcAft>
        <a:defRPr lang="en-US" sz="5400" kern="1200" spc="-102" dirty="0">
          <a:ln w="3175">
            <a:noFill/>
          </a:ln>
          <a:solidFill>
            <a:schemeClr val="tx2"/>
          </a:solidFill>
          <a:latin typeface="+mj-lt"/>
          <a:ea typeface="ＭＳ Ｐゴシック" charset="0"/>
          <a:cs typeface="Segoe UI" pitchFamily="34" charset="0"/>
        </a:defRPr>
      </a:lvl1pPr>
      <a:lvl2pPr algn="l" defTabSz="931863" rtl="0" eaLnBrk="1" fontAlgn="base" hangingPunct="1">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eaLnBrk="1" fontAlgn="base" hangingPunct="1">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eaLnBrk="1" fontAlgn="base" hangingPunct="1">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eaLnBrk="1" fontAlgn="base" hangingPunct="1">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eaLnBrk="1" fontAlgn="base" hangingPunct="1">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eaLnBrk="1" fontAlgn="base" hangingPunct="1">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eaLnBrk="1" fontAlgn="base" hangingPunct="1">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eaLnBrk="1" fontAlgn="base" hangingPunct="1">
        <a:lnSpc>
          <a:spcPct val="90000"/>
        </a:lnSpc>
        <a:spcBef>
          <a:spcPct val="0"/>
        </a:spcBef>
        <a:spcAft>
          <a:spcPct val="0"/>
        </a:spcAft>
        <a:defRPr sz="5400">
          <a:solidFill>
            <a:schemeClr val="tx2"/>
          </a:solidFill>
          <a:latin typeface="Segoe UI Light" charset="0"/>
          <a:ea typeface="ＭＳ Ｐゴシック" charset="0"/>
          <a:cs typeface="Segoe UI" charset="0"/>
        </a:defRPr>
      </a:lvl9pPr>
    </p:titleStyle>
    <p:bodyStyle>
      <a:lvl1pPr marL="342900" indent="-342900" algn="l" defTabSz="931863" rtl="0" eaLnBrk="1" fontAlgn="base" hangingPunct="1">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3" pos="293" userDrawn="1">
          <p15:clr>
            <a:srgbClr val="C35EA4"/>
          </p15:clr>
        </p15:guide>
        <p15:guide id="24" pos="7565" userDrawn="1">
          <p15:clr>
            <a:srgbClr val="C35EA4"/>
          </p15:clr>
        </p15:guide>
        <p15:guide id="25" orient="horz" pos="302" userDrawn="1">
          <p15:clr>
            <a:srgbClr val="C35EA4"/>
          </p15:clr>
        </p15:guide>
        <p15:guide id="26" orient="horz" pos="815" userDrawn="1">
          <p15:clr>
            <a:srgbClr val="C35EA4"/>
          </p15:clr>
        </p15:guide>
        <p15:guide id="28" orient="horz" pos="4075" userDrawn="1">
          <p15:clr>
            <a:srgbClr val="C35EA4"/>
          </p15:clr>
        </p15:guide>
        <p15:guide id="29" orient="horz" pos="763" userDrawn="1">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jpeg"/></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0"/>
            <a:ext cx="5325035" cy="6994525"/>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5400" dirty="0" smtClean="0">
              <a:solidFill>
                <a:schemeClr val="bg1"/>
              </a:solidFill>
              <a:latin typeface="+mj-lt"/>
              <a:ea typeface="Segoe UI" pitchFamily="34" charset="0"/>
              <a:cs typeface="Segoe UI" pitchFamily="34" charset="0"/>
            </a:endParaRPr>
          </a:p>
          <a:p>
            <a:pPr defTabSz="932472" fontAlgn="base">
              <a:lnSpc>
                <a:spcPct val="90000"/>
              </a:lnSpc>
              <a:spcBef>
                <a:spcPct val="0"/>
              </a:spcBef>
              <a:spcAft>
                <a:spcPct val="0"/>
              </a:spcAft>
            </a:pPr>
            <a:endParaRPr lang="en-US" sz="5400" dirty="0">
              <a:solidFill>
                <a:schemeClr val="bg1"/>
              </a:solidFill>
              <a:latin typeface="+mj-lt"/>
              <a:ea typeface="Segoe UI" pitchFamily="34" charset="0"/>
              <a:cs typeface="Segoe UI" pitchFamily="34" charset="0"/>
            </a:endParaRPr>
          </a:p>
        </p:txBody>
      </p:sp>
      <p:sp>
        <p:nvSpPr>
          <p:cNvPr id="4" name="TextBox 3"/>
          <p:cNvSpPr txBox="1"/>
          <p:nvPr/>
        </p:nvSpPr>
        <p:spPr>
          <a:xfrm>
            <a:off x="5325034" y="1308536"/>
            <a:ext cx="6684403" cy="1874520"/>
          </a:xfrm>
          <a:prstGeom prst="rect">
            <a:avLst/>
          </a:prstGeom>
          <a:noFill/>
        </p:spPr>
        <p:txBody>
          <a:bodyPr wrap="square" lIns="274320" tIns="146304" rIns="182880" bIns="146304" rtlCol="0">
            <a:noAutofit/>
          </a:bodyPr>
          <a:lstStyle/>
          <a:p>
            <a:pPr marL="53975" lvl="1" defTabSz="932133" fontAlgn="base">
              <a:spcBef>
                <a:spcPts val="1200"/>
              </a:spcBef>
              <a:buClr>
                <a:schemeClr val="accent3">
                  <a:lumMod val="50000"/>
                </a:schemeClr>
              </a:buClr>
            </a:pPr>
            <a:r>
              <a:rPr lang="en-US" sz="3200" dirty="0" smtClean="0">
                <a:ln>
                  <a:solidFill>
                    <a:srgbClr val="FFFFFF">
                      <a:alpha val="0"/>
                    </a:srgbClr>
                  </a:solidFill>
                </a:ln>
                <a:solidFill>
                  <a:schemeClr val="accent3"/>
                </a:solidFill>
                <a:latin typeface="+mj-lt"/>
                <a:ea typeface="Segoe UI" pitchFamily="34" charset="0"/>
                <a:cs typeface="Segoe UI" pitchFamily="34" charset="0"/>
              </a:rPr>
              <a:t>Agenda</a:t>
            </a:r>
            <a:endParaRPr lang="en-US" sz="3200" dirty="0" smtClean="0">
              <a:ln>
                <a:solidFill>
                  <a:srgbClr val="FFFFFF">
                    <a:alpha val="0"/>
                  </a:srgbClr>
                </a:solidFill>
              </a:ln>
              <a:solidFill>
                <a:schemeClr val="accent3"/>
              </a:solidFill>
              <a:latin typeface="+mj-lt"/>
              <a:ea typeface="Segoe UI" pitchFamily="34" charset="0"/>
              <a:cs typeface="Segoe UI" pitchFamily="34" charset="0"/>
            </a:endParaRPr>
          </a:p>
          <a:p>
            <a:pPr marL="569913" lvl="1" indent="-457200" defTabSz="932133" fontAlgn="base">
              <a:buClr>
                <a:schemeClr val="accent3">
                  <a:lumMod val="50000"/>
                </a:schemeClr>
              </a:buClr>
              <a:buBlip>
                <a:blip r:embed="rId2"/>
              </a:buBlip>
            </a:pPr>
            <a:r>
              <a:rPr lang="en-US" sz="2400" dirty="0" smtClean="0">
                <a:ln>
                  <a:solidFill>
                    <a:srgbClr val="FFFFFF">
                      <a:alpha val="0"/>
                    </a:srgbClr>
                  </a:solidFill>
                </a:ln>
                <a:solidFill>
                  <a:schemeClr val="tx2"/>
                </a:solidFill>
                <a:ea typeface="Segoe UI" pitchFamily="34" charset="0"/>
                <a:cs typeface="Segoe UI" pitchFamily="34" charset="0"/>
              </a:rPr>
              <a:t>Collect and Load Big Data</a:t>
            </a:r>
            <a:endParaRPr lang="en-US" sz="2400" dirty="0" smtClean="0">
              <a:ln>
                <a:solidFill>
                  <a:srgbClr val="FFFFFF">
                    <a:alpha val="0"/>
                  </a:srgbClr>
                </a:solidFill>
              </a:ln>
              <a:solidFill>
                <a:schemeClr val="tx2"/>
              </a:solidFill>
              <a:ea typeface="Segoe UI" pitchFamily="34" charset="0"/>
              <a:cs typeface="Segoe UI" pitchFamily="34" charset="0"/>
            </a:endParaRPr>
          </a:p>
          <a:p>
            <a:pPr marL="569913" lvl="1" indent="-457200" defTabSz="932133" fontAlgn="base">
              <a:buClr>
                <a:schemeClr val="accent3">
                  <a:lumMod val="50000"/>
                </a:schemeClr>
              </a:buClr>
              <a:buBlip>
                <a:blip r:embed="rId2"/>
              </a:buBlip>
            </a:pPr>
            <a:r>
              <a:rPr lang="en-US" sz="2400" dirty="0" smtClean="0">
                <a:ln>
                  <a:solidFill>
                    <a:srgbClr val="FFFFFF">
                      <a:alpha val="0"/>
                    </a:srgbClr>
                  </a:solidFill>
                </a:ln>
                <a:solidFill>
                  <a:schemeClr val="tx2"/>
                </a:solidFill>
                <a:ea typeface="Segoe UI" pitchFamily="34" charset="0"/>
                <a:cs typeface="Segoe UI" pitchFamily="34" charset="0"/>
              </a:rPr>
              <a:t>HDInsight Clusters</a:t>
            </a:r>
            <a:endParaRPr lang="en-US" sz="2400" dirty="0">
              <a:ln>
                <a:solidFill>
                  <a:srgbClr val="FFFFFF">
                    <a:alpha val="0"/>
                  </a:srgbClr>
                </a:solidFill>
              </a:ln>
              <a:solidFill>
                <a:schemeClr val="tx2"/>
              </a:solidFill>
              <a:ea typeface="Segoe UI" pitchFamily="34" charset="0"/>
              <a:cs typeface="Segoe UI" pitchFamily="34" charset="0"/>
            </a:endParaRPr>
          </a:p>
          <a:p>
            <a:pPr marL="569913" lvl="1" indent="-457200" defTabSz="932133" fontAlgn="base">
              <a:buClr>
                <a:schemeClr val="accent3">
                  <a:lumMod val="50000"/>
                </a:schemeClr>
              </a:buClr>
              <a:buBlip>
                <a:blip r:embed="rId2"/>
              </a:buBlip>
            </a:pPr>
            <a:r>
              <a:rPr lang="en-US" sz="2400" dirty="0" smtClean="0">
                <a:ln>
                  <a:solidFill>
                    <a:srgbClr val="FFFFFF">
                      <a:alpha val="0"/>
                    </a:srgbClr>
                  </a:solidFill>
                </a:ln>
                <a:solidFill>
                  <a:schemeClr val="tx2"/>
                </a:solidFill>
                <a:ea typeface="Segoe UI" pitchFamily="34" charset="0"/>
                <a:cs typeface="Segoe UI" pitchFamily="34" charset="0"/>
              </a:rPr>
              <a:t>Cluster Customizations</a:t>
            </a:r>
          </a:p>
          <a:p>
            <a:pPr marL="569913" lvl="1" indent="-457200" defTabSz="932133" fontAlgn="base">
              <a:buClr>
                <a:schemeClr val="accent3">
                  <a:lumMod val="50000"/>
                </a:schemeClr>
              </a:buClr>
              <a:buBlip>
                <a:blip r:embed="rId2"/>
              </a:buBlip>
            </a:pPr>
            <a:r>
              <a:rPr lang="en-US" sz="2400" dirty="0" smtClean="0">
                <a:ln>
                  <a:solidFill>
                    <a:srgbClr val="FFFFFF">
                      <a:alpha val="0"/>
                    </a:srgbClr>
                  </a:solidFill>
                </a:ln>
                <a:solidFill>
                  <a:schemeClr val="tx2"/>
                </a:solidFill>
                <a:ea typeface="Segoe UI" pitchFamily="34" charset="0"/>
                <a:cs typeface="Segoe UI" pitchFamily="34" charset="0"/>
              </a:rPr>
              <a:t>Visual Studio Tooling</a:t>
            </a:r>
            <a:endParaRPr lang="en-US" sz="2400" dirty="0">
              <a:ln>
                <a:solidFill>
                  <a:srgbClr val="FFFFFF">
                    <a:alpha val="0"/>
                  </a:srgbClr>
                </a:solidFill>
              </a:ln>
              <a:solidFill>
                <a:schemeClr val="tx2"/>
              </a:solidFill>
              <a:ea typeface="Segoe UI" pitchFamily="34" charset="0"/>
              <a:cs typeface="Segoe UI" pitchFamily="34" charset="0"/>
            </a:endParaRPr>
          </a:p>
        </p:txBody>
      </p:sp>
      <p:sp>
        <p:nvSpPr>
          <p:cNvPr id="5" name="Rectangle 4"/>
          <p:cNvSpPr/>
          <p:nvPr/>
        </p:nvSpPr>
        <p:spPr bwMode="auto">
          <a:xfrm>
            <a:off x="0" y="6445885"/>
            <a:ext cx="5325035" cy="54864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rPr>
              <a:t>Tools</a:t>
            </a:r>
          </a:p>
        </p:txBody>
      </p:sp>
      <p:sp>
        <p:nvSpPr>
          <p:cNvPr id="6" name="Freeform 5"/>
          <p:cNvSpPr>
            <a:spLocks/>
          </p:cNvSpPr>
          <p:nvPr/>
        </p:nvSpPr>
        <p:spPr bwMode="auto">
          <a:xfrm flipH="1">
            <a:off x="2671625" y="4267200"/>
            <a:ext cx="2653409" cy="2178685"/>
          </a:xfrm>
          <a:custGeom>
            <a:avLst/>
            <a:gdLst>
              <a:gd name="connsiteX0" fmla="*/ 603413 w 1090712"/>
              <a:gd name="connsiteY0" fmla="*/ 721327 h 895572"/>
              <a:gd name="connsiteX1" fmla="*/ 578466 w 1090712"/>
              <a:gd name="connsiteY1" fmla="*/ 770746 h 895572"/>
              <a:gd name="connsiteX2" fmla="*/ 553519 w 1090712"/>
              <a:gd name="connsiteY2" fmla="*/ 818264 h 895572"/>
              <a:gd name="connsiteX3" fmla="*/ 528334 w 1090712"/>
              <a:gd name="connsiteY3" fmla="*/ 865069 h 895572"/>
              <a:gd name="connsiteX4" fmla="*/ 511825 w 1090712"/>
              <a:gd name="connsiteY4" fmla="*/ 895572 h 895572"/>
              <a:gd name="connsiteX5" fmla="*/ 624528 w 1090712"/>
              <a:gd name="connsiteY5" fmla="*/ 895572 h 895572"/>
              <a:gd name="connsiteX6" fmla="*/ 624796 w 1090712"/>
              <a:gd name="connsiteY6" fmla="*/ 894768 h 895572"/>
              <a:gd name="connsiteX7" fmla="*/ 625271 w 1090712"/>
              <a:gd name="connsiteY7" fmla="*/ 891679 h 895572"/>
              <a:gd name="connsiteX8" fmla="*/ 625747 w 1090712"/>
              <a:gd name="connsiteY8" fmla="*/ 889066 h 895572"/>
              <a:gd name="connsiteX9" fmla="*/ 625747 w 1090712"/>
              <a:gd name="connsiteY9" fmla="*/ 860555 h 895572"/>
              <a:gd name="connsiteX10" fmla="*/ 624796 w 1090712"/>
              <a:gd name="connsiteY10" fmla="*/ 833945 h 895572"/>
              <a:gd name="connsiteX11" fmla="*/ 624321 w 1090712"/>
              <a:gd name="connsiteY11" fmla="*/ 820877 h 895572"/>
              <a:gd name="connsiteX12" fmla="*/ 623608 w 1090712"/>
              <a:gd name="connsiteY12" fmla="*/ 808047 h 895572"/>
              <a:gd name="connsiteX13" fmla="*/ 621708 w 1090712"/>
              <a:gd name="connsiteY13" fmla="*/ 795218 h 895572"/>
              <a:gd name="connsiteX14" fmla="*/ 620044 w 1090712"/>
              <a:gd name="connsiteY14" fmla="*/ 782625 h 895572"/>
              <a:gd name="connsiteX15" fmla="*/ 616005 w 1090712"/>
              <a:gd name="connsiteY15" fmla="*/ 766707 h 895572"/>
              <a:gd name="connsiteX16" fmla="*/ 611966 w 1090712"/>
              <a:gd name="connsiteY16" fmla="*/ 751976 h 895572"/>
              <a:gd name="connsiteX17" fmla="*/ 607452 w 1090712"/>
              <a:gd name="connsiteY17" fmla="*/ 737245 h 895572"/>
              <a:gd name="connsiteX18" fmla="*/ 698212 w 1090712"/>
              <a:gd name="connsiteY18" fmla="*/ 530778 h 895572"/>
              <a:gd name="connsiteX19" fmla="*/ 693460 w 1090712"/>
              <a:gd name="connsiteY19" fmla="*/ 534818 h 895572"/>
              <a:gd name="connsiteX20" fmla="*/ 688471 w 1090712"/>
              <a:gd name="connsiteY20" fmla="*/ 538857 h 895572"/>
              <a:gd name="connsiteX21" fmla="*/ 678254 w 1090712"/>
              <a:gd name="connsiteY21" fmla="*/ 546935 h 895572"/>
              <a:gd name="connsiteX22" fmla="*/ 669226 w 1090712"/>
              <a:gd name="connsiteY22" fmla="*/ 553587 h 895572"/>
              <a:gd name="connsiteX23" fmla="*/ 663048 w 1090712"/>
              <a:gd name="connsiteY23" fmla="*/ 558814 h 895572"/>
              <a:gd name="connsiteX24" fmla="*/ 663048 w 1090712"/>
              <a:gd name="connsiteY24" fmla="*/ 556676 h 895572"/>
              <a:gd name="connsiteX25" fmla="*/ 663523 w 1090712"/>
              <a:gd name="connsiteY25" fmla="*/ 554538 h 895572"/>
              <a:gd name="connsiteX26" fmla="*/ 665424 w 1090712"/>
              <a:gd name="connsiteY26" fmla="*/ 550498 h 895572"/>
              <a:gd name="connsiteX27" fmla="*/ 668038 w 1090712"/>
              <a:gd name="connsiteY27" fmla="*/ 546459 h 895572"/>
              <a:gd name="connsiteX28" fmla="*/ 671602 w 1090712"/>
              <a:gd name="connsiteY28" fmla="*/ 542420 h 895572"/>
              <a:gd name="connsiteX29" fmla="*/ 676829 w 1090712"/>
              <a:gd name="connsiteY29" fmla="*/ 538857 h 895572"/>
              <a:gd name="connsiteX30" fmla="*/ 682768 w 1090712"/>
              <a:gd name="connsiteY30" fmla="*/ 535768 h 895572"/>
              <a:gd name="connsiteX31" fmla="*/ 689896 w 1090712"/>
              <a:gd name="connsiteY31" fmla="*/ 533154 h 895572"/>
              <a:gd name="connsiteX32" fmla="*/ 654257 w 1090712"/>
              <a:gd name="connsiteY32" fmla="*/ 302216 h 895572"/>
              <a:gd name="connsiteX33" fmla="*/ 651882 w 1090712"/>
              <a:gd name="connsiteY33" fmla="*/ 302691 h 895572"/>
              <a:gd name="connsiteX34" fmla="*/ 649268 w 1090712"/>
              <a:gd name="connsiteY34" fmla="*/ 303166 h 895572"/>
              <a:gd name="connsiteX35" fmla="*/ 647130 w 1090712"/>
              <a:gd name="connsiteY35" fmla="*/ 304354 h 895572"/>
              <a:gd name="connsiteX36" fmla="*/ 644516 w 1090712"/>
              <a:gd name="connsiteY36" fmla="*/ 306255 h 895572"/>
              <a:gd name="connsiteX37" fmla="*/ 642140 w 1090712"/>
              <a:gd name="connsiteY37" fmla="*/ 307918 h 895572"/>
              <a:gd name="connsiteX38" fmla="*/ 640002 w 1090712"/>
              <a:gd name="connsiteY38" fmla="*/ 310294 h 895572"/>
              <a:gd name="connsiteX39" fmla="*/ 638101 w 1090712"/>
              <a:gd name="connsiteY39" fmla="*/ 312432 h 895572"/>
              <a:gd name="connsiteX40" fmla="*/ 636913 w 1090712"/>
              <a:gd name="connsiteY40" fmla="*/ 314571 h 895572"/>
              <a:gd name="connsiteX41" fmla="*/ 635963 w 1090712"/>
              <a:gd name="connsiteY41" fmla="*/ 316946 h 895572"/>
              <a:gd name="connsiteX42" fmla="*/ 635963 w 1090712"/>
              <a:gd name="connsiteY42" fmla="*/ 319085 h 895572"/>
              <a:gd name="connsiteX43" fmla="*/ 636913 w 1090712"/>
              <a:gd name="connsiteY43" fmla="*/ 321223 h 895572"/>
              <a:gd name="connsiteX44" fmla="*/ 637626 w 1090712"/>
              <a:gd name="connsiteY44" fmla="*/ 324074 h 895572"/>
              <a:gd name="connsiteX45" fmla="*/ 639527 w 1090712"/>
              <a:gd name="connsiteY45" fmla="*/ 326688 h 895572"/>
              <a:gd name="connsiteX46" fmla="*/ 643091 w 1090712"/>
              <a:gd name="connsiteY46" fmla="*/ 331677 h 895572"/>
              <a:gd name="connsiteX47" fmla="*/ 647130 w 1090712"/>
              <a:gd name="connsiteY47" fmla="*/ 335954 h 895572"/>
              <a:gd name="connsiteX48" fmla="*/ 655920 w 1090712"/>
              <a:gd name="connsiteY48" fmla="*/ 330727 h 895572"/>
              <a:gd name="connsiteX49" fmla="*/ 663999 w 1090712"/>
              <a:gd name="connsiteY49" fmla="*/ 324787 h 895572"/>
              <a:gd name="connsiteX50" fmla="*/ 679917 w 1090712"/>
              <a:gd name="connsiteY50" fmla="*/ 313383 h 895572"/>
              <a:gd name="connsiteX51" fmla="*/ 676354 w 1090712"/>
              <a:gd name="connsiteY51" fmla="*/ 311007 h 895572"/>
              <a:gd name="connsiteX52" fmla="*/ 672790 w 1090712"/>
              <a:gd name="connsiteY52" fmla="*/ 308393 h 895572"/>
              <a:gd name="connsiteX53" fmla="*/ 668988 w 1090712"/>
              <a:gd name="connsiteY53" fmla="*/ 306730 h 895572"/>
              <a:gd name="connsiteX54" fmla="*/ 664949 w 1090712"/>
              <a:gd name="connsiteY54" fmla="*/ 304829 h 895572"/>
              <a:gd name="connsiteX55" fmla="*/ 660910 w 1090712"/>
              <a:gd name="connsiteY55" fmla="*/ 303641 h 895572"/>
              <a:gd name="connsiteX56" fmla="*/ 657346 w 1090712"/>
              <a:gd name="connsiteY56" fmla="*/ 302691 h 895572"/>
              <a:gd name="connsiteX57" fmla="*/ 696549 w 1090712"/>
              <a:gd name="connsiteY57" fmla="*/ 252322 h 895572"/>
              <a:gd name="connsiteX58" fmla="*/ 696786 w 1090712"/>
              <a:gd name="connsiteY58" fmla="*/ 259925 h 895572"/>
              <a:gd name="connsiteX59" fmla="*/ 698212 w 1090712"/>
              <a:gd name="connsiteY59" fmla="*/ 266102 h 895572"/>
              <a:gd name="connsiteX60" fmla="*/ 700113 w 1090712"/>
              <a:gd name="connsiteY60" fmla="*/ 272042 h 895572"/>
              <a:gd name="connsiteX61" fmla="*/ 701776 w 1090712"/>
              <a:gd name="connsiteY61" fmla="*/ 276794 h 895572"/>
              <a:gd name="connsiteX62" fmla="*/ 704389 w 1090712"/>
              <a:gd name="connsiteY62" fmla="*/ 280833 h 895572"/>
              <a:gd name="connsiteX63" fmla="*/ 707240 w 1090712"/>
              <a:gd name="connsiteY63" fmla="*/ 284397 h 895572"/>
              <a:gd name="connsiteX64" fmla="*/ 710329 w 1090712"/>
              <a:gd name="connsiteY64" fmla="*/ 287010 h 895572"/>
              <a:gd name="connsiteX65" fmla="*/ 713418 w 1090712"/>
              <a:gd name="connsiteY65" fmla="*/ 289624 h 895572"/>
              <a:gd name="connsiteX66" fmla="*/ 716506 w 1090712"/>
              <a:gd name="connsiteY66" fmla="*/ 291524 h 895572"/>
              <a:gd name="connsiteX67" fmla="*/ 719595 w 1090712"/>
              <a:gd name="connsiteY67" fmla="*/ 293187 h 895572"/>
              <a:gd name="connsiteX68" fmla="*/ 725772 w 1090712"/>
              <a:gd name="connsiteY68" fmla="*/ 295088 h 895572"/>
              <a:gd name="connsiteX69" fmla="*/ 731237 w 1090712"/>
              <a:gd name="connsiteY69" fmla="*/ 296514 h 895572"/>
              <a:gd name="connsiteX70" fmla="*/ 734801 w 1090712"/>
              <a:gd name="connsiteY70" fmla="*/ 296751 h 895572"/>
              <a:gd name="connsiteX71" fmla="*/ 722209 w 1090712"/>
              <a:gd name="connsiteY71" fmla="*/ 303879 h 895572"/>
              <a:gd name="connsiteX72" fmla="*/ 710804 w 1090712"/>
              <a:gd name="connsiteY72" fmla="*/ 311007 h 895572"/>
              <a:gd name="connsiteX73" fmla="*/ 688471 w 1090712"/>
              <a:gd name="connsiteY73" fmla="*/ 324787 h 895572"/>
              <a:gd name="connsiteX74" fmla="*/ 667563 w 1090712"/>
              <a:gd name="connsiteY74" fmla="*/ 339043 h 895572"/>
              <a:gd name="connsiteX75" fmla="*/ 646179 w 1090712"/>
              <a:gd name="connsiteY75" fmla="*/ 352823 h 895572"/>
              <a:gd name="connsiteX76" fmla="*/ 620044 w 1090712"/>
              <a:gd name="connsiteY76" fmla="*/ 313383 h 895572"/>
              <a:gd name="connsiteX77" fmla="*/ 617668 w 1090712"/>
              <a:gd name="connsiteY77" fmla="*/ 312432 h 895572"/>
              <a:gd name="connsiteX78" fmla="*/ 615055 w 1090712"/>
              <a:gd name="connsiteY78" fmla="*/ 312432 h 895572"/>
              <a:gd name="connsiteX79" fmla="*/ 612441 w 1090712"/>
              <a:gd name="connsiteY79" fmla="*/ 313383 h 895572"/>
              <a:gd name="connsiteX80" fmla="*/ 609353 w 1090712"/>
              <a:gd name="connsiteY80" fmla="*/ 314095 h 895572"/>
              <a:gd name="connsiteX81" fmla="*/ 602938 w 1090712"/>
              <a:gd name="connsiteY81" fmla="*/ 316946 h 895572"/>
              <a:gd name="connsiteX82" fmla="*/ 599849 w 1090712"/>
              <a:gd name="connsiteY82" fmla="*/ 317659 h 895572"/>
              <a:gd name="connsiteX83" fmla="*/ 596760 w 1090712"/>
              <a:gd name="connsiteY83" fmla="*/ 318610 h 895572"/>
              <a:gd name="connsiteX84" fmla="*/ 607927 w 1090712"/>
              <a:gd name="connsiteY84" fmla="*/ 307205 h 895572"/>
              <a:gd name="connsiteX85" fmla="*/ 618619 w 1090712"/>
              <a:gd name="connsiteY85" fmla="*/ 295088 h 895572"/>
              <a:gd name="connsiteX86" fmla="*/ 623846 w 1090712"/>
              <a:gd name="connsiteY86" fmla="*/ 289386 h 895572"/>
              <a:gd name="connsiteX87" fmla="*/ 629786 w 1090712"/>
              <a:gd name="connsiteY87" fmla="*/ 283921 h 895572"/>
              <a:gd name="connsiteX88" fmla="*/ 635963 w 1090712"/>
              <a:gd name="connsiteY88" fmla="*/ 278694 h 895572"/>
              <a:gd name="connsiteX89" fmla="*/ 642140 w 1090712"/>
              <a:gd name="connsiteY89" fmla="*/ 273705 h 895572"/>
              <a:gd name="connsiteX90" fmla="*/ 648793 w 1090712"/>
              <a:gd name="connsiteY90" fmla="*/ 269191 h 895572"/>
              <a:gd name="connsiteX91" fmla="*/ 655446 w 1090712"/>
              <a:gd name="connsiteY91" fmla="*/ 265627 h 895572"/>
              <a:gd name="connsiteX92" fmla="*/ 662098 w 1090712"/>
              <a:gd name="connsiteY92" fmla="*/ 263013 h 895572"/>
              <a:gd name="connsiteX93" fmla="*/ 668988 w 1090712"/>
              <a:gd name="connsiteY93" fmla="*/ 260400 h 895572"/>
              <a:gd name="connsiteX94" fmla="*/ 682768 w 1090712"/>
              <a:gd name="connsiteY94" fmla="*/ 256361 h 895572"/>
              <a:gd name="connsiteX95" fmla="*/ 1030602 w 1090712"/>
              <a:gd name="connsiteY95" fmla="*/ 200289 h 895572"/>
              <a:gd name="connsiteX96" fmla="*/ 1027513 w 1090712"/>
              <a:gd name="connsiteY96" fmla="*/ 207892 h 895572"/>
              <a:gd name="connsiteX97" fmla="*/ 1023949 w 1090712"/>
              <a:gd name="connsiteY97" fmla="*/ 214545 h 895572"/>
              <a:gd name="connsiteX98" fmla="*/ 1019910 w 1090712"/>
              <a:gd name="connsiteY98" fmla="*/ 221197 h 895572"/>
              <a:gd name="connsiteX99" fmla="*/ 1015396 w 1090712"/>
              <a:gd name="connsiteY99" fmla="*/ 226899 h 895572"/>
              <a:gd name="connsiteX100" fmla="*/ 1011119 w 1090712"/>
              <a:gd name="connsiteY100" fmla="*/ 232839 h 895572"/>
              <a:gd name="connsiteX101" fmla="*/ 1006130 w 1090712"/>
              <a:gd name="connsiteY101" fmla="*/ 237591 h 895572"/>
              <a:gd name="connsiteX102" fmla="*/ 1001140 w 1090712"/>
              <a:gd name="connsiteY102" fmla="*/ 242105 h 895572"/>
              <a:gd name="connsiteX103" fmla="*/ 996388 w 1090712"/>
              <a:gd name="connsiteY103" fmla="*/ 246144 h 895572"/>
              <a:gd name="connsiteX104" fmla="*/ 990924 w 1090712"/>
              <a:gd name="connsiteY104" fmla="*/ 249708 h 895572"/>
              <a:gd name="connsiteX105" fmla="*/ 985697 w 1090712"/>
              <a:gd name="connsiteY105" fmla="*/ 252797 h 895572"/>
              <a:gd name="connsiteX106" fmla="*/ 980232 w 1090712"/>
              <a:gd name="connsiteY106" fmla="*/ 254935 h 895572"/>
              <a:gd name="connsiteX107" fmla="*/ 975005 w 1090712"/>
              <a:gd name="connsiteY107" fmla="*/ 256836 h 895572"/>
              <a:gd name="connsiteX108" fmla="*/ 969541 w 1090712"/>
              <a:gd name="connsiteY108" fmla="*/ 258262 h 895572"/>
              <a:gd name="connsiteX109" fmla="*/ 963839 w 1090712"/>
              <a:gd name="connsiteY109" fmla="*/ 258499 h 895572"/>
              <a:gd name="connsiteX110" fmla="*/ 958612 w 1090712"/>
              <a:gd name="connsiteY110" fmla="*/ 258499 h 895572"/>
              <a:gd name="connsiteX111" fmla="*/ 953622 w 1090712"/>
              <a:gd name="connsiteY111" fmla="*/ 257786 h 895572"/>
              <a:gd name="connsiteX112" fmla="*/ 970966 w 1090712"/>
              <a:gd name="connsiteY112" fmla="*/ 244006 h 895572"/>
              <a:gd name="connsiteX113" fmla="*/ 990211 w 1090712"/>
              <a:gd name="connsiteY113" fmla="*/ 229275 h 895572"/>
              <a:gd name="connsiteX114" fmla="*/ 1010169 w 1090712"/>
              <a:gd name="connsiteY114" fmla="*/ 214069 h 895572"/>
              <a:gd name="connsiteX115" fmla="*/ 1020385 w 1090712"/>
              <a:gd name="connsiteY115" fmla="*/ 206942 h 895572"/>
              <a:gd name="connsiteX116" fmla="*/ 389581 w 1090712"/>
              <a:gd name="connsiteY116" fmla="*/ 176768 h 895572"/>
              <a:gd name="connsiteX117" fmla="*/ 397422 w 1090712"/>
              <a:gd name="connsiteY117" fmla="*/ 177243 h 895572"/>
              <a:gd name="connsiteX118" fmla="*/ 414766 w 1090712"/>
              <a:gd name="connsiteY118" fmla="*/ 178906 h 895572"/>
              <a:gd name="connsiteX119" fmla="*/ 405500 w 1090712"/>
              <a:gd name="connsiteY119" fmla="*/ 179856 h 895572"/>
              <a:gd name="connsiteX120" fmla="*/ 396946 w 1090712"/>
              <a:gd name="connsiteY120" fmla="*/ 181995 h 895572"/>
              <a:gd name="connsiteX121" fmla="*/ 389581 w 1090712"/>
              <a:gd name="connsiteY121" fmla="*/ 184371 h 895572"/>
              <a:gd name="connsiteX122" fmla="*/ 381978 w 1090712"/>
              <a:gd name="connsiteY122" fmla="*/ 186984 h 895572"/>
              <a:gd name="connsiteX123" fmla="*/ 375326 w 1090712"/>
              <a:gd name="connsiteY123" fmla="*/ 190548 h 895572"/>
              <a:gd name="connsiteX124" fmla="*/ 368911 w 1090712"/>
              <a:gd name="connsiteY124" fmla="*/ 194112 h 895572"/>
              <a:gd name="connsiteX125" fmla="*/ 363208 w 1090712"/>
              <a:gd name="connsiteY125" fmla="*/ 198626 h 895572"/>
              <a:gd name="connsiteX126" fmla="*/ 357981 w 1090712"/>
              <a:gd name="connsiteY126" fmla="*/ 202903 h 895572"/>
              <a:gd name="connsiteX127" fmla="*/ 352517 w 1090712"/>
              <a:gd name="connsiteY127" fmla="*/ 208367 h 895572"/>
              <a:gd name="connsiteX128" fmla="*/ 348003 w 1090712"/>
              <a:gd name="connsiteY128" fmla="*/ 214070 h 895572"/>
              <a:gd name="connsiteX129" fmla="*/ 343726 w 1090712"/>
              <a:gd name="connsiteY129" fmla="*/ 220247 h 895572"/>
              <a:gd name="connsiteX130" fmla="*/ 339687 w 1090712"/>
              <a:gd name="connsiteY130" fmla="*/ 226662 h 895572"/>
              <a:gd name="connsiteX131" fmla="*/ 335648 w 1090712"/>
              <a:gd name="connsiteY131" fmla="*/ 233790 h 895572"/>
              <a:gd name="connsiteX132" fmla="*/ 332559 w 1090712"/>
              <a:gd name="connsiteY132" fmla="*/ 240917 h 895572"/>
              <a:gd name="connsiteX133" fmla="*/ 328995 w 1090712"/>
              <a:gd name="connsiteY133" fmla="*/ 248758 h 895572"/>
              <a:gd name="connsiteX134" fmla="*/ 325907 w 1090712"/>
              <a:gd name="connsiteY134" fmla="*/ 256836 h 895572"/>
              <a:gd name="connsiteX135" fmla="*/ 325432 w 1090712"/>
              <a:gd name="connsiteY135" fmla="*/ 252797 h 895572"/>
              <a:gd name="connsiteX136" fmla="*/ 324956 w 1090712"/>
              <a:gd name="connsiteY136" fmla="*/ 248283 h 895572"/>
              <a:gd name="connsiteX137" fmla="*/ 323056 w 1090712"/>
              <a:gd name="connsiteY137" fmla="*/ 239492 h 895572"/>
              <a:gd name="connsiteX138" fmla="*/ 320917 w 1090712"/>
              <a:gd name="connsiteY138" fmla="*/ 229275 h 895572"/>
              <a:gd name="connsiteX139" fmla="*/ 320442 w 1090712"/>
              <a:gd name="connsiteY139" fmla="*/ 223811 h 895572"/>
              <a:gd name="connsiteX140" fmla="*/ 319967 w 1090712"/>
              <a:gd name="connsiteY140" fmla="*/ 217633 h 895572"/>
              <a:gd name="connsiteX141" fmla="*/ 314740 w 1090712"/>
              <a:gd name="connsiteY141" fmla="*/ 217633 h 895572"/>
              <a:gd name="connsiteX142" fmla="*/ 302148 w 1090712"/>
              <a:gd name="connsiteY142" fmla="*/ 243056 h 895572"/>
              <a:gd name="connsiteX143" fmla="*/ 289793 w 1090712"/>
              <a:gd name="connsiteY143" fmla="*/ 267528 h 895572"/>
              <a:gd name="connsiteX144" fmla="*/ 277438 w 1090712"/>
              <a:gd name="connsiteY144" fmla="*/ 291049 h 895572"/>
              <a:gd name="connsiteX145" fmla="*/ 264371 w 1090712"/>
              <a:gd name="connsiteY145" fmla="*/ 312907 h 895572"/>
              <a:gd name="connsiteX146" fmla="*/ 267459 w 1090712"/>
              <a:gd name="connsiteY146" fmla="*/ 295088 h 895572"/>
              <a:gd name="connsiteX147" fmla="*/ 271023 w 1090712"/>
              <a:gd name="connsiteY147" fmla="*/ 279170 h 895572"/>
              <a:gd name="connsiteX148" fmla="*/ 274587 w 1090712"/>
              <a:gd name="connsiteY148" fmla="*/ 263964 h 895572"/>
              <a:gd name="connsiteX149" fmla="*/ 279101 w 1090712"/>
              <a:gd name="connsiteY149" fmla="*/ 250183 h 895572"/>
              <a:gd name="connsiteX150" fmla="*/ 284091 w 1090712"/>
              <a:gd name="connsiteY150" fmla="*/ 238066 h 895572"/>
              <a:gd name="connsiteX151" fmla="*/ 289318 w 1090712"/>
              <a:gd name="connsiteY151" fmla="*/ 226900 h 895572"/>
              <a:gd name="connsiteX152" fmla="*/ 292406 w 1090712"/>
              <a:gd name="connsiteY152" fmla="*/ 221673 h 895572"/>
              <a:gd name="connsiteX153" fmla="*/ 295495 w 1090712"/>
              <a:gd name="connsiteY153" fmla="*/ 217158 h 895572"/>
              <a:gd name="connsiteX154" fmla="*/ 298584 w 1090712"/>
              <a:gd name="connsiteY154" fmla="*/ 212406 h 895572"/>
              <a:gd name="connsiteX155" fmla="*/ 302148 w 1090712"/>
              <a:gd name="connsiteY155" fmla="*/ 208367 h 895572"/>
              <a:gd name="connsiteX156" fmla="*/ 305711 w 1090712"/>
              <a:gd name="connsiteY156" fmla="*/ 204328 h 895572"/>
              <a:gd name="connsiteX157" fmla="*/ 309275 w 1090712"/>
              <a:gd name="connsiteY157" fmla="*/ 200765 h 895572"/>
              <a:gd name="connsiteX158" fmla="*/ 313314 w 1090712"/>
              <a:gd name="connsiteY158" fmla="*/ 197201 h 895572"/>
              <a:gd name="connsiteX159" fmla="*/ 317354 w 1090712"/>
              <a:gd name="connsiteY159" fmla="*/ 194112 h 895572"/>
              <a:gd name="connsiteX160" fmla="*/ 321868 w 1090712"/>
              <a:gd name="connsiteY160" fmla="*/ 191498 h 895572"/>
              <a:gd name="connsiteX161" fmla="*/ 326382 w 1090712"/>
              <a:gd name="connsiteY161" fmla="*/ 188647 h 895572"/>
              <a:gd name="connsiteX162" fmla="*/ 330659 w 1090712"/>
              <a:gd name="connsiteY162" fmla="*/ 186509 h 895572"/>
              <a:gd name="connsiteX163" fmla="*/ 335648 w 1090712"/>
              <a:gd name="connsiteY163" fmla="*/ 184371 h 895572"/>
              <a:gd name="connsiteX164" fmla="*/ 340637 w 1090712"/>
              <a:gd name="connsiteY164" fmla="*/ 182470 h 895572"/>
              <a:gd name="connsiteX165" fmla="*/ 345864 w 1090712"/>
              <a:gd name="connsiteY165" fmla="*/ 181282 h 895572"/>
              <a:gd name="connsiteX166" fmla="*/ 351091 w 1090712"/>
              <a:gd name="connsiteY166" fmla="*/ 179856 h 895572"/>
              <a:gd name="connsiteX167" fmla="*/ 357031 w 1090712"/>
              <a:gd name="connsiteY167" fmla="*/ 178431 h 895572"/>
              <a:gd name="connsiteX168" fmla="*/ 368911 w 1090712"/>
              <a:gd name="connsiteY168" fmla="*/ 177243 h 895572"/>
              <a:gd name="connsiteX169" fmla="*/ 381978 w 1090712"/>
              <a:gd name="connsiteY169" fmla="*/ 176768 h 895572"/>
              <a:gd name="connsiteX170" fmla="*/ 609353 w 1090712"/>
              <a:gd name="connsiteY170" fmla="*/ 174629 h 895572"/>
              <a:gd name="connsiteX171" fmla="*/ 602463 w 1090712"/>
              <a:gd name="connsiteY171" fmla="*/ 180807 h 895572"/>
              <a:gd name="connsiteX172" fmla="*/ 596285 w 1090712"/>
              <a:gd name="connsiteY172" fmla="*/ 187459 h 895572"/>
              <a:gd name="connsiteX173" fmla="*/ 583931 w 1090712"/>
              <a:gd name="connsiteY173" fmla="*/ 201715 h 895572"/>
              <a:gd name="connsiteX174" fmla="*/ 571101 w 1090712"/>
              <a:gd name="connsiteY174" fmla="*/ 215495 h 895572"/>
              <a:gd name="connsiteX175" fmla="*/ 564686 w 1090712"/>
              <a:gd name="connsiteY175" fmla="*/ 222148 h 895572"/>
              <a:gd name="connsiteX176" fmla="*/ 558508 w 1090712"/>
              <a:gd name="connsiteY176" fmla="*/ 228325 h 895572"/>
              <a:gd name="connsiteX177" fmla="*/ 557558 w 1090712"/>
              <a:gd name="connsiteY177" fmla="*/ 223335 h 895572"/>
              <a:gd name="connsiteX178" fmla="*/ 557083 w 1090712"/>
              <a:gd name="connsiteY178" fmla="*/ 219059 h 895572"/>
              <a:gd name="connsiteX179" fmla="*/ 557083 w 1090712"/>
              <a:gd name="connsiteY179" fmla="*/ 215020 h 895572"/>
              <a:gd name="connsiteX180" fmla="*/ 557558 w 1090712"/>
              <a:gd name="connsiteY180" fmla="*/ 210981 h 895572"/>
              <a:gd name="connsiteX181" fmla="*/ 558508 w 1090712"/>
              <a:gd name="connsiteY181" fmla="*/ 207417 h 895572"/>
              <a:gd name="connsiteX182" fmla="*/ 560409 w 1090712"/>
              <a:gd name="connsiteY182" fmla="*/ 203853 h 895572"/>
              <a:gd name="connsiteX183" fmla="*/ 562072 w 1090712"/>
              <a:gd name="connsiteY183" fmla="*/ 200764 h 895572"/>
              <a:gd name="connsiteX184" fmla="*/ 564686 w 1090712"/>
              <a:gd name="connsiteY184" fmla="*/ 197676 h 895572"/>
              <a:gd name="connsiteX185" fmla="*/ 567774 w 1090712"/>
              <a:gd name="connsiteY185" fmla="*/ 194587 h 895572"/>
              <a:gd name="connsiteX186" fmla="*/ 571813 w 1090712"/>
              <a:gd name="connsiteY186" fmla="*/ 191973 h 895572"/>
              <a:gd name="connsiteX187" fmla="*/ 576328 w 1090712"/>
              <a:gd name="connsiteY187" fmla="*/ 188647 h 895572"/>
              <a:gd name="connsiteX188" fmla="*/ 581317 w 1090712"/>
              <a:gd name="connsiteY188" fmla="*/ 186034 h 895572"/>
              <a:gd name="connsiteX189" fmla="*/ 587019 w 1090712"/>
              <a:gd name="connsiteY189" fmla="*/ 183420 h 895572"/>
              <a:gd name="connsiteX190" fmla="*/ 593672 w 1090712"/>
              <a:gd name="connsiteY190" fmla="*/ 180332 h 895572"/>
              <a:gd name="connsiteX191" fmla="*/ 586544 w 1090712"/>
              <a:gd name="connsiteY191" fmla="*/ 0 h 895572"/>
              <a:gd name="connsiteX192" fmla="*/ 570150 w 1090712"/>
              <a:gd name="connsiteY192" fmla="*/ 2851 h 895572"/>
              <a:gd name="connsiteX193" fmla="*/ 553519 w 1090712"/>
              <a:gd name="connsiteY193" fmla="*/ 5940 h 895572"/>
              <a:gd name="connsiteX194" fmla="*/ 536650 w 1090712"/>
              <a:gd name="connsiteY194" fmla="*/ 10454 h 895572"/>
              <a:gd name="connsiteX195" fmla="*/ 520256 w 1090712"/>
              <a:gd name="connsiteY195" fmla="*/ 14731 h 895572"/>
              <a:gd name="connsiteX196" fmla="*/ 486993 w 1090712"/>
              <a:gd name="connsiteY196" fmla="*/ 24472 h 895572"/>
              <a:gd name="connsiteX197" fmla="*/ 469887 w 1090712"/>
              <a:gd name="connsiteY197" fmla="*/ 28986 h 895572"/>
              <a:gd name="connsiteX198" fmla="*/ 453493 w 1090712"/>
              <a:gd name="connsiteY198" fmla="*/ 33500 h 895572"/>
              <a:gd name="connsiteX199" fmla="*/ 438762 w 1090712"/>
              <a:gd name="connsiteY199" fmla="*/ 40153 h 895572"/>
              <a:gd name="connsiteX200" fmla="*/ 424507 w 1090712"/>
              <a:gd name="connsiteY200" fmla="*/ 47281 h 895572"/>
              <a:gd name="connsiteX201" fmla="*/ 417379 w 1090712"/>
              <a:gd name="connsiteY201" fmla="*/ 51320 h 895572"/>
              <a:gd name="connsiteX202" fmla="*/ 410727 w 1090712"/>
              <a:gd name="connsiteY202" fmla="*/ 55834 h 895572"/>
              <a:gd name="connsiteX203" fmla="*/ 403599 w 1090712"/>
              <a:gd name="connsiteY203" fmla="*/ 60111 h 895572"/>
              <a:gd name="connsiteX204" fmla="*/ 397422 w 1090712"/>
              <a:gd name="connsiteY204" fmla="*/ 65100 h 895572"/>
              <a:gd name="connsiteX205" fmla="*/ 390769 w 1090712"/>
              <a:gd name="connsiteY205" fmla="*/ 69852 h 895572"/>
              <a:gd name="connsiteX206" fmla="*/ 384592 w 1090712"/>
              <a:gd name="connsiteY206" fmla="*/ 75792 h 895572"/>
              <a:gd name="connsiteX207" fmla="*/ 378889 w 1090712"/>
              <a:gd name="connsiteY207" fmla="*/ 81494 h 895572"/>
              <a:gd name="connsiteX208" fmla="*/ 372950 w 1090712"/>
              <a:gd name="connsiteY208" fmla="*/ 87671 h 895572"/>
              <a:gd name="connsiteX209" fmla="*/ 367723 w 1090712"/>
              <a:gd name="connsiteY209" fmla="*/ 94324 h 895572"/>
              <a:gd name="connsiteX210" fmla="*/ 362733 w 1090712"/>
              <a:gd name="connsiteY210" fmla="*/ 101452 h 895572"/>
              <a:gd name="connsiteX211" fmla="*/ 357981 w 1090712"/>
              <a:gd name="connsiteY211" fmla="*/ 109055 h 895572"/>
              <a:gd name="connsiteX212" fmla="*/ 353467 w 1090712"/>
              <a:gd name="connsiteY212" fmla="*/ 117608 h 895572"/>
              <a:gd name="connsiteX213" fmla="*/ 409064 w 1090712"/>
              <a:gd name="connsiteY213" fmla="*/ 117608 h 895572"/>
              <a:gd name="connsiteX214" fmla="*/ 406925 w 1090712"/>
              <a:gd name="connsiteY214" fmla="*/ 119271 h 895572"/>
              <a:gd name="connsiteX215" fmla="*/ 404074 w 1090712"/>
              <a:gd name="connsiteY215" fmla="*/ 121647 h 895572"/>
              <a:gd name="connsiteX216" fmla="*/ 400510 w 1090712"/>
              <a:gd name="connsiteY216" fmla="*/ 123310 h 895572"/>
              <a:gd name="connsiteX217" fmla="*/ 397422 w 1090712"/>
              <a:gd name="connsiteY217" fmla="*/ 125211 h 895572"/>
              <a:gd name="connsiteX218" fmla="*/ 393383 w 1090712"/>
              <a:gd name="connsiteY218" fmla="*/ 126399 h 895572"/>
              <a:gd name="connsiteX219" fmla="*/ 389581 w 1090712"/>
              <a:gd name="connsiteY219" fmla="*/ 127824 h 895572"/>
              <a:gd name="connsiteX220" fmla="*/ 385542 w 1090712"/>
              <a:gd name="connsiteY220" fmla="*/ 128299 h 895572"/>
              <a:gd name="connsiteX221" fmla="*/ 381503 w 1090712"/>
              <a:gd name="connsiteY221" fmla="*/ 128774 h 895572"/>
              <a:gd name="connsiteX222" fmla="*/ 375326 w 1090712"/>
              <a:gd name="connsiteY222" fmla="*/ 130438 h 895572"/>
              <a:gd name="connsiteX223" fmla="*/ 368435 w 1090712"/>
              <a:gd name="connsiteY223" fmla="*/ 131863 h 895572"/>
              <a:gd name="connsiteX224" fmla="*/ 361783 w 1090712"/>
              <a:gd name="connsiteY224" fmla="*/ 133051 h 895572"/>
              <a:gd name="connsiteX225" fmla="*/ 355606 w 1090712"/>
              <a:gd name="connsiteY225" fmla="*/ 134001 h 895572"/>
              <a:gd name="connsiteX226" fmla="*/ 342300 w 1090712"/>
              <a:gd name="connsiteY226" fmla="*/ 135427 h 895572"/>
              <a:gd name="connsiteX227" fmla="*/ 329471 w 1090712"/>
              <a:gd name="connsiteY227" fmla="*/ 137090 h 895572"/>
              <a:gd name="connsiteX228" fmla="*/ 322818 w 1090712"/>
              <a:gd name="connsiteY228" fmla="*/ 138040 h 895572"/>
              <a:gd name="connsiteX229" fmla="*/ 316403 w 1090712"/>
              <a:gd name="connsiteY229" fmla="*/ 139704 h 895572"/>
              <a:gd name="connsiteX230" fmla="*/ 310226 w 1090712"/>
              <a:gd name="connsiteY230" fmla="*/ 141604 h 895572"/>
              <a:gd name="connsiteX231" fmla="*/ 304048 w 1090712"/>
              <a:gd name="connsiteY231" fmla="*/ 144218 h 895572"/>
              <a:gd name="connsiteX232" fmla="*/ 298346 w 1090712"/>
              <a:gd name="connsiteY232" fmla="*/ 147307 h 895572"/>
              <a:gd name="connsiteX233" fmla="*/ 292406 w 1090712"/>
              <a:gd name="connsiteY233" fmla="*/ 151346 h 895572"/>
              <a:gd name="connsiteX234" fmla="*/ 286704 w 1090712"/>
              <a:gd name="connsiteY234" fmla="*/ 156335 h 895572"/>
              <a:gd name="connsiteX235" fmla="*/ 281240 w 1090712"/>
              <a:gd name="connsiteY235" fmla="*/ 162037 h 895572"/>
              <a:gd name="connsiteX236" fmla="*/ 262232 w 1090712"/>
              <a:gd name="connsiteY236" fmla="*/ 182945 h 895572"/>
              <a:gd name="connsiteX237" fmla="*/ 242987 w 1090712"/>
              <a:gd name="connsiteY237" fmla="*/ 203378 h 895572"/>
              <a:gd name="connsiteX238" fmla="*/ 203547 w 1090712"/>
              <a:gd name="connsiteY238" fmla="*/ 244006 h 895572"/>
              <a:gd name="connsiteX239" fmla="*/ 183827 w 1090712"/>
              <a:gd name="connsiteY239" fmla="*/ 264439 h 895572"/>
              <a:gd name="connsiteX240" fmla="*/ 164345 w 1090712"/>
              <a:gd name="connsiteY240" fmla="*/ 285822 h 895572"/>
              <a:gd name="connsiteX241" fmla="*/ 144862 w 1090712"/>
              <a:gd name="connsiteY241" fmla="*/ 307443 h 895572"/>
              <a:gd name="connsiteX242" fmla="*/ 126093 w 1090712"/>
              <a:gd name="connsiteY242" fmla="*/ 329777 h 895572"/>
              <a:gd name="connsiteX243" fmla="*/ 122054 w 1090712"/>
              <a:gd name="connsiteY243" fmla="*/ 335004 h 895572"/>
              <a:gd name="connsiteX244" fmla="*/ 118015 w 1090712"/>
              <a:gd name="connsiteY244" fmla="*/ 340468 h 895572"/>
              <a:gd name="connsiteX245" fmla="*/ 110887 w 1090712"/>
              <a:gd name="connsiteY245" fmla="*/ 352110 h 895572"/>
              <a:gd name="connsiteX246" fmla="*/ 104709 w 1090712"/>
              <a:gd name="connsiteY246" fmla="*/ 363514 h 895572"/>
              <a:gd name="connsiteX247" fmla="*/ 99007 w 1090712"/>
              <a:gd name="connsiteY247" fmla="*/ 375156 h 895572"/>
              <a:gd name="connsiteX248" fmla="*/ 87840 w 1090712"/>
              <a:gd name="connsiteY248" fmla="*/ 400103 h 895572"/>
              <a:gd name="connsiteX249" fmla="*/ 82138 w 1090712"/>
              <a:gd name="connsiteY249" fmla="*/ 412458 h 895572"/>
              <a:gd name="connsiteX250" fmla="*/ 75723 w 1090712"/>
              <a:gd name="connsiteY250" fmla="*/ 425050 h 895572"/>
              <a:gd name="connsiteX251" fmla="*/ 75723 w 1090712"/>
              <a:gd name="connsiteY251" fmla="*/ 429802 h 895572"/>
              <a:gd name="connsiteX252" fmla="*/ 76674 w 1090712"/>
              <a:gd name="connsiteY252" fmla="*/ 436217 h 895572"/>
              <a:gd name="connsiteX253" fmla="*/ 77149 w 1090712"/>
              <a:gd name="connsiteY253" fmla="*/ 439306 h 895572"/>
              <a:gd name="connsiteX254" fmla="*/ 78574 w 1090712"/>
              <a:gd name="connsiteY254" fmla="*/ 442395 h 895572"/>
              <a:gd name="connsiteX255" fmla="*/ 79762 w 1090712"/>
              <a:gd name="connsiteY255" fmla="*/ 445008 h 895572"/>
              <a:gd name="connsiteX256" fmla="*/ 81663 w 1090712"/>
              <a:gd name="connsiteY256" fmla="*/ 447147 h 895572"/>
              <a:gd name="connsiteX257" fmla="*/ 94018 w 1090712"/>
              <a:gd name="connsiteY257" fmla="*/ 468055 h 895572"/>
              <a:gd name="connsiteX258" fmla="*/ 106848 w 1090712"/>
              <a:gd name="connsiteY258" fmla="*/ 488963 h 895572"/>
              <a:gd name="connsiteX259" fmla="*/ 113975 w 1090712"/>
              <a:gd name="connsiteY259" fmla="*/ 499654 h 895572"/>
              <a:gd name="connsiteX260" fmla="*/ 121103 w 1090712"/>
              <a:gd name="connsiteY260" fmla="*/ 510346 h 895572"/>
              <a:gd name="connsiteX261" fmla="*/ 128706 w 1090712"/>
              <a:gd name="connsiteY261" fmla="*/ 520562 h 895572"/>
              <a:gd name="connsiteX262" fmla="*/ 137259 w 1090712"/>
              <a:gd name="connsiteY262" fmla="*/ 531254 h 895572"/>
              <a:gd name="connsiteX263" fmla="*/ 149614 w 1090712"/>
              <a:gd name="connsiteY263" fmla="*/ 514385 h 895572"/>
              <a:gd name="connsiteX264" fmla="*/ 162206 w 1090712"/>
              <a:gd name="connsiteY264" fmla="*/ 498466 h 895572"/>
              <a:gd name="connsiteX265" fmla="*/ 174561 w 1090712"/>
              <a:gd name="connsiteY265" fmla="*/ 483260 h 895572"/>
              <a:gd name="connsiteX266" fmla="*/ 180739 w 1090712"/>
              <a:gd name="connsiteY266" fmla="*/ 476133 h 895572"/>
              <a:gd name="connsiteX267" fmla="*/ 186916 w 1090712"/>
              <a:gd name="connsiteY267" fmla="*/ 469480 h 895572"/>
              <a:gd name="connsiteX268" fmla="*/ 182639 w 1090712"/>
              <a:gd name="connsiteY268" fmla="*/ 482310 h 895572"/>
              <a:gd name="connsiteX269" fmla="*/ 178125 w 1090712"/>
              <a:gd name="connsiteY269" fmla="*/ 495615 h 895572"/>
              <a:gd name="connsiteX270" fmla="*/ 172423 w 1090712"/>
              <a:gd name="connsiteY270" fmla="*/ 509871 h 895572"/>
              <a:gd name="connsiteX271" fmla="*/ 164820 w 1090712"/>
              <a:gd name="connsiteY271" fmla="*/ 525552 h 895572"/>
              <a:gd name="connsiteX272" fmla="*/ 156267 w 1090712"/>
              <a:gd name="connsiteY272" fmla="*/ 538381 h 895572"/>
              <a:gd name="connsiteX273" fmla="*/ 152703 w 1090712"/>
              <a:gd name="connsiteY273" fmla="*/ 544559 h 895572"/>
              <a:gd name="connsiteX274" fmla="*/ 148664 w 1090712"/>
              <a:gd name="connsiteY274" fmla="*/ 551449 h 895572"/>
              <a:gd name="connsiteX275" fmla="*/ 145100 w 1090712"/>
              <a:gd name="connsiteY275" fmla="*/ 558339 h 895572"/>
              <a:gd name="connsiteX276" fmla="*/ 142011 w 1090712"/>
              <a:gd name="connsiteY276" fmla="*/ 565467 h 895572"/>
              <a:gd name="connsiteX277" fmla="*/ 139398 w 1090712"/>
              <a:gd name="connsiteY277" fmla="*/ 573070 h 895572"/>
              <a:gd name="connsiteX278" fmla="*/ 137259 w 1090712"/>
              <a:gd name="connsiteY278" fmla="*/ 581623 h 895572"/>
              <a:gd name="connsiteX279" fmla="*/ 136309 w 1090712"/>
              <a:gd name="connsiteY279" fmla="*/ 583761 h 895572"/>
              <a:gd name="connsiteX280" fmla="*/ 135359 w 1090712"/>
              <a:gd name="connsiteY280" fmla="*/ 586137 h 895572"/>
              <a:gd name="connsiteX281" fmla="*/ 134883 w 1090712"/>
              <a:gd name="connsiteY281" fmla="*/ 590889 h 895572"/>
              <a:gd name="connsiteX282" fmla="*/ 134883 w 1090712"/>
              <a:gd name="connsiteY282" fmla="*/ 595879 h 895572"/>
              <a:gd name="connsiteX283" fmla="*/ 135359 w 1090712"/>
              <a:gd name="connsiteY283" fmla="*/ 601106 h 895572"/>
              <a:gd name="connsiteX284" fmla="*/ 136784 w 1090712"/>
              <a:gd name="connsiteY284" fmla="*/ 606095 h 895572"/>
              <a:gd name="connsiteX285" fmla="*/ 138447 w 1090712"/>
              <a:gd name="connsiteY285" fmla="*/ 611322 h 895572"/>
              <a:gd name="connsiteX286" fmla="*/ 140348 w 1090712"/>
              <a:gd name="connsiteY286" fmla="*/ 616311 h 895572"/>
              <a:gd name="connsiteX287" fmla="*/ 142486 w 1090712"/>
              <a:gd name="connsiteY287" fmla="*/ 620826 h 895572"/>
              <a:gd name="connsiteX288" fmla="*/ 148664 w 1090712"/>
              <a:gd name="connsiteY288" fmla="*/ 629616 h 895572"/>
              <a:gd name="connsiteX289" fmla="*/ 155554 w 1090712"/>
              <a:gd name="connsiteY289" fmla="*/ 637219 h 895572"/>
              <a:gd name="connsiteX290" fmla="*/ 162444 w 1090712"/>
              <a:gd name="connsiteY290" fmla="*/ 643872 h 895572"/>
              <a:gd name="connsiteX291" fmla="*/ 169572 w 1090712"/>
              <a:gd name="connsiteY291" fmla="*/ 649099 h 895572"/>
              <a:gd name="connsiteX292" fmla="*/ 177175 w 1090712"/>
              <a:gd name="connsiteY292" fmla="*/ 653613 h 895572"/>
              <a:gd name="connsiteX293" fmla="*/ 184778 w 1090712"/>
              <a:gd name="connsiteY293" fmla="*/ 657177 h 895572"/>
              <a:gd name="connsiteX294" fmla="*/ 192856 w 1090712"/>
              <a:gd name="connsiteY294" fmla="*/ 659553 h 895572"/>
              <a:gd name="connsiteX295" fmla="*/ 200934 w 1090712"/>
              <a:gd name="connsiteY295" fmla="*/ 661216 h 895572"/>
              <a:gd name="connsiteX296" fmla="*/ 209250 w 1090712"/>
              <a:gd name="connsiteY296" fmla="*/ 661691 h 895572"/>
              <a:gd name="connsiteX297" fmla="*/ 218278 w 1090712"/>
              <a:gd name="connsiteY297" fmla="*/ 661691 h 895572"/>
              <a:gd name="connsiteX298" fmla="*/ 227069 w 1090712"/>
              <a:gd name="connsiteY298" fmla="*/ 660266 h 895572"/>
              <a:gd name="connsiteX299" fmla="*/ 236335 w 1090712"/>
              <a:gd name="connsiteY299" fmla="*/ 658603 h 895572"/>
              <a:gd name="connsiteX300" fmla="*/ 245838 w 1090712"/>
              <a:gd name="connsiteY300" fmla="*/ 655514 h 895572"/>
              <a:gd name="connsiteX301" fmla="*/ 255580 w 1090712"/>
              <a:gd name="connsiteY301" fmla="*/ 652425 h 895572"/>
              <a:gd name="connsiteX302" fmla="*/ 265321 w 1090712"/>
              <a:gd name="connsiteY302" fmla="*/ 647911 h 895572"/>
              <a:gd name="connsiteX303" fmla="*/ 276013 w 1090712"/>
              <a:gd name="connsiteY303" fmla="*/ 642922 h 895572"/>
              <a:gd name="connsiteX304" fmla="*/ 288367 w 1090712"/>
              <a:gd name="connsiteY304" fmla="*/ 635081 h 895572"/>
              <a:gd name="connsiteX305" fmla="*/ 301910 w 1090712"/>
              <a:gd name="connsiteY305" fmla="*/ 627478 h 895572"/>
              <a:gd name="connsiteX306" fmla="*/ 315215 w 1090712"/>
              <a:gd name="connsiteY306" fmla="*/ 620350 h 895572"/>
              <a:gd name="connsiteX307" fmla="*/ 329471 w 1090712"/>
              <a:gd name="connsiteY307" fmla="*/ 613698 h 895572"/>
              <a:gd name="connsiteX308" fmla="*/ 343726 w 1090712"/>
              <a:gd name="connsiteY308" fmla="*/ 607283 h 895572"/>
              <a:gd name="connsiteX309" fmla="*/ 357981 w 1090712"/>
              <a:gd name="connsiteY309" fmla="*/ 602056 h 895572"/>
              <a:gd name="connsiteX310" fmla="*/ 371999 w 1090712"/>
              <a:gd name="connsiteY310" fmla="*/ 597066 h 895572"/>
              <a:gd name="connsiteX311" fmla="*/ 386730 w 1090712"/>
              <a:gd name="connsiteY311" fmla="*/ 592790 h 895572"/>
              <a:gd name="connsiteX312" fmla="*/ 394808 w 1090712"/>
              <a:gd name="connsiteY312" fmla="*/ 590414 h 895572"/>
              <a:gd name="connsiteX313" fmla="*/ 402411 w 1090712"/>
              <a:gd name="connsiteY313" fmla="*/ 587325 h 895572"/>
              <a:gd name="connsiteX314" fmla="*/ 409064 w 1090712"/>
              <a:gd name="connsiteY314" fmla="*/ 583761 h 895572"/>
              <a:gd name="connsiteX315" fmla="*/ 411677 w 1090712"/>
              <a:gd name="connsiteY315" fmla="*/ 581623 h 895572"/>
              <a:gd name="connsiteX316" fmla="*/ 414766 w 1090712"/>
              <a:gd name="connsiteY316" fmla="*/ 579247 h 895572"/>
              <a:gd name="connsiteX317" fmla="*/ 417142 w 1090712"/>
              <a:gd name="connsiteY317" fmla="*/ 577109 h 895572"/>
              <a:gd name="connsiteX318" fmla="*/ 419280 w 1090712"/>
              <a:gd name="connsiteY318" fmla="*/ 574495 h 895572"/>
              <a:gd name="connsiteX319" fmla="*/ 420943 w 1090712"/>
              <a:gd name="connsiteY319" fmla="*/ 571407 h 895572"/>
              <a:gd name="connsiteX320" fmla="*/ 422844 w 1090712"/>
              <a:gd name="connsiteY320" fmla="*/ 568318 h 895572"/>
              <a:gd name="connsiteX321" fmla="*/ 424269 w 1090712"/>
              <a:gd name="connsiteY321" fmla="*/ 565229 h 895572"/>
              <a:gd name="connsiteX322" fmla="*/ 424982 w 1090712"/>
              <a:gd name="connsiteY322" fmla="*/ 561665 h 895572"/>
              <a:gd name="connsiteX323" fmla="*/ 425457 w 1090712"/>
              <a:gd name="connsiteY323" fmla="*/ 557626 h 895572"/>
              <a:gd name="connsiteX324" fmla="*/ 425932 w 1090712"/>
              <a:gd name="connsiteY324" fmla="*/ 553587 h 895572"/>
              <a:gd name="connsiteX325" fmla="*/ 425932 w 1090712"/>
              <a:gd name="connsiteY325" fmla="*/ 413884 h 895572"/>
              <a:gd name="connsiteX326" fmla="*/ 425932 w 1090712"/>
              <a:gd name="connsiteY326" fmla="*/ 285347 h 895572"/>
              <a:gd name="connsiteX327" fmla="*/ 429496 w 1090712"/>
              <a:gd name="connsiteY327" fmla="*/ 300078 h 895572"/>
              <a:gd name="connsiteX328" fmla="*/ 433060 w 1090712"/>
              <a:gd name="connsiteY328" fmla="*/ 314096 h 895572"/>
              <a:gd name="connsiteX329" fmla="*/ 436149 w 1090712"/>
              <a:gd name="connsiteY329" fmla="*/ 328826 h 895572"/>
              <a:gd name="connsiteX330" fmla="*/ 438762 w 1090712"/>
              <a:gd name="connsiteY330" fmla="*/ 343082 h 895572"/>
              <a:gd name="connsiteX331" fmla="*/ 443752 w 1090712"/>
              <a:gd name="connsiteY331" fmla="*/ 370642 h 895572"/>
              <a:gd name="connsiteX332" fmla="*/ 447791 w 1090712"/>
              <a:gd name="connsiteY332" fmla="*/ 397015 h 895572"/>
              <a:gd name="connsiteX333" fmla="*/ 451830 w 1090712"/>
              <a:gd name="connsiteY333" fmla="*/ 421962 h 895572"/>
              <a:gd name="connsiteX334" fmla="*/ 454919 w 1090712"/>
              <a:gd name="connsiteY334" fmla="*/ 446434 h 895572"/>
              <a:gd name="connsiteX335" fmla="*/ 456106 w 1090712"/>
              <a:gd name="connsiteY335" fmla="*/ 458313 h 895572"/>
              <a:gd name="connsiteX336" fmla="*/ 457057 w 1090712"/>
              <a:gd name="connsiteY336" fmla="*/ 470430 h 895572"/>
              <a:gd name="connsiteX337" fmla="*/ 457532 w 1090712"/>
              <a:gd name="connsiteY337" fmla="*/ 482310 h 895572"/>
              <a:gd name="connsiteX338" fmla="*/ 457532 w 1090712"/>
              <a:gd name="connsiteY338" fmla="*/ 493952 h 895572"/>
              <a:gd name="connsiteX339" fmla="*/ 457532 w 1090712"/>
              <a:gd name="connsiteY339" fmla="*/ 506069 h 895572"/>
              <a:gd name="connsiteX340" fmla="*/ 456582 w 1090712"/>
              <a:gd name="connsiteY340" fmla="*/ 517473 h 895572"/>
              <a:gd name="connsiteX341" fmla="*/ 455869 w 1090712"/>
              <a:gd name="connsiteY341" fmla="*/ 529116 h 895572"/>
              <a:gd name="connsiteX342" fmla="*/ 453968 w 1090712"/>
              <a:gd name="connsiteY342" fmla="*/ 540757 h 895572"/>
              <a:gd name="connsiteX343" fmla="*/ 452305 w 1090712"/>
              <a:gd name="connsiteY343" fmla="*/ 552162 h 895572"/>
              <a:gd name="connsiteX344" fmla="*/ 449454 w 1090712"/>
              <a:gd name="connsiteY344" fmla="*/ 563804 h 895572"/>
              <a:gd name="connsiteX345" fmla="*/ 446365 w 1090712"/>
              <a:gd name="connsiteY345" fmla="*/ 575446 h 895572"/>
              <a:gd name="connsiteX346" fmla="*/ 442326 w 1090712"/>
              <a:gd name="connsiteY346" fmla="*/ 586850 h 895572"/>
              <a:gd name="connsiteX347" fmla="*/ 440188 w 1090712"/>
              <a:gd name="connsiteY347" fmla="*/ 591364 h 895572"/>
              <a:gd name="connsiteX348" fmla="*/ 437574 w 1090712"/>
              <a:gd name="connsiteY348" fmla="*/ 595403 h 895572"/>
              <a:gd name="connsiteX349" fmla="*/ 434486 w 1090712"/>
              <a:gd name="connsiteY349" fmla="*/ 598967 h 895572"/>
              <a:gd name="connsiteX350" fmla="*/ 431397 w 1090712"/>
              <a:gd name="connsiteY350" fmla="*/ 602531 h 895572"/>
              <a:gd name="connsiteX351" fmla="*/ 428071 w 1090712"/>
              <a:gd name="connsiteY351" fmla="*/ 605145 h 895572"/>
              <a:gd name="connsiteX352" fmla="*/ 424982 w 1090712"/>
              <a:gd name="connsiteY352" fmla="*/ 607283 h 895572"/>
              <a:gd name="connsiteX353" fmla="*/ 422369 w 1090712"/>
              <a:gd name="connsiteY353" fmla="*/ 608708 h 895572"/>
              <a:gd name="connsiteX354" fmla="*/ 420230 w 1090712"/>
              <a:gd name="connsiteY354" fmla="*/ 609659 h 895572"/>
              <a:gd name="connsiteX355" fmla="*/ 410727 w 1090712"/>
              <a:gd name="connsiteY355" fmla="*/ 610847 h 895572"/>
              <a:gd name="connsiteX356" fmla="*/ 401461 w 1090712"/>
              <a:gd name="connsiteY356" fmla="*/ 612748 h 895572"/>
              <a:gd name="connsiteX357" fmla="*/ 392670 w 1090712"/>
              <a:gd name="connsiteY357" fmla="*/ 614886 h 895572"/>
              <a:gd name="connsiteX358" fmla="*/ 383641 w 1090712"/>
              <a:gd name="connsiteY358" fmla="*/ 617262 h 895572"/>
              <a:gd name="connsiteX359" fmla="*/ 374850 w 1090712"/>
              <a:gd name="connsiteY359" fmla="*/ 620350 h 895572"/>
              <a:gd name="connsiteX360" fmla="*/ 365822 w 1090712"/>
              <a:gd name="connsiteY360" fmla="*/ 623914 h 895572"/>
              <a:gd name="connsiteX361" fmla="*/ 348478 w 1090712"/>
              <a:gd name="connsiteY361" fmla="*/ 631042 h 895572"/>
              <a:gd name="connsiteX362" fmla="*/ 331609 w 1090712"/>
              <a:gd name="connsiteY362" fmla="*/ 639358 h 895572"/>
              <a:gd name="connsiteX363" fmla="*/ 314740 w 1090712"/>
              <a:gd name="connsiteY363" fmla="*/ 647911 h 895572"/>
              <a:gd name="connsiteX364" fmla="*/ 281240 w 1090712"/>
              <a:gd name="connsiteY364" fmla="*/ 665255 h 895572"/>
              <a:gd name="connsiteX365" fmla="*/ 274587 w 1090712"/>
              <a:gd name="connsiteY365" fmla="*/ 669294 h 895572"/>
              <a:gd name="connsiteX366" fmla="*/ 267935 w 1090712"/>
              <a:gd name="connsiteY366" fmla="*/ 672858 h 895572"/>
              <a:gd name="connsiteX367" fmla="*/ 261757 w 1090712"/>
              <a:gd name="connsiteY367" fmla="*/ 675947 h 895572"/>
              <a:gd name="connsiteX368" fmla="*/ 255105 w 1090712"/>
              <a:gd name="connsiteY368" fmla="*/ 679035 h 895572"/>
              <a:gd name="connsiteX369" fmla="*/ 248927 w 1090712"/>
              <a:gd name="connsiteY369" fmla="*/ 681174 h 895572"/>
              <a:gd name="connsiteX370" fmla="*/ 242987 w 1090712"/>
              <a:gd name="connsiteY370" fmla="*/ 683075 h 895572"/>
              <a:gd name="connsiteX371" fmla="*/ 236810 w 1090712"/>
              <a:gd name="connsiteY371" fmla="*/ 684738 h 895572"/>
              <a:gd name="connsiteX372" fmla="*/ 231108 w 1090712"/>
              <a:gd name="connsiteY372" fmla="*/ 686163 h 895572"/>
              <a:gd name="connsiteX373" fmla="*/ 225406 w 1090712"/>
              <a:gd name="connsiteY373" fmla="*/ 687114 h 895572"/>
              <a:gd name="connsiteX374" fmla="*/ 219466 w 1090712"/>
              <a:gd name="connsiteY374" fmla="*/ 687589 h 895572"/>
              <a:gd name="connsiteX375" fmla="*/ 213764 w 1090712"/>
              <a:gd name="connsiteY375" fmla="*/ 687589 h 895572"/>
              <a:gd name="connsiteX376" fmla="*/ 208299 w 1090712"/>
              <a:gd name="connsiteY376" fmla="*/ 687589 h 895572"/>
              <a:gd name="connsiteX377" fmla="*/ 203072 w 1090712"/>
              <a:gd name="connsiteY377" fmla="*/ 687114 h 895572"/>
              <a:gd name="connsiteX378" fmla="*/ 197607 w 1090712"/>
              <a:gd name="connsiteY378" fmla="*/ 686163 h 895572"/>
              <a:gd name="connsiteX379" fmla="*/ 192380 w 1090712"/>
              <a:gd name="connsiteY379" fmla="*/ 684738 h 895572"/>
              <a:gd name="connsiteX380" fmla="*/ 186916 w 1090712"/>
              <a:gd name="connsiteY380" fmla="*/ 683550 h 895572"/>
              <a:gd name="connsiteX381" fmla="*/ 181689 w 1090712"/>
              <a:gd name="connsiteY381" fmla="*/ 681649 h 895572"/>
              <a:gd name="connsiteX382" fmla="*/ 176699 w 1090712"/>
              <a:gd name="connsiteY382" fmla="*/ 679986 h 895572"/>
              <a:gd name="connsiteX383" fmla="*/ 171472 w 1090712"/>
              <a:gd name="connsiteY383" fmla="*/ 677610 h 895572"/>
              <a:gd name="connsiteX384" fmla="*/ 166483 w 1090712"/>
              <a:gd name="connsiteY384" fmla="*/ 674996 h 895572"/>
              <a:gd name="connsiteX385" fmla="*/ 156742 w 1090712"/>
              <a:gd name="connsiteY385" fmla="*/ 669294 h 895572"/>
              <a:gd name="connsiteX386" fmla="*/ 147001 w 1090712"/>
              <a:gd name="connsiteY386" fmla="*/ 662167 h 895572"/>
              <a:gd name="connsiteX387" fmla="*/ 137735 w 1090712"/>
              <a:gd name="connsiteY387" fmla="*/ 654564 h 895572"/>
              <a:gd name="connsiteX388" fmla="*/ 127756 w 1090712"/>
              <a:gd name="connsiteY388" fmla="*/ 645535 h 895572"/>
              <a:gd name="connsiteX389" fmla="*/ 118490 w 1090712"/>
              <a:gd name="connsiteY389" fmla="*/ 636269 h 895572"/>
              <a:gd name="connsiteX390" fmla="*/ 109224 w 1090712"/>
              <a:gd name="connsiteY390" fmla="*/ 626053 h 895572"/>
              <a:gd name="connsiteX391" fmla="*/ 107323 w 1090712"/>
              <a:gd name="connsiteY391" fmla="*/ 623914 h 895572"/>
              <a:gd name="connsiteX392" fmla="*/ 106135 w 1090712"/>
              <a:gd name="connsiteY392" fmla="*/ 620350 h 895572"/>
              <a:gd name="connsiteX393" fmla="*/ 105185 w 1090712"/>
              <a:gd name="connsiteY393" fmla="*/ 616311 h 895572"/>
              <a:gd name="connsiteX394" fmla="*/ 105185 w 1090712"/>
              <a:gd name="connsiteY394" fmla="*/ 612272 h 895572"/>
              <a:gd name="connsiteX395" fmla="*/ 105185 w 1090712"/>
              <a:gd name="connsiteY395" fmla="*/ 608233 h 895572"/>
              <a:gd name="connsiteX396" fmla="*/ 106135 w 1090712"/>
              <a:gd name="connsiteY396" fmla="*/ 604194 h 895572"/>
              <a:gd name="connsiteX397" fmla="*/ 107323 w 1090712"/>
              <a:gd name="connsiteY397" fmla="*/ 600630 h 895572"/>
              <a:gd name="connsiteX398" fmla="*/ 109224 w 1090712"/>
              <a:gd name="connsiteY398" fmla="*/ 598017 h 895572"/>
              <a:gd name="connsiteX399" fmla="*/ 111837 w 1090712"/>
              <a:gd name="connsiteY399" fmla="*/ 591840 h 895572"/>
              <a:gd name="connsiteX400" fmla="*/ 113975 w 1090712"/>
              <a:gd name="connsiteY400" fmla="*/ 586137 h 895572"/>
              <a:gd name="connsiteX401" fmla="*/ 115401 w 1090712"/>
              <a:gd name="connsiteY401" fmla="*/ 579722 h 895572"/>
              <a:gd name="connsiteX402" fmla="*/ 115876 w 1090712"/>
              <a:gd name="connsiteY402" fmla="*/ 574020 h 895572"/>
              <a:gd name="connsiteX403" fmla="*/ 115876 w 1090712"/>
              <a:gd name="connsiteY403" fmla="*/ 568318 h 895572"/>
              <a:gd name="connsiteX404" fmla="*/ 115401 w 1090712"/>
              <a:gd name="connsiteY404" fmla="*/ 562378 h 895572"/>
              <a:gd name="connsiteX405" fmla="*/ 114451 w 1090712"/>
              <a:gd name="connsiteY405" fmla="*/ 557151 h 895572"/>
              <a:gd name="connsiteX406" fmla="*/ 112788 w 1090712"/>
              <a:gd name="connsiteY406" fmla="*/ 551449 h 895572"/>
              <a:gd name="connsiteX407" fmla="*/ 110412 w 1090712"/>
              <a:gd name="connsiteY407" fmla="*/ 545984 h 895572"/>
              <a:gd name="connsiteX408" fmla="*/ 108273 w 1090712"/>
              <a:gd name="connsiteY408" fmla="*/ 540757 h 895572"/>
              <a:gd name="connsiteX409" fmla="*/ 105185 w 1090712"/>
              <a:gd name="connsiteY409" fmla="*/ 535293 h 895572"/>
              <a:gd name="connsiteX410" fmla="*/ 102096 w 1090712"/>
              <a:gd name="connsiteY410" fmla="*/ 530066 h 895572"/>
              <a:gd name="connsiteX411" fmla="*/ 94968 w 1090712"/>
              <a:gd name="connsiteY411" fmla="*/ 519374 h 895572"/>
              <a:gd name="connsiteX412" fmla="*/ 86890 w 1090712"/>
              <a:gd name="connsiteY412" fmla="*/ 508683 h 895572"/>
              <a:gd name="connsiteX413" fmla="*/ 78812 w 1090712"/>
              <a:gd name="connsiteY413" fmla="*/ 497991 h 895572"/>
              <a:gd name="connsiteX414" fmla="*/ 70972 w 1090712"/>
              <a:gd name="connsiteY414" fmla="*/ 486824 h 895572"/>
              <a:gd name="connsiteX415" fmla="*/ 67408 w 1090712"/>
              <a:gd name="connsiteY415" fmla="*/ 481122 h 895572"/>
              <a:gd name="connsiteX416" fmla="*/ 64319 w 1090712"/>
              <a:gd name="connsiteY416" fmla="*/ 474707 h 895572"/>
              <a:gd name="connsiteX417" fmla="*/ 61230 w 1090712"/>
              <a:gd name="connsiteY417" fmla="*/ 469005 h 895572"/>
              <a:gd name="connsiteX418" fmla="*/ 58379 w 1090712"/>
              <a:gd name="connsiteY418" fmla="*/ 462828 h 895572"/>
              <a:gd name="connsiteX419" fmla="*/ 56716 w 1090712"/>
              <a:gd name="connsiteY419" fmla="*/ 456175 h 895572"/>
              <a:gd name="connsiteX420" fmla="*/ 54815 w 1090712"/>
              <a:gd name="connsiteY420" fmla="*/ 449998 h 895572"/>
              <a:gd name="connsiteX421" fmla="*/ 54103 w 1090712"/>
              <a:gd name="connsiteY421" fmla="*/ 443345 h 895572"/>
              <a:gd name="connsiteX422" fmla="*/ 53627 w 1090712"/>
              <a:gd name="connsiteY422" fmla="*/ 436455 h 895572"/>
              <a:gd name="connsiteX423" fmla="*/ 53627 w 1090712"/>
              <a:gd name="connsiteY423" fmla="*/ 429327 h 895572"/>
              <a:gd name="connsiteX424" fmla="*/ 54815 w 1090712"/>
              <a:gd name="connsiteY424" fmla="*/ 422675 h 895572"/>
              <a:gd name="connsiteX425" fmla="*/ 56716 w 1090712"/>
              <a:gd name="connsiteY425" fmla="*/ 415547 h 895572"/>
              <a:gd name="connsiteX426" fmla="*/ 59330 w 1090712"/>
              <a:gd name="connsiteY426" fmla="*/ 408182 h 895572"/>
              <a:gd name="connsiteX427" fmla="*/ 60280 w 1090712"/>
              <a:gd name="connsiteY427" fmla="*/ 403192 h 895572"/>
              <a:gd name="connsiteX428" fmla="*/ 61943 w 1090712"/>
              <a:gd name="connsiteY428" fmla="*/ 397965 h 895572"/>
              <a:gd name="connsiteX429" fmla="*/ 65507 w 1090712"/>
              <a:gd name="connsiteY429" fmla="*/ 387986 h 895572"/>
              <a:gd name="connsiteX430" fmla="*/ 69546 w 1090712"/>
              <a:gd name="connsiteY430" fmla="*/ 378720 h 895572"/>
              <a:gd name="connsiteX431" fmla="*/ 74535 w 1090712"/>
              <a:gd name="connsiteY431" fmla="*/ 369929 h 895572"/>
              <a:gd name="connsiteX432" fmla="*/ 79762 w 1090712"/>
              <a:gd name="connsiteY432" fmla="*/ 360901 h 895572"/>
              <a:gd name="connsiteX433" fmla="*/ 85940 w 1090712"/>
              <a:gd name="connsiteY433" fmla="*/ 352585 h 895572"/>
              <a:gd name="connsiteX434" fmla="*/ 98057 w 1090712"/>
              <a:gd name="connsiteY434" fmla="*/ 335479 h 895572"/>
              <a:gd name="connsiteX435" fmla="*/ 102571 w 1090712"/>
              <a:gd name="connsiteY435" fmla="*/ 328113 h 895572"/>
              <a:gd name="connsiteX436" fmla="*/ 106848 w 1090712"/>
              <a:gd name="connsiteY436" fmla="*/ 320986 h 895572"/>
              <a:gd name="connsiteX437" fmla="*/ 116827 w 1090712"/>
              <a:gd name="connsiteY437" fmla="*/ 307205 h 895572"/>
              <a:gd name="connsiteX438" fmla="*/ 127043 w 1090712"/>
              <a:gd name="connsiteY438" fmla="*/ 293188 h 895572"/>
              <a:gd name="connsiteX439" fmla="*/ 137735 w 1090712"/>
              <a:gd name="connsiteY439" fmla="*/ 279407 h 895572"/>
              <a:gd name="connsiteX440" fmla="*/ 159831 w 1090712"/>
              <a:gd name="connsiteY440" fmla="*/ 251847 h 895572"/>
              <a:gd name="connsiteX441" fmla="*/ 170522 w 1090712"/>
              <a:gd name="connsiteY441" fmla="*/ 238066 h 895572"/>
              <a:gd name="connsiteX442" fmla="*/ 181214 w 1090712"/>
              <a:gd name="connsiteY442" fmla="*/ 223336 h 895572"/>
              <a:gd name="connsiteX443" fmla="*/ 164820 w 1090712"/>
              <a:gd name="connsiteY443" fmla="*/ 223336 h 895572"/>
              <a:gd name="connsiteX444" fmla="*/ 137972 w 1090712"/>
              <a:gd name="connsiteY444" fmla="*/ 230226 h 895572"/>
              <a:gd name="connsiteX445" fmla="*/ 125142 w 1090712"/>
              <a:gd name="connsiteY445" fmla="*/ 233790 h 895572"/>
              <a:gd name="connsiteX446" fmla="*/ 112788 w 1090712"/>
              <a:gd name="connsiteY446" fmla="*/ 237591 h 895572"/>
              <a:gd name="connsiteX447" fmla="*/ 100195 w 1090712"/>
              <a:gd name="connsiteY447" fmla="*/ 241630 h 895572"/>
              <a:gd name="connsiteX448" fmla="*/ 87840 w 1090712"/>
              <a:gd name="connsiteY448" fmla="*/ 245669 h 895572"/>
              <a:gd name="connsiteX449" fmla="*/ 75723 w 1090712"/>
              <a:gd name="connsiteY449" fmla="*/ 250183 h 895572"/>
              <a:gd name="connsiteX450" fmla="*/ 64319 w 1090712"/>
              <a:gd name="connsiteY450" fmla="*/ 254935 h 895572"/>
              <a:gd name="connsiteX451" fmla="*/ 52677 w 1090712"/>
              <a:gd name="connsiteY451" fmla="*/ 260400 h 895572"/>
              <a:gd name="connsiteX452" fmla="*/ 41035 w 1090712"/>
              <a:gd name="connsiteY452" fmla="*/ 265627 h 895572"/>
              <a:gd name="connsiteX453" fmla="*/ 29868 w 1090712"/>
              <a:gd name="connsiteY453" fmla="*/ 271567 h 895572"/>
              <a:gd name="connsiteX454" fmla="*/ 18939 w 1090712"/>
              <a:gd name="connsiteY454" fmla="*/ 277744 h 895572"/>
              <a:gd name="connsiteX455" fmla="*/ 7772 w 1090712"/>
              <a:gd name="connsiteY455" fmla="*/ 284397 h 895572"/>
              <a:gd name="connsiteX456" fmla="*/ 0 w 1090712"/>
              <a:gd name="connsiteY456" fmla="*/ 289924 h 895572"/>
              <a:gd name="connsiteX457" fmla="*/ 0 w 1090712"/>
              <a:gd name="connsiteY457" fmla="*/ 895572 h 895572"/>
              <a:gd name="connsiteX458" fmla="*/ 125653 w 1090712"/>
              <a:gd name="connsiteY458" fmla="*/ 895572 h 895572"/>
              <a:gd name="connsiteX459" fmla="*/ 127756 w 1090712"/>
              <a:gd name="connsiteY459" fmla="*/ 892155 h 895572"/>
              <a:gd name="connsiteX460" fmla="*/ 131082 w 1090712"/>
              <a:gd name="connsiteY460" fmla="*/ 885502 h 895572"/>
              <a:gd name="connsiteX461" fmla="*/ 133696 w 1090712"/>
              <a:gd name="connsiteY461" fmla="*/ 878374 h 895572"/>
              <a:gd name="connsiteX462" fmla="*/ 135834 w 1090712"/>
              <a:gd name="connsiteY462" fmla="*/ 871722 h 895572"/>
              <a:gd name="connsiteX463" fmla="*/ 137735 w 1090712"/>
              <a:gd name="connsiteY463" fmla="*/ 864594 h 895572"/>
              <a:gd name="connsiteX464" fmla="*/ 138923 w 1090712"/>
              <a:gd name="connsiteY464" fmla="*/ 857466 h 895572"/>
              <a:gd name="connsiteX465" fmla="*/ 140348 w 1090712"/>
              <a:gd name="connsiteY465" fmla="*/ 850339 h 895572"/>
              <a:gd name="connsiteX466" fmla="*/ 141298 w 1090712"/>
              <a:gd name="connsiteY466" fmla="*/ 843211 h 895572"/>
              <a:gd name="connsiteX467" fmla="*/ 142011 w 1090712"/>
              <a:gd name="connsiteY467" fmla="*/ 828955 h 895572"/>
              <a:gd name="connsiteX468" fmla="*/ 142486 w 1090712"/>
              <a:gd name="connsiteY468" fmla="*/ 814225 h 895572"/>
              <a:gd name="connsiteX469" fmla="*/ 142486 w 1090712"/>
              <a:gd name="connsiteY469" fmla="*/ 799494 h 895572"/>
              <a:gd name="connsiteX470" fmla="*/ 142486 w 1090712"/>
              <a:gd name="connsiteY470" fmla="*/ 782625 h 895572"/>
              <a:gd name="connsiteX471" fmla="*/ 142486 w 1090712"/>
              <a:gd name="connsiteY471" fmla="*/ 771458 h 895572"/>
              <a:gd name="connsiteX472" fmla="*/ 143912 w 1090712"/>
              <a:gd name="connsiteY472" fmla="*/ 778586 h 895572"/>
              <a:gd name="connsiteX473" fmla="*/ 145100 w 1090712"/>
              <a:gd name="connsiteY473" fmla="*/ 784526 h 895572"/>
              <a:gd name="connsiteX474" fmla="*/ 147476 w 1090712"/>
              <a:gd name="connsiteY474" fmla="*/ 789753 h 895572"/>
              <a:gd name="connsiteX475" fmla="*/ 149614 w 1090712"/>
              <a:gd name="connsiteY475" fmla="*/ 794267 h 895572"/>
              <a:gd name="connsiteX476" fmla="*/ 152228 w 1090712"/>
              <a:gd name="connsiteY476" fmla="*/ 797831 h 895572"/>
              <a:gd name="connsiteX477" fmla="*/ 155554 w 1090712"/>
              <a:gd name="connsiteY477" fmla="*/ 801395 h 895572"/>
              <a:gd name="connsiteX478" fmla="*/ 158643 w 1090712"/>
              <a:gd name="connsiteY478" fmla="*/ 803533 h 895572"/>
              <a:gd name="connsiteX479" fmla="*/ 162206 w 1090712"/>
              <a:gd name="connsiteY479" fmla="*/ 805909 h 895572"/>
              <a:gd name="connsiteX480" fmla="*/ 165770 w 1090712"/>
              <a:gd name="connsiteY480" fmla="*/ 807572 h 895572"/>
              <a:gd name="connsiteX481" fmla="*/ 169572 w 1090712"/>
              <a:gd name="connsiteY481" fmla="*/ 808523 h 895572"/>
              <a:gd name="connsiteX482" fmla="*/ 174086 w 1090712"/>
              <a:gd name="connsiteY482" fmla="*/ 809473 h 895572"/>
              <a:gd name="connsiteX483" fmla="*/ 178600 w 1090712"/>
              <a:gd name="connsiteY483" fmla="*/ 810186 h 895572"/>
              <a:gd name="connsiteX484" fmla="*/ 187866 w 1090712"/>
              <a:gd name="connsiteY484" fmla="*/ 810661 h 895572"/>
              <a:gd name="connsiteX485" fmla="*/ 198083 w 1090712"/>
              <a:gd name="connsiteY485" fmla="*/ 810661 h 895572"/>
              <a:gd name="connsiteX486" fmla="*/ 236810 w 1090712"/>
              <a:gd name="connsiteY486" fmla="*/ 810661 h 895572"/>
              <a:gd name="connsiteX487" fmla="*/ 249640 w 1090712"/>
              <a:gd name="connsiteY487" fmla="*/ 811136 h 895572"/>
              <a:gd name="connsiteX488" fmla="*/ 263183 w 1090712"/>
              <a:gd name="connsiteY488" fmla="*/ 811611 h 895572"/>
              <a:gd name="connsiteX489" fmla="*/ 270310 w 1090712"/>
              <a:gd name="connsiteY489" fmla="*/ 811611 h 895572"/>
              <a:gd name="connsiteX490" fmla="*/ 276963 w 1090712"/>
              <a:gd name="connsiteY490" fmla="*/ 811136 h 895572"/>
              <a:gd name="connsiteX491" fmla="*/ 283140 w 1090712"/>
              <a:gd name="connsiteY491" fmla="*/ 810186 h 895572"/>
              <a:gd name="connsiteX492" fmla="*/ 289793 w 1090712"/>
              <a:gd name="connsiteY492" fmla="*/ 808523 h 895572"/>
              <a:gd name="connsiteX493" fmla="*/ 295495 w 1090712"/>
              <a:gd name="connsiteY493" fmla="*/ 806147 h 895572"/>
              <a:gd name="connsiteX494" fmla="*/ 301435 w 1090712"/>
              <a:gd name="connsiteY494" fmla="*/ 803058 h 895572"/>
              <a:gd name="connsiteX495" fmla="*/ 304524 w 1090712"/>
              <a:gd name="connsiteY495" fmla="*/ 801395 h 895572"/>
              <a:gd name="connsiteX496" fmla="*/ 307137 w 1090712"/>
              <a:gd name="connsiteY496" fmla="*/ 799256 h 895572"/>
              <a:gd name="connsiteX497" fmla="*/ 309275 w 1090712"/>
              <a:gd name="connsiteY497" fmla="*/ 796881 h 895572"/>
              <a:gd name="connsiteX498" fmla="*/ 312126 w 1090712"/>
              <a:gd name="connsiteY498" fmla="*/ 794267 h 895572"/>
              <a:gd name="connsiteX499" fmla="*/ 314265 w 1090712"/>
              <a:gd name="connsiteY499" fmla="*/ 791178 h 895572"/>
              <a:gd name="connsiteX500" fmla="*/ 316403 w 1090712"/>
              <a:gd name="connsiteY500" fmla="*/ 788090 h 895572"/>
              <a:gd name="connsiteX501" fmla="*/ 318304 w 1090712"/>
              <a:gd name="connsiteY501" fmla="*/ 784051 h 895572"/>
              <a:gd name="connsiteX502" fmla="*/ 319967 w 1090712"/>
              <a:gd name="connsiteY502" fmla="*/ 780012 h 895572"/>
              <a:gd name="connsiteX503" fmla="*/ 321868 w 1090712"/>
              <a:gd name="connsiteY503" fmla="*/ 775973 h 895572"/>
              <a:gd name="connsiteX504" fmla="*/ 323056 w 1090712"/>
              <a:gd name="connsiteY504" fmla="*/ 771221 h 895572"/>
              <a:gd name="connsiteX505" fmla="*/ 324481 w 1090712"/>
              <a:gd name="connsiteY505" fmla="*/ 765756 h 895572"/>
              <a:gd name="connsiteX506" fmla="*/ 325907 w 1090712"/>
              <a:gd name="connsiteY506" fmla="*/ 760529 h 895572"/>
              <a:gd name="connsiteX507" fmla="*/ 325907 w 1090712"/>
              <a:gd name="connsiteY507" fmla="*/ 827530 h 895572"/>
              <a:gd name="connsiteX508" fmla="*/ 310226 w 1090712"/>
              <a:gd name="connsiteY508" fmla="*/ 835608 h 895572"/>
              <a:gd name="connsiteX509" fmla="*/ 295970 w 1090712"/>
              <a:gd name="connsiteY509" fmla="*/ 843686 h 895572"/>
              <a:gd name="connsiteX510" fmla="*/ 282665 w 1090712"/>
              <a:gd name="connsiteY510" fmla="*/ 850339 h 895572"/>
              <a:gd name="connsiteX511" fmla="*/ 276488 w 1090712"/>
              <a:gd name="connsiteY511" fmla="*/ 852952 h 895572"/>
              <a:gd name="connsiteX512" fmla="*/ 270310 w 1090712"/>
              <a:gd name="connsiteY512" fmla="*/ 855565 h 895572"/>
              <a:gd name="connsiteX513" fmla="*/ 266271 w 1090712"/>
              <a:gd name="connsiteY513" fmla="*/ 857942 h 895572"/>
              <a:gd name="connsiteX514" fmla="*/ 262708 w 1090712"/>
              <a:gd name="connsiteY514" fmla="*/ 860080 h 895572"/>
              <a:gd name="connsiteX515" fmla="*/ 259619 w 1090712"/>
              <a:gd name="connsiteY515" fmla="*/ 862693 h 895572"/>
              <a:gd name="connsiteX516" fmla="*/ 256768 w 1090712"/>
              <a:gd name="connsiteY516" fmla="*/ 865544 h 895572"/>
              <a:gd name="connsiteX517" fmla="*/ 254154 w 1090712"/>
              <a:gd name="connsiteY517" fmla="*/ 868633 h 895572"/>
              <a:gd name="connsiteX518" fmla="*/ 252491 w 1090712"/>
              <a:gd name="connsiteY518" fmla="*/ 871722 h 895572"/>
              <a:gd name="connsiteX519" fmla="*/ 250590 w 1090712"/>
              <a:gd name="connsiteY519" fmla="*/ 874810 h 895572"/>
              <a:gd name="connsiteX520" fmla="*/ 249402 w 1090712"/>
              <a:gd name="connsiteY520" fmla="*/ 877899 h 895572"/>
              <a:gd name="connsiteX521" fmla="*/ 248452 w 1090712"/>
              <a:gd name="connsiteY521" fmla="*/ 880988 h 895572"/>
              <a:gd name="connsiteX522" fmla="*/ 247977 w 1090712"/>
              <a:gd name="connsiteY522" fmla="*/ 884076 h 895572"/>
              <a:gd name="connsiteX523" fmla="*/ 247977 w 1090712"/>
              <a:gd name="connsiteY523" fmla="*/ 887165 h 895572"/>
              <a:gd name="connsiteX524" fmla="*/ 248452 w 1090712"/>
              <a:gd name="connsiteY524" fmla="*/ 890016 h 895572"/>
              <a:gd name="connsiteX525" fmla="*/ 249402 w 1090712"/>
              <a:gd name="connsiteY525" fmla="*/ 893105 h 895572"/>
              <a:gd name="connsiteX526" fmla="*/ 250075 w 1090712"/>
              <a:gd name="connsiteY526" fmla="*/ 895572 h 895572"/>
              <a:gd name="connsiteX527" fmla="*/ 474750 w 1090712"/>
              <a:gd name="connsiteY527" fmla="*/ 895572 h 895572"/>
              <a:gd name="connsiteX528" fmla="*/ 475827 w 1090712"/>
              <a:gd name="connsiteY528" fmla="*/ 894768 h 895572"/>
              <a:gd name="connsiteX529" fmla="*/ 486993 w 1090712"/>
              <a:gd name="connsiteY529" fmla="*/ 882889 h 895572"/>
              <a:gd name="connsiteX530" fmla="*/ 497210 w 1090712"/>
              <a:gd name="connsiteY530" fmla="*/ 870296 h 895572"/>
              <a:gd name="connsiteX531" fmla="*/ 506951 w 1090712"/>
              <a:gd name="connsiteY531" fmla="*/ 857942 h 895572"/>
              <a:gd name="connsiteX532" fmla="*/ 515742 w 1090712"/>
              <a:gd name="connsiteY532" fmla="*/ 844636 h 895572"/>
              <a:gd name="connsiteX533" fmla="*/ 523820 w 1090712"/>
              <a:gd name="connsiteY533" fmla="*/ 831094 h 895572"/>
              <a:gd name="connsiteX534" fmla="*/ 531898 w 1090712"/>
              <a:gd name="connsiteY534" fmla="*/ 816838 h 895572"/>
              <a:gd name="connsiteX535" fmla="*/ 539026 w 1090712"/>
              <a:gd name="connsiteY535" fmla="*/ 802583 h 895572"/>
              <a:gd name="connsiteX536" fmla="*/ 545678 w 1090712"/>
              <a:gd name="connsiteY536" fmla="*/ 788565 h 895572"/>
              <a:gd name="connsiteX537" fmla="*/ 552331 w 1090712"/>
              <a:gd name="connsiteY537" fmla="*/ 773359 h 895572"/>
              <a:gd name="connsiteX538" fmla="*/ 558033 w 1090712"/>
              <a:gd name="connsiteY538" fmla="*/ 758628 h 895572"/>
              <a:gd name="connsiteX539" fmla="*/ 563498 w 1090712"/>
              <a:gd name="connsiteY539" fmla="*/ 743185 h 895572"/>
              <a:gd name="connsiteX540" fmla="*/ 568725 w 1090712"/>
              <a:gd name="connsiteY540" fmla="*/ 727979 h 895572"/>
              <a:gd name="connsiteX541" fmla="*/ 573714 w 1090712"/>
              <a:gd name="connsiteY541" fmla="*/ 712298 h 895572"/>
              <a:gd name="connsiteX542" fmla="*/ 577991 w 1090712"/>
              <a:gd name="connsiteY542" fmla="*/ 696855 h 895572"/>
              <a:gd name="connsiteX543" fmla="*/ 586544 w 1090712"/>
              <a:gd name="connsiteY543" fmla="*/ 665255 h 895572"/>
              <a:gd name="connsiteX544" fmla="*/ 586069 w 1090712"/>
              <a:gd name="connsiteY544" fmla="*/ 663117 h 895572"/>
              <a:gd name="connsiteX545" fmla="*/ 584881 w 1090712"/>
              <a:gd name="connsiteY545" fmla="*/ 660266 h 895572"/>
              <a:gd name="connsiteX546" fmla="*/ 582980 w 1090712"/>
              <a:gd name="connsiteY546" fmla="*/ 657177 h 895572"/>
              <a:gd name="connsiteX547" fmla="*/ 580367 w 1090712"/>
              <a:gd name="connsiteY547" fmla="*/ 654088 h 895572"/>
              <a:gd name="connsiteX548" fmla="*/ 574902 w 1090712"/>
              <a:gd name="connsiteY548" fmla="*/ 647911 h 895572"/>
              <a:gd name="connsiteX549" fmla="*/ 570150 w 1090712"/>
              <a:gd name="connsiteY549" fmla="*/ 642922 h 895572"/>
              <a:gd name="connsiteX550" fmla="*/ 565636 w 1090712"/>
              <a:gd name="connsiteY550" fmla="*/ 636744 h 895572"/>
              <a:gd name="connsiteX551" fmla="*/ 560647 w 1090712"/>
              <a:gd name="connsiteY551" fmla="*/ 631517 h 895572"/>
              <a:gd name="connsiteX552" fmla="*/ 555420 w 1090712"/>
              <a:gd name="connsiteY552" fmla="*/ 626053 h 895572"/>
              <a:gd name="connsiteX553" fmla="*/ 550193 w 1090712"/>
              <a:gd name="connsiteY553" fmla="*/ 621301 h 895572"/>
              <a:gd name="connsiteX554" fmla="*/ 544253 w 1090712"/>
              <a:gd name="connsiteY554" fmla="*/ 616787 h 895572"/>
              <a:gd name="connsiteX555" fmla="*/ 538075 w 1090712"/>
              <a:gd name="connsiteY555" fmla="*/ 612272 h 895572"/>
              <a:gd name="connsiteX556" fmla="*/ 525721 w 1090712"/>
              <a:gd name="connsiteY556" fmla="*/ 603719 h 895572"/>
              <a:gd name="connsiteX557" fmla="*/ 563023 w 1090712"/>
              <a:gd name="connsiteY557" fmla="*/ 619875 h 895572"/>
              <a:gd name="connsiteX558" fmla="*/ 581317 w 1090712"/>
              <a:gd name="connsiteY558" fmla="*/ 628191 h 895572"/>
              <a:gd name="connsiteX559" fmla="*/ 599374 w 1090712"/>
              <a:gd name="connsiteY559" fmla="*/ 636744 h 895572"/>
              <a:gd name="connsiteX560" fmla="*/ 607927 w 1090712"/>
              <a:gd name="connsiteY560" fmla="*/ 641259 h 895572"/>
              <a:gd name="connsiteX561" fmla="*/ 616718 w 1090712"/>
              <a:gd name="connsiteY561" fmla="*/ 646010 h 895572"/>
              <a:gd name="connsiteX562" fmla="*/ 625271 w 1090712"/>
              <a:gd name="connsiteY562" fmla="*/ 651000 h 895572"/>
              <a:gd name="connsiteX563" fmla="*/ 633349 w 1090712"/>
              <a:gd name="connsiteY563" fmla="*/ 656227 h 895572"/>
              <a:gd name="connsiteX564" fmla="*/ 641665 w 1090712"/>
              <a:gd name="connsiteY564" fmla="*/ 662167 h 895572"/>
              <a:gd name="connsiteX565" fmla="*/ 649268 w 1090712"/>
              <a:gd name="connsiteY565" fmla="*/ 668344 h 895572"/>
              <a:gd name="connsiteX566" fmla="*/ 656871 w 1090712"/>
              <a:gd name="connsiteY566" fmla="*/ 674996 h 895572"/>
              <a:gd name="connsiteX567" fmla="*/ 664474 w 1090712"/>
              <a:gd name="connsiteY567" fmla="*/ 682124 h 895572"/>
              <a:gd name="connsiteX568" fmla="*/ 668988 w 1090712"/>
              <a:gd name="connsiteY568" fmla="*/ 686163 h 895572"/>
              <a:gd name="connsiteX569" fmla="*/ 672790 w 1090712"/>
              <a:gd name="connsiteY569" fmla="*/ 690202 h 895572"/>
              <a:gd name="connsiteX570" fmla="*/ 677304 w 1090712"/>
              <a:gd name="connsiteY570" fmla="*/ 693291 h 895572"/>
              <a:gd name="connsiteX571" fmla="*/ 682293 w 1090712"/>
              <a:gd name="connsiteY571" fmla="*/ 696855 h 895572"/>
              <a:gd name="connsiteX572" fmla="*/ 686570 w 1090712"/>
              <a:gd name="connsiteY572" fmla="*/ 699468 h 895572"/>
              <a:gd name="connsiteX573" fmla="*/ 691559 w 1090712"/>
              <a:gd name="connsiteY573" fmla="*/ 702082 h 895572"/>
              <a:gd name="connsiteX574" fmla="*/ 696549 w 1090712"/>
              <a:gd name="connsiteY574" fmla="*/ 703983 h 895572"/>
              <a:gd name="connsiteX575" fmla="*/ 701300 w 1090712"/>
              <a:gd name="connsiteY575" fmla="*/ 705646 h 895572"/>
              <a:gd name="connsiteX576" fmla="*/ 706290 w 1090712"/>
              <a:gd name="connsiteY576" fmla="*/ 707071 h 895572"/>
              <a:gd name="connsiteX577" fmla="*/ 711042 w 1090712"/>
              <a:gd name="connsiteY577" fmla="*/ 708497 h 895572"/>
              <a:gd name="connsiteX578" fmla="*/ 716506 w 1090712"/>
              <a:gd name="connsiteY578" fmla="*/ 708734 h 895572"/>
              <a:gd name="connsiteX579" fmla="*/ 721258 w 1090712"/>
              <a:gd name="connsiteY579" fmla="*/ 708734 h 895572"/>
              <a:gd name="connsiteX580" fmla="*/ 726723 w 1090712"/>
              <a:gd name="connsiteY580" fmla="*/ 708497 h 895572"/>
              <a:gd name="connsiteX581" fmla="*/ 731712 w 1090712"/>
              <a:gd name="connsiteY581" fmla="*/ 707546 h 895572"/>
              <a:gd name="connsiteX582" fmla="*/ 736939 w 1090712"/>
              <a:gd name="connsiteY582" fmla="*/ 706121 h 895572"/>
              <a:gd name="connsiteX583" fmla="*/ 742166 w 1090712"/>
              <a:gd name="connsiteY583" fmla="*/ 704458 h 895572"/>
              <a:gd name="connsiteX584" fmla="*/ 749294 w 1090712"/>
              <a:gd name="connsiteY584" fmla="*/ 702082 h 895572"/>
              <a:gd name="connsiteX585" fmla="*/ 756184 w 1090712"/>
              <a:gd name="connsiteY585" fmla="*/ 699468 h 895572"/>
              <a:gd name="connsiteX586" fmla="*/ 762361 w 1090712"/>
              <a:gd name="connsiteY586" fmla="*/ 696380 h 895572"/>
              <a:gd name="connsiteX587" fmla="*/ 768063 w 1090712"/>
              <a:gd name="connsiteY587" fmla="*/ 692816 h 895572"/>
              <a:gd name="connsiteX588" fmla="*/ 773528 w 1090712"/>
              <a:gd name="connsiteY588" fmla="*/ 689252 h 895572"/>
              <a:gd name="connsiteX589" fmla="*/ 778755 w 1090712"/>
              <a:gd name="connsiteY589" fmla="*/ 684738 h 895572"/>
              <a:gd name="connsiteX590" fmla="*/ 783269 w 1090712"/>
              <a:gd name="connsiteY590" fmla="*/ 680461 h 895572"/>
              <a:gd name="connsiteX591" fmla="*/ 787308 w 1090712"/>
              <a:gd name="connsiteY591" fmla="*/ 674996 h 895572"/>
              <a:gd name="connsiteX592" fmla="*/ 791110 w 1090712"/>
              <a:gd name="connsiteY592" fmla="*/ 669769 h 895572"/>
              <a:gd name="connsiteX593" fmla="*/ 794436 w 1090712"/>
              <a:gd name="connsiteY593" fmla="*/ 663830 h 895572"/>
              <a:gd name="connsiteX594" fmla="*/ 797050 w 1090712"/>
              <a:gd name="connsiteY594" fmla="*/ 657652 h 895572"/>
              <a:gd name="connsiteX595" fmla="*/ 799188 w 1090712"/>
              <a:gd name="connsiteY595" fmla="*/ 651000 h 895572"/>
              <a:gd name="connsiteX596" fmla="*/ 801089 w 1090712"/>
              <a:gd name="connsiteY596" fmla="*/ 643872 h 895572"/>
              <a:gd name="connsiteX597" fmla="*/ 802277 w 1090712"/>
              <a:gd name="connsiteY597" fmla="*/ 636744 h 895572"/>
              <a:gd name="connsiteX598" fmla="*/ 803227 w 1090712"/>
              <a:gd name="connsiteY598" fmla="*/ 628666 h 895572"/>
              <a:gd name="connsiteX599" fmla="*/ 803227 w 1090712"/>
              <a:gd name="connsiteY599" fmla="*/ 620826 h 895572"/>
              <a:gd name="connsiteX600" fmla="*/ 801089 w 1090712"/>
              <a:gd name="connsiteY600" fmla="*/ 622489 h 895572"/>
              <a:gd name="connsiteX601" fmla="*/ 798238 w 1090712"/>
              <a:gd name="connsiteY601" fmla="*/ 623914 h 895572"/>
              <a:gd name="connsiteX602" fmla="*/ 793011 w 1090712"/>
              <a:gd name="connsiteY602" fmla="*/ 626053 h 895572"/>
              <a:gd name="connsiteX603" fmla="*/ 790397 w 1090712"/>
              <a:gd name="connsiteY603" fmla="*/ 627478 h 895572"/>
              <a:gd name="connsiteX604" fmla="*/ 788496 w 1090712"/>
              <a:gd name="connsiteY604" fmla="*/ 628191 h 895572"/>
              <a:gd name="connsiteX605" fmla="*/ 787308 w 1090712"/>
              <a:gd name="connsiteY605" fmla="*/ 630092 h 895572"/>
              <a:gd name="connsiteX606" fmla="*/ 786833 w 1090712"/>
              <a:gd name="connsiteY606" fmla="*/ 631755 h 895572"/>
              <a:gd name="connsiteX607" fmla="*/ 785408 w 1090712"/>
              <a:gd name="connsiteY607" fmla="*/ 635794 h 895572"/>
              <a:gd name="connsiteX608" fmla="*/ 784220 w 1090712"/>
              <a:gd name="connsiteY608" fmla="*/ 639833 h 895572"/>
              <a:gd name="connsiteX609" fmla="*/ 780656 w 1090712"/>
              <a:gd name="connsiteY609" fmla="*/ 646485 h 895572"/>
              <a:gd name="connsiteX610" fmla="*/ 776617 w 1090712"/>
              <a:gd name="connsiteY610" fmla="*/ 653138 h 895572"/>
              <a:gd name="connsiteX611" fmla="*/ 772103 w 1090712"/>
              <a:gd name="connsiteY611" fmla="*/ 659078 h 895572"/>
              <a:gd name="connsiteX612" fmla="*/ 762361 w 1090712"/>
              <a:gd name="connsiteY612" fmla="*/ 670007 h 895572"/>
              <a:gd name="connsiteX613" fmla="*/ 757847 w 1090712"/>
              <a:gd name="connsiteY613" fmla="*/ 675947 h 895572"/>
              <a:gd name="connsiteX614" fmla="*/ 753333 w 1090712"/>
              <a:gd name="connsiteY614" fmla="*/ 682124 h 895572"/>
              <a:gd name="connsiteX615" fmla="*/ 750244 w 1090712"/>
              <a:gd name="connsiteY615" fmla="*/ 684738 h 895572"/>
              <a:gd name="connsiteX616" fmla="*/ 747155 w 1090712"/>
              <a:gd name="connsiteY616" fmla="*/ 687589 h 895572"/>
              <a:gd name="connsiteX617" fmla="*/ 744067 w 1090712"/>
              <a:gd name="connsiteY617" fmla="*/ 689252 h 895572"/>
              <a:gd name="connsiteX618" fmla="*/ 740978 w 1090712"/>
              <a:gd name="connsiteY618" fmla="*/ 690915 h 895572"/>
              <a:gd name="connsiteX619" fmla="*/ 737890 w 1090712"/>
              <a:gd name="connsiteY619" fmla="*/ 691865 h 895572"/>
              <a:gd name="connsiteX620" fmla="*/ 734801 w 1090712"/>
              <a:gd name="connsiteY620" fmla="*/ 692816 h 895572"/>
              <a:gd name="connsiteX621" fmla="*/ 731950 w 1090712"/>
              <a:gd name="connsiteY621" fmla="*/ 693291 h 895572"/>
              <a:gd name="connsiteX622" fmla="*/ 728861 w 1090712"/>
              <a:gd name="connsiteY622" fmla="*/ 693291 h 895572"/>
              <a:gd name="connsiteX623" fmla="*/ 723634 w 1090712"/>
              <a:gd name="connsiteY623" fmla="*/ 692816 h 895572"/>
              <a:gd name="connsiteX624" fmla="*/ 718169 w 1090712"/>
              <a:gd name="connsiteY624" fmla="*/ 691390 h 895572"/>
              <a:gd name="connsiteX625" fmla="*/ 713418 w 1090712"/>
              <a:gd name="connsiteY625" fmla="*/ 689727 h 895572"/>
              <a:gd name="connsiteX626" fmla="*/ 708903 w 1090712"/>
              <a:gd name="connsiteY626" fmla="*/ 687826 h 895572"/>
              <a:gd name="connsiteX627" fmla="*/ 706765 w 1090712"/>
              <a:gd name="connsiteY627" fmla="*/ 687589 h 895572"/>
              <a:gd name="connsiteX628" fmla="*/ 704864 w 1090712"/>
              <a:gd name="connsiteY628" fmla="*/ 687114 h 895572"/>
              <a:gd name="connsiteX629" fmla="*/ 703201 w 1090712"/>
              <a:gd name="connsiteY629" fmla="*/ 686163 h 895572"/>
              <a:gd name="connsiteX630" fmla="*/ 701776 w 1090712"/>
              <a:gd name="connsiteY630" fmla="*/ 684738 h 895572"/>
              <a:gd name="connsiteX631" fmla="*/ 698687 w 1090712"/>
              <a:gd name="connsiteY631" fmla="*/ 681649 h 895572"/>
              <a:gd name="connsiteX632" fmla="*/ 696549 w 1090712"/>
              <a:gd name="connsiteY632" fmla="*/ 678085 h 895572"/>
              <a:gd name="connsiteX633" fmla="*/ 694648 w 1090712"/>
              <a:gd name="connsiteY633" fmla="*/ 673571 h 895572"/>
              <a:gd name="connsiteX634" fmla="*/ 693460 w 1090712"/>
              <a:gd name="connsiteY634" fmla="*/ 668819 h 895572"/>
              <a:gd name="connsiteX635" fmla="*/ 692510 w 1090712"/>
              <a:gd name="connsiteY635" fmla="*/ 664305 h 895572"/>
              <a:gd name="connsiteX636" fmla="*/ 692510 w 1090712"/>
              <a:gd name="connsiteY636" fmla="*/ 659790 h 895572"/>
              <a:gd name="connsiteX637" fmla="*/ 692510 w 1090712"/>
              <a:gd name="connsiteY637" fmla="*/ 647436 h 895572"/>
              <a:gd name="connsiteX638" fmla="*/ 693460 w 1090712"/>
              <a:gd name="connsiteY638" fmla="*/ 635319 h 895572"/>
              <a:gd name="connsiteX639" fmla="*/ 694173 w 1090712"/>
              <a:gd name="connsiteY639" fmla="*/ 624389 h 895572"/>
              <a:gd name="connsiteX640" fmla="*/ 695598 w 1090712"/>
              <a:gd name="connsiteY640" fmla="*/ 612748 h 895572"/>
              <a:gd name="connsiteX641" fmla="*/ 699162 w 1090712"/>
              <a:gd name="connsiteY641" fmla="*/ 591364 h 895572"/>
              <a:gd name="connsiteX642" fmla="*/ 703676 w 1090712"/>
              <a:gd name="connsiteY642" fmla="*/ 570456 h 895572"/>
              <a:gd name="connsiteX643" fmla="*/ 720070 w 1090712"/>
              <a:gd name="connsiteY643" fmla="*/ 574971 h 895572"/>
              <a:gd name="connsiteX644" fmla="*/ 736939 w 1090712"/>
              <a:gd name="connsiteY644" fmla="*/ 579247 h 895572"/>
              <a:gd name="connsiteX645" fmla="*/ 770677 w 1090712"/>
              <a:gd name="connsiteY645" fmla="*/ 589226 h 895572"/>
              <a:gd name="connsiteX646" fmla="*/ 788021 w 1090712"/>
              <a:gd name="connsiteY646" fmla="*/ 593503 h 895572"/>
              <a:gd name="connsiteX647" fmla="*/ 805365 w 1090712"/>
              <a:gd name="connsiteY647" fmla="*/ 597542 h 895572"/>
              <a:gd name="connsiteX648" fmla="*/ 823660 w 1090712"/>
              <a:gd name="connsiteY648" fmla="*/ 601106 h 895572"/>
              <a:gd name="connsiteX649" fmla="*/ 841954 w 1090712"/>
              <a:gd name="connsiteY649" fmla="*/ 603719 h 895572"/>
              <a:gd name="connsiteX650" fmla="*/ 861437 w 1090712"/>
              <a:gd name="connsiteY650" fmla="*/ 606570 h 895572"/>
              <a:gd name="connsiteX651" fmla="*/ 880682 w 1090712"/>
              <a:gd name="connsiteY651" fmla="*/ 608233 h 895572"/>
              <a:gd name="connsiteX652" fmla="*/ 889948 w 1090712"/>
              <a:gd name="connsiteY652" fmla="*/ 608708 h 895572"/>
              <a:gd name="connsiteX653" fmla="*/ 898976 w 1090712"/>
              <a:gd name="connsiteY653" fmla="*/ 608708 h 895572"/>
              <a:gd name="connsiteX654" fmla="*/ 908242 w 1090712"/>
              <a:gd name="connsiteY654" fmla="*/ 608708 h 895572"/>
              <a:gd name="connsiteX655" fmla="*/ 916795 w 1090712"/>
              <a:gd name="connsiteY655" fmla="*/ 608233 h 895572"/>
              <a:gd name="connsiteX656" fmla="*/ 925586 w 1090712"/>
              <a:gd name="connsiteY656" fmla="*/ 607283 h 895572"/>
              <a:gd name="connsiteX657" fmla="*/ 934140 w 1090712"/>
              <a:gd name="connsiteY657" fmla="*/ 606095 h 895572"/>
              <a:gd name="connsiteX658" fmla="*/ 942455 w 1090712"/>
              <a:gd name="connsiteY658" fmla="*/ 604669 h 895572"/>
              <a:gd name="connsiteX659" fmla="*/ 950533 w 1090712"/>
              <a:gd name="connsiteY659" fmla="*/ 603006 h 895572"/>
              <a:gd name="connsiteX660" fmla="*/ 958611 w 1090712"/>
              <a:gd name="connsiteY660" fmla="*/ 600630 h 895572"/>
              <a:gd name="connsiteX661" fmla="*/ 966452 w 1090712"/>
              <a:gd name="connsiteY661" fmla="*/ 598017 h 895572"/>
              <a:gd name="connsiteX662" fmla="*/ 974055 w 1090712"/>
              <a:gd name="connsiteY662" fmla="*/ 595403 h 895572"/>
              <a:gd name="connsiteX663" fmla="*/ 981658 w 1090712"/>
              <a:gd name="connsiteY663" fmla="*/ 591840 h 895572"/>
              <a:gd name="connsiteX664" fmla="*/ 989261 w 1090712"/>
              <a:gd name="connsiteY664" fmla="*/ 588276 h 895572"/>
              <a:gd name="connsiteX665" fmla="*/ 996388 w 1090712"/>
              <a:gd name="connsiteY665" fmla="*/ 584237 h 895572"/>
              <a:gd name="connsiteX666" fmla="*/ 1003041 w 1090712"/>
              <a:gd name="connsiteY666" fmla="*/ 579247 h 895572"/>
              <a:gd name="connsiteX667" fmla="*/ 1009694 w 1090712"/>
              <a:gd name="connsiteY667" fmla="*/ 574495 h 895572"/>
              <a:gd name="connsiteX668" fmla="*/ 1016346 w 1090712"/>
              <a:gd name="connsiteY668" fmla="*/ 569031 h 895572"/>
              <a:gd name="connsiteX669" fmla="*/ 1022998 w 1090712"/>
              <a:gd name="connsiteY669" fmla="*/ 562853 h 895572"/>
              <a:gd name="connsiteX670" fmla="*/ 1029176 w 1090712"/>
              <a:gd name="connsiteY670" fmla="*/ 556676 h 895572"/>
              <a:gd name="connsiteX671" fmla="*/ 1035116 w 1090712"/>
              <a:gd name="connsiteY671" fmla="*/ 549548 h 895572"/>
              <a:gd name="connsiteX672" fmla="*/ 1040818 w 1090712"/>
              <a:gd name="connsiteY672" fmla="*/ 541945 h 895572"/>
              <a:gd name="connsiteX673" fmla="*/ 1046520 w 1090712"/>
              <a:gd name="connsiteY673" fmla="*/ 534342 h 895572"/>
              <a:gd name="connsiteX674" fmla="*/ 1051985 w 1090712"/>
              <a:gd name="connsiteY674" fmla="*/ 526027 h 895572"/>
              <a:gd name="connsiteX675" fmla="*/ 1056737 w 1090712"/>
              <a:gd name="connsiteY675" fmla="*/ 516523 h 895572"/>
              <a:gd name="connsiteX676" fmla="*/ 1061726 w 1090712"/>
              <a:gd name="connsiteY676" fmla="*/ 507257 h 895572"/>
              <a:gd name="connsiteX677" fmla="*/ 1066715 w 1090712"/>
              <a:gd name="connsiteY677" fmla="*/ 497041 h 895572"/>
              <a:gd name="connsiteX678" fmla="*/ 1070992 w 1090712"/>
              <a:gd name="connsiteY678" fmla="*/ 486349 h 895572"/>
              <a:gd name="connsiteX679" fmla="*/ 1075506 w 1090712"/>
              <a:gd name="connsiteY679" fmla="*/ 475182 h 895572"/>
              <a:gd name="connsiteX680" fmla="*/ 1079070 w 1090712"/>
              <a:gd name="connsiteY680" fmla="*/ 462828 h 895572"/>
              <a:gd name="connsiteX681" fmla="*/ 1082634 w 1090712"/>
              <a:gd name="connsiteY681" fmla="*/ 449998 h 895572"/>
              <a:gd name="connsiteX682" fmla="*/ 1084772 w 1090712"/>
              <a:gd name="connsiteY682" fmla="*/ 437405 h 895572"/>
              <a:gd name="connsiteX683" fmla="*/ 1087148 w 1090712"/>
              <a:gd name="connsiteY683" fmla="*/ 425050 h 895572"/>
              <a:gd name="connsiteX684" fmla="*/ 1088811 w 1090712"/>
              <a:gd name="connsiteY684" fmla="*/ 411983 h 895572"/>
              <a:gd name="connsiteX685" fmla="*/ 1089762 w 1090712"/>
              <a:gd name="connsiteY685" fmla="*/ 399628 h 895572"/>
              <a:gd name="connsiteX686" fmla="*/ 1090712 w 1090712"/>
              <a:gd name="connsiteY686" fmla="*/ 386798 h 895572"/>
              <a:gd name="connsiteX687" fmla="*/ 1090712 w 1090712"/>
              <a:gd name="connsiteY687" fmla="*/ 373731 h 895572"/>
              <a:gd name="connsiteX688" fmla="*/ 1090712 w 1090712"/>
              <a:gd name="connsiteY688" fmla="*/ 360901 h 895572"/>
              <a:gd name="connsiteX689" fmla="*/ 1089762 w 1090712"/>
              <a:gd name="connsiteY689" fmla="*/ 348071 h 895572"/>
              <a:gd name="connsiteX690" fmla="*/ 1088811 w 1090712"/>
              <a:gd name="connsiteY690" fmla="*/ 335004 h 895572"/>
              <a:gd name="connsiteX691" fmla="*/ 1088099 w 1090712"/>
              <a:gd name="connsiteY691" fmla="*/ 321698 h 895572"/>
              <a:gd name="connsiteX692" fmla="*/ 1084772 w 1090712"/>
              <a:gd name="connsiteY692" fmla="*/ 295563 h 895572"/>
              <a:gd name="connsiteX693" fmla="*/ 1080971 w 1090712"/>
              <a:gd name="connsiteY693" fmla="*/ 268478 h 895572"/>
              <a:gd name="connsiteX694" fmla="*/ 1078595 w 1090712"/>
              <a:gd name="connsiteY694" fmla="*/ 258262 h 895572"/>
              <a:gd name="connsiteX695" fmla="*/ 1075981 w 1090712"/>
              <a:gd name="connsiteY695" fmla="*/ 248283 h 895572"/>
              <a:gd name="connsiteX696" fmla="*/ 1072417 w 1090712"/>
              <a:gd name="connsiteY696" fmla="*/ 238542 h 895572"/>
              <a:gd name="connsiteX697" fmla="*/ 1069329 w 1090712"/>
              <a:gd name="connsiteY697" fmla="*/ 229275 h 895572"/>
              <a:gd name="connsiteX698" fmla="*/ 1061251 w 1090712"/>
              <a:gd name="connsiteY698" fmla="*/ 210031 h 895572"/>
              <a:gd name="connsiteX699" fmla="*/ 1053173 w 1090712"/>
              <a:gd name="connsiteY699" fmla="*/ 190073 h 895572"/>
              <a:gd name="connsiteX700" fmla="*/ 1051034 w 1090712"/>
              <a:gd name="connsiteY700" fmla="*/ 186034 h 895572"/>
              <a:gd name="connsiteX701" fmla="*/ 1048896 w 1090712"/>
              <a:gd name="connsiteY701" fmla="*/ 182470 h 895572"/>
              <a:gd name="connsiteX702" fmla="*/ 1046045 w 1090712"/>
              <a:gd name="connsiteY702" fmla="*/ 179381 h 895572"/>
              <a:gd name="connsiteX703" fmla="*/ 1043906 w 1090712"/>
              <a:gd name="connsiteY703" fmla="*/ 176768 h 895572"/>
              <a:gd name="connsiteX704" fmla="*/ 1041293 w 1090712"/>
              <a:gd name="connsiteY704" fmla="*/ 174630 h 895572"/>
              <a:gd name="connsiteX705" fmla="*/ 1038680 w 1090712"/>
              <a:gd name="connsiteY705" fmla="*/ 172729 h 895572"/>
              <a:gd name="connsiteX706" fmla="*/ 1035828 w 1090712"/>
              <a:gd name="connsiteY706" fmla="*/ 171303 h 895572"/>
              <a:gd name="connsiteX707" fmla="*/ 1032740 w 1090712"/>
              <a:gd name="connsiteY707" fmla="*/ 170591 h 895572"/>
              <a:gd name="connsiteX708" fmla="*/ 1030126 w 1090712"/>
              <a:gd name="connsiteY708" fmla="*/ 170591 h 895572"/>
              <a:gd name="connsiteX709" fmla="*/ 1027038 w 1090712"/>
              <a:gd name="connsiteY709" fmla="*/ 170591 h 895572"/>
              <a:gd name="connsiteX710" fmla="*/ 1024424 w 1090712"/>
              <a:gd name="connsiteY710" fmla="*/ 171303 h 895572"/>
              <a:gd name="connsiteX711" fmla="*/ 1021335 w 1090712"/>
              <a:gd name="connsiteY711" fmla="*/ 172729 h 895572"/>
              <a:gd name="connsiteX712" fmla="*/ 1018247 w 1090712"/>
              <a:gd name="connsiteY712" fmla="*/ 174867 h 895572"/>
              <a:gd name="connsiteX713" fmla="*/ 1014920 w 1090712"/>
              <a:gd name="connsiteY713" fmla="*/ 177718 h 895572"/>
              <a:gd name="connsiteX714" fmla="*/ 1011832 w 1090712"/>
              <a:gd name="connsiteY714" fmla="*/ 180807 h 895572"/>
              <a:gd name="connsiteX715" fmla="*/ 1008743 w 1090712"/>
              <a:gd name="connsiteY715" fmla="*/ 184846 h 895572"/>
              <a:gd name="connsiteX716" fmla="*/ 991874 w 1090712"/>
              <a:gd name="connsiteY716" fmla="*/ 201240 h 895572"/>
              <a:gd name="connsiteX717" fmla="*/ 983321 w 1090712"/>
              <a:gd name="connsiteY717" fmla="*/ 209318 h 895572"/>
              <a:gd name="connsiteX718" fmla="*/ 974530 w 1090712"/>
              <a:gd name="connsiteY718" fmla="*/ 216683 h 895572"/>
              <a:gd name="connsiteX719" fmla="*/ 965739 w 1090712"/>
              <a:gd name="connsiteY719" fmla="*/ 223811 h 895572"/>
              <a:gd name="connsiteX720" fmla="*/ 956236 w 1090712"/>
              <a:gd name="connsiteY720" fmla="*/ 230226 h 895572"/>
              <a:gd name="connsiteX721" fmla="*/ 946494 w 1090712"/>
              <a:gd name="connsiteY721" fmla="*/ 235928 h 895572"/>
              <a:gd name="connsiteX722" fmla="*/ 941505 w 1090712"/>
              <a:gd name="connsiteY722" fmla="*/ 238066 h 895572"/>
              <a:gd name="connsiteX723" fmla="*/ 936753 w 1090712"/>
              <a:gd name="connsiteY723" fmla="*/ 240442 h 895572"/>
              <a:gd name="connsiteX724" fmla="*/ 932239 w 1090712"/>
              <a:gd name="connsiteY724" fmla="*/ 242581 h 895572"/>
              <a:gd name="connsiteX725" fmla="*/ 928675 w 1090712"/>
              <a:gd name="connsiteY725" fmla="*/ 245669 h 895572"/>
              <a:gd name="connsiteX726" fmla="*/ 925111 w 1090712"/>
              <a:gd name="connsiteY726" fmla="*/ 249233 h 895572"/>
              <a:gd name="connsiteX727" fmla="*/ 922022 w 1090712"/>
              <a:gd name="connsiteY727" fmla="*/ 252797 h 895572"/>
              <a:gd name="connsiteX728" fmla="*/ 919884 w 1090712"/>
              <a:gd name="connsiteY728" fmla="*/ 257311 h 895572"/>
              <a:gd name="connsiteX729" fmla="*/ 918934 w 1090712"/>
              <a:gd name="connsiteY729" fmla="*/ 259925 h 895572"/>
              <a:gd name="connsiteX730" fmla="*/ 918459 w 1090712"/>
              <a:gd name="connsiteY730" fmla="*/ 262538 h 895572"/>
              <a:gd name="connsiteX731" fmla="*/ 918459 w 1090712"/>
              <a:gd name="connsiteY731" fmla="*/ 265389 h 895572"/>
              <a:gd name="connsiteX732" fmla="*/ 918459 w 1090712"/>
              <a:gd name="connsiteY732" fmla="*/ 268003 h 895572"/>
              <a:gd name="connsiteX733" fmla="*/ 918934 w 1090712"/>
              <a:gd name="connsiteY733" fmla="*/ 271091 h 895572"/>
              <a:gd name="connsiteX734" fmla="*/ 919884 w 1090712"/>
              <a:gd name="connsiteY734" fmla="*/ 274180 h 895572"/>
              <a:gd name="connsiteX735" fmla="*/ 921547 w 1090712"/>
              <a:gd name="connsiteY735" fmla="*/ 282258 h 895572"/>
              <a:gd name="connsiteX736" fmla="*/ 922973 w 1090712"/>
              <a:gd name="connsiteY736" fmla="*/ 290574 h 895572"/>
              <a:gd name="connsiteX737" fmla="*/ 923923 w 1090712"/>
              <a:gd name="connsiteY737" fmla="*/ 299127 h 895572"/>
              <a:gd name="connsiteX738" fmla="*/ 924161 w 1090712"/>
              <a:gd name="connsiteY738" fmla="*/ 307443 h 895572"/>
              <a:gd name="connsiteX739" fmla="*/ 924161 w 1090712"/>
              <a:gd name="connsiteY739" fmla="*/ 315996 h 895572"/>
              <a:gd name="connsiteX740" fmla="*/ 923923 w 1090712"/>
              <a:gd name="connsiteY740" fmla="*/ 324550 h 895572"/>
              <a:gd name="connsiteX741" fmla="*/ 922973 w 1090712"/>
              <a:gd name="connsiteY741" fmla="*/ 332865 h 895572"/>
              <a:gd name="connsiteX742" fmla="*/ 922022 w 1090712"/>
              <a:gd name="connsiteY742" fmla="*/ 340943 h 895572"/>
              <a:gd name="connsiteX743" fmla="*/ 920597 w 1090712"/>
              <a:gd name="connsiteY743" fmla="*/ 349259 h 895572"/>
              <a:gd name="connsiteX744" fmla="*/ 918934 w 1090712"/>
              <a:gd name="connsiteY744" fmla="*/ 357812 h 895572"/>
              <a:gd name="connsiteX745" fmla="*/ 914420 w 1090712"/>
              <a:gd name="connsiteY745" fmla="*/ 374681 h 895572"/>
              <a:gd name="connsiteX746" fmla="*/ 909192 w 1090712"/>
              <a:gd name="connsiteY746" fmla="*/ 391075 h 895572"/>
              <a:gd name="connsiteX747" fmla="*/ 903253 w 1090712"/>
              <a:gd name="connsiteY747" fmla="*/ 408182 h 895572"/>
              <a:gd name="connsiteX748" fmla="*/ 903253 w 1090712"/>
              <a:gd name="connsiteY748" fmla="*/ 397965 h 895572"/>
              <a:gd name="connsiteX749" fmla="*/ 904203 w 1090712"/>
              <a:gd name="connsiteY749" fmla="*/ 387274 h 895572"/>
              <a:gd name="connsiteX750" fmla="*/ 906104 w 1090712"/>
              <a:gd name="connsiteY750" fmla="*/ 367078 h 895572"/>
              <a:gd name="connsiteX751" fmla="*/ 907767 w 1090712"/>
              <a:gd name="connsiteY751" fmla="*/ 347596 h 895572"/>
              <a:gd name="connsiteX752" fmla="*/ 908717 w 1090712"/>
              <a:gd name="connsiteY752" fmla="*/ 338567 h 895572"/>
              <a:gd name="connsiteX753" fmla="*/ 908717 w 1090712"/>
              <a:gd name="connsiteY753" fmla="*/ 329777 h 895572"/>
              <a:gd name="connsiteX754" fmla="*/ 908717 w 1090712"/>
              <a:gd name="connsiteY754" fmla="*/ 325738 h 895572"/>
              <a:gd name="connsiteX755" fmla="*/ 907767 w 1090712"/>
              <a:gd name="connsiteY755" fmla="*/ 322649 h 895572"/>
              <a:gd name="connsiteX756" fmla="*/ 906817 w 1090712"/>
              <a:gd name="connsiteY756" fmla="*/ 319560 h 895572"/>
              <a:gd name="connsiteX757" fmla="*/ 905154 w 1090712"/>
              <a:gd name="connsiteY757" fmla="*/ 316471 h 895572"/>
              <a:gd name="connsiteX758" fmla="*/ 903728 w 1090712"/>
              <a:gd name="connsiteY758" fmla="*/ 314096 h 895572"/>
              <a:gd name="connsiteX759" fmla="*/ 901590 w 1090712"/>
              <a:gd name="connsiteY759" fmla="*/ 311957 h 895572"/>
              <a:gd name="connsiteX760" fmla="*/ 897551 w 1090712"/>
              <a:gd name="connsiteY760" fmla="*/ 307443 h 895572"/>
              <a:gd name="connsiteX761" fmla="*/ 895412 w 1090712"/>
              <a:gd name="connsiteY761" fmla="*/ 309344 h 895572"/>
              <a:gd name="connsiteX762" fmla="*/ 892561 w 1090712"/>
              <a:gd name="connsiteY762" fmla="*/ 310769 h 895572"/>
              <a:gd name="connsiteX763" fmla="*/ 887334 w 1090712"/>
              <a:gd name="connsiteY763" fmla="*/ 313383 h 895572"/>
              <a:gd name="connsiteX764" fmla="*/ 884721 w 1090712"/>
              <a:gd name="connsiteY764" fmla="*/ 314096 h 895572"/>
              <a:gd name="connsiteX765" fmla="*/ 882820 w 1090712"/>
              <a:gd name="connsiteY765" fmla="*/ 315521 h 895572"/>
              <a:gd name="connsiteX766" fmla="*/ 881632 w 1090712"/>
              <a:gd name="connsiteY766" fmla="*/ 316947 h 895572"/>
              <a:gd name="connsiteX767" fmla="*/ 881157 w 1090712"/>
              <a:gd name="connsiteY767" fmla="*/ 318610 h 895572"/>
              <a:gd name="connsiteX768" fmla="*/ 872604 w 1090712"/>
              <a:gd name="connsiteY768" fmla="*/ 331915 h 895572"/>
              <a:gd name="connsiteX769" fmla="*/ 864288 w 1090712"/>
              <a:gd name="connsiteY769" fmla="*/ 346646 h 895572"/>
              <a:gd name="connsiteX770" fmla="*/ 856210 w 1090712"/>
              <a:gd name="connsiteY770" fmla="*/ 361376 h 895572"/>
              <a:gd name="connsiteX771" fmla="*/ 847656 w 1090712"/>
              <a:gd name="connsiteY771" fmla="*/ 374681 h 895572"/>
              <a:gd name="connsiteX772" fmla="*/ 841954 w 1090712"/>
              <a:gd name="connsiteY772" fmla="*/ 374681 h 895572"/>
              <a:gd name="connsiteX773" fmla="*/ 846468 w 1090712"/>
              <a:gd name="connsiteY773" fmla="*/ 357812 h 895572"/>
              <a:gd name="connsiteX774" fmla="*/ 850508 w 1090712"/>
              <a:gd name="connsiteY774" fmla="*/ 339518 h 895572"/>
              <a:gd name="connsiteX775" fmla="*/ 854784 w 1090712"/>
              <a:gd name="connsiteY775" fmla="*/ 319560 h 895572"/>
              <a:gd name="connsiteX776" fmla="*/ 858823 w 1090712"/>
              <a:gd name="connsiteY776" fmla="*/ 296514 h 895572"/>
              <a:gd name="connsiteX777" fmla="*/ 848132 w 1090712"/>
              <a:gd name="connsiteY777" fmla="*/ 303879 h 895572"/>
              <a:gd name="connsiteX778" fmla="*/ 840054 w 1090712"/>
              <a:gd name="connsiteY778" fmla="*/ 310294 h 895572"/>
              <a:gd name="connsiteX779" fmla="*/ 833163 w 1090712"/>
              <a:gd name="connsiteY779" fmla="*/ 316947 h 895572"/>
              <a:gd name="connsiteX780" fmla="*/ 825560 w 1090712"/>
              <a:gd name="connsiteY780" fmla="*/ 324550 h 895572"/>
              <a:gd name="connsiteX781" fmla="*/ 823185 w 1090712"/>
              <a:gd name="connsiteY781" fmla="*/ 326688 h 895572"/>
              <a:gd name="connsiteX782" fmla="*/ 821522 w 1090712"/>
              <a:gd name="connsiteY782" fmla="*/ 329301 h 895572"/>
              <a:gd name="connsiteX783" fmla="*/ 817007 w 1090712"/>
              <a:gd name="connsiteY783" fmla="*/ 335954 h 895572"/>
              <a:gd name="connsiteX784" fmla="*/ 812968 w 1090712"/>
              <a:gd name="connsiteY784" fmla="*/ 344032 h 895572"/>
              <a:gd name="connsiteX785" fmla="*/ 808929 w 1090712"/>
              <a:gd name="connsiteY785" fmla="*/ 352585 h 895572"/>
              <a:gd name="connsiteX786" fmla="*/ 809880 w 1090712"/>
              <a:gd name="connsiteY786" fmla="*/ 343557 h 895572"/>
              <a:gd name="connsiteX787" fmla="*/ 811305 w 1090712"/>
              <a:gd name="connsiteY787" fmla="*/ 335479 h 895572"/>
              <a:gd name="connsiteX788" fmla="*/ 812493 w 1090712"/>
              <a:gd name="connsiteY788" fmla="*/ 328826 h 895572"/>
              <a:gd name="connsiteX789" fmla="*/ 814394 w 1090712"/>
              <a:gd name="connsiteY789" fmla="*/ 323124 h 895572"/>
              <a:gd name="connsiteX790" fmla="*/ 816532 w 1090712"/>
              <a:gd name="connsiteY790" fmla="*/ 317659 h 895572"/>
              <a:gd name="connsiteX791" fmla="*/ 819146 w 1090712"/>
              <a:gd name="connsiteY791" fmla="*/ 313383 h 895572"/>
              <a:gd name="connsiteX792" fmla="*/ 822709 w 1090712"/>
              <a:gd name="connsiteY792" fmla="*/ 309344 h 895572"/>
              <a:gd name="connsiteX793" fmla="*/ 826748 w 1090712"/>
              <a:gd name="connsiteY793" fmla="*/ 306255 h 895572"/>
              <a:gd name="connsiteX794" fmla="*/ 832213 w 1090712"/>
              <a:gd name="connsiteY794" fmla="*/ 303166 h 895572"/>
              <a:gd name="connsiteX795" fmla="*/ 838390 w 1090712"/>
              <a:gd name="connsiteY795" fmla="*/ 300315 h 895572"/>
              <a:gd name="connsiteX796" fmla="*/ 845518 w 1090712"/>
              <a:gd name="connsiteY796" fmla="*/ 298177 h 895572"/>
              <a:gd name="connsiteX797" fmla="*/ 854071 w 1090712"/>
              <a:gd name="connsiteY797" fmla="*/ 295563 h 895572"/>
              <a:gd name="connsiteX798" fmla="*/ 875217 w 1090712"/>
              <a:gd name="connsiteY798" fmla="*/ 290574 h 895572"/>
              <a:gd name="connsiteX799" fmla="*/ 903253 w 1090712"/>
              <a:gd name="connsiteY799" fmla="*/ 285347 h 895572"/>
              <a:gd name="connsiteX800" fmla="*/ 886384 w 1090712"/>
              <a:gd name="connsiteY800" fmla="*/ 268478 h 895572"/>
              <a:gd name="connsiteX801" fmla="*/ 879731 w 1090712"/>
              <a:gd name="connsiteY801" fmla="*/ 270141 h 895572"/>
              <a:gd name="connsiteX802" fmla="*/ 873079 w 1090712"/>
              <a:gd name="connsiteY802" fmla="*/ 271091 h 895572"/>
              <a:gd name="connsiteX803" fmla="*/ 867376 w 1090712"/>
              <a:gd name="connsiteY803" fmla="*/ 271567 h 895572"/>
              <a:gd name="connsiteX804" fmla="*/ 862387 w 1090712"/>
              <a:gd name="connsiteY804" fmla="*/ 271091 h 895572"/>
              <a:gd name="connsiteX805" fmla="*/ 857398 w 1090712"/>
              <a:gd name="connsiteY805" fmla="*/ 269666 h 895572"/>
              <a:gd name="connsiteX806" fmla="*/ 853596 w 1090712"/>
              <a:gd name="connsiteY806" fmla="*/ 268003 h 895572"/>
              <a:gd name="connsiteX807" fmla="*/ 849557 w 1090712"/>
              <a:gd name="connsiteY807" fmla="*/ 265627 h 895572"/>
              <a:gd name="connsiteX808" fmla="*/ 846468 w 1090712"/>
              <a:gd name="connsiteY808" fmla="*/ 262538 h 895572"/>
              <a:gd name="connsiteX809" fmla="*/ 843380 w 1090712"/>
              <a:gd name="connsiteY809" fmla="*/ 259450 h 895572"/>
              <a:gd name="connsiteX810" fmla="*/ 840529 w 1090712"/>
              <a:gd name="connsiteY810" fmla="*/ 255411 h 895572"/>
              <a:gd name="connsiteX811" fmla="*/ 838390 w 1090712"/>
              <a:gd name="connsiteY811" fmla="*/ 251134 h 895572"/>
              <a:gd name="connsiteX812" fmla="*/ 836490 w 1090712"/>
              <a:gd name="connsiteY812" fmla="*/ 246620 h 895572"/>
              <a:gd name="connsiteX813" fmla="*/ 834827 w 1090712"/>
              <a:gd name="connsiteY813" fmla="*/ 241155 h 895572"/>
              <a:gd name="connsiteX814" fmla="*/ 833401 w 1090712"/>
              <a:gd name="connsiteY814" fmla="*/ 235453 h 895572"/>
              <a:gd name="connsiteX815" fmla="*/ 831263 w 1090712"/>
              <a:gd name="connsiteY815" fmla="*/ 223336 h 895572"/>
              <a:gd name="connsiteX816" fmla="*/ 897551 w 1090712"/>
              <a:gd name="connsiteY816" fmla="*/ 206942 h 895572"/>
              <a:gd name="connsiteX817" fmla="*/ 888997 w 1090712"/>
              <a:gd name="connsiteY817" fmla="*/ 194112 h 895572"/>
              <a:gd name="connsiteX818" fmla="*/ 880682 w 1090712"/>
              <a:gd name="connsiteY818" fmla="*/ 181282 h 895572"/>
              <a:gd name="connsiteX819" fmla="*/ 871416 w 1090712"/>
              <a:gd name="connsiteY819" fmla="*/ 168690 h 895572"/>
              <a:gd name="connsiteX820" fmla="*/ 866901 w 1090712"/>
              <a:gd name="connsiteY820" fmla="*/ 162988 h 895572"/>
              <a:gd name="connsiteX821" fmla="*/ 861437 w 1090712"/>
              <a:gd name="connsiteY821" fmla="*/ 157048 h 895572"/>
              <a:gd name="connsiteX822" fmla="*/ 856210 w 1090712"/>
              <a:gd name="connsiteY822" fmla="*/ 151821 h 895572"/>
              <a:gd name="connsiteX823" fmla="*/ 850745 w 1090712"/>
              <a:gd name="connsiteY823" fmla="*/ 146831 h 895572"/>
              <a:gd name="connsiteX824" fmla="*/ 844568 w 1090712"/>
              <a:gd name="connsiteY824" fmla="*/ 142555 h 895572"/>
              <a:gd name="connsiteX825" fmla="*/ 838390 w 1090712"/>
              <a:gd name="connsiteY825" fmla="*/ 138516 h 895572"/>
              <a:gd name="connsiteX826" fmla="*/ 831738 w 1090712"/>
              <a:gd name="connsiteY826" fmla="*/ 134952 h 895572"/>
              <a:gd name="connsiteX827" fmla="*/ 824610 w 1090712"/>
              <a:gd name="connsiteY827" fmla="*/ 132338 h 895572"/>
              <a:gd name="connsiteX828" fmla="*/ 817007 w 1090712"/>
              <a:gd name="connsiteY828" fmla="*/ 129963 h 895572"/>
              <a:gd name="connsiteX829" fmla="*/ 808929 w 1090712"/>
              <a:gd name="connsiteY829" fmla="*/ 128774 h 895572"/>
              <a:gd name="connsiteX830" fmla="*/ 806791 w 1090712"/>
              <a:gd name="connsiteY830" fmla="*/ 128299 h 895572"/>
              <a:gd name="connsiteX831" fmla="*/ 804652 w 1090712"/>
              <a:gd name="connsiteY831" fmla="*/ 127824 h 895572"/>
              <a:gd name="connsiteX832" fmla="*/ 802752 w 1090712"/>
              <a:gd name="connsiteY832" fmla="*/ 126399 h 895572"/>
              <a:gd name="connsiteX833" fmla="*/ 801089 w 1090712"/>
              <a:gd name="connsiteY833" fmla="*/ 125211 h 895572"/>
              <a:gd name="connsiteX834" fmla="*/ 799663 w 1090712"/>
              <a:gd name="connsiteY834" fmla="*/ 123310 h 895572"/>
              <a:gd name="connsiteX835" fmla="*/ 798713 w 1090712"/>
              <a:gd name="connsiteY835" fmla="*/ 121647 h 895572"/>
              <a:gd name="connsiteX836" fmla="*/ 798000 w 1090712"/>
              <a:gd name="connsiteY836" fmla="*/ 119271 h 895572"/>
              <a:gd name="connsiteX837" fmla="*/ 798000 w 1090712"/>
              <a:gd name="connsiteY837" fmla="*/ 117608 h 895572"/>
              <a:gd name="connsiteX838" fmla="*/ 785408 w 1090712"/>
              <a:gd name="connsiteY838" fmla="*/ 106916 h 895572"/>
              <a:gd name="connsiteX839" fmla="*/ 772578 w 1090712"/>
              <a:gd name="connsiteY839" fmla="*/ 95749 h 895572"/>
              <a:gd name="connsiteX840" fmla="*/ 747155 w 1090712"/>
              <a:gd name="connsiteY840" fmla="*/ 72703 h 895572"/>
              <a:gd name="connsiteX841" fmla="*/ 733850 w 1090712"/>
              <a:gd name="connsiteY841" fmla="*/ 61061 h 895572"/>
              <a:gd name="connsiteX842" fmla="*/ 720545 w 1090712"/>
              <a:gd name="connsiteY842" fmla="*/ 49894 h 895572"/>
              <a:gd name="connsiteX843" fmla="*/ 706765 w 1090712"/>
              <a:gd name="connsiteY843" fmla="*/ 38728 h 895572"/>
              <a:gd name="connsiteX844" fmla="*/ 692510 w 1090712"/>
              <a:gd name="connsiteY844" fmla="*/ 28036 h 895572"/>
              <a:gd name="connsiteX845" fmla="*/ 679442 w 1090712"/>
              <a:gd name="connsiteY845" fmla="*/ 21859 h 895572"/>
              <a:gd name="connsiteX846" fmla="*/ 666137 w 1090712"/>
              <a:gd name="connsiteY846" fmla="*/ 16632 h 895572"/>
              <a:gd name="connsiteX847" fmla="*/ 652832 w 1090712"/>
              <a:gd name="connsiteY847" fmla="*/ 11642 h 895572"/>
              <a:gd name="connsiteX848" fmla="*/ 639527 w 1090712"/>
              <a:gd name="connsiteY848" fmla="*/ 7603 h 895572"/>
              <a:gd name="connsiteX849" fmla="*/ 626222 w 1090712"/>
              <a:gd name="connsiteY849" fmla="*/ 4514 h 895572"/>
              <a:gd name="connsiteX850" fmla="*/ 612917 w 1090712"/>
              <a:gd name="connsiteY850" fmla="*/ 1901 h 895572"/>
              <a:gd name="connsiteX851" fmla="*/ 599374 w 1090712"/>
              <a:gd name="connsiteY851" fmla="*/ 475 h 89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Lst>
            <a:rect l="l" t="t" r="r" b="b"/>
            <a:pathLst>
              <a:path w="1090712" h="895572">
                <a:moveTo>
                  <a:pt x="603413" y="721327"/>
                </a:moveTo>
                <a:lnTo>
                  <a:pt x="578466" y="770746"/>
                </a:lnTo>
                <a:lnTo>
                  <a:pt x="553519" y="818264"/>
                </a:lnTo>
                <a:lnTo>
                  <a:pt x="528334" y="865069"/>
                </a:lnTo>
                <a:lnTo>
                  <a:pt x="511825" y="895572"/>
                </a:lnTo>
                <a:lnTo>
                  <a:pt x="624528" y="895572"/>
                </a:lnTo>
                <a:lnTo>
                  <a:pt x="624796" y="894768"/>
                </a:lnTo>
                <a:lnTo>
                  <a:pt x="625271" y="891679"/>
                </a:lnTo>
                <a:lnTo>
                  <a:pt x="625747" y="889066"/>
                </a:lnTo>
                <a:lnTo>
                  <a:pt x="625747" y="860555"/>
                </a:lnTo>
                <a:lnTo>
                  <a:pt x="624796" y="833945"/>
                </a:lnTo>
                <a:lnTo>
                  <a:pt x="624321" y="820877"/>
                </a:lnTo>
                <a:lnTo>
                  <a:pt x="623608" y="808047"/>
                </a:lnTo>
                <a:lnTo>
                  <a:pt x="621708" y="795218"/>
                </a:lnTo>
                <a:lnTo>
                  <a:pt x="620044" y="782625"/>
                </a:lnTo>
                <a:lnTo>
                  <a:pt x="616005" y="766707"/>
                </a:lnTo>
                <a:lnTo>
                  <a:pt x="611966" y="751976"/>
                </a:lnTo>
                <a:lnTo>
                  <a:pt x="607452" y="737245"/>
                </a:lnTo>
                <a:close/>
                <a:moveTo>
                  <a:pt x="698212" y="530778"/>
                </a:moveTo>
                <a:lnTo>
                  <a:pt x="693460" y="534818"/>
                </a:lnTo>
                <a:lnTo>
                  <a:pt x="688471" y="538857"/>
                </a:lnTo>
                <a:lnTo>
                  <a:pt x="678254" y="546935"/>
                </a:lnTo>
                <a:lnTo>
                  <a:pt x="669226" y="553587"/>
                </a:lnTo>
                <a:lnTo>
                  <a:pt x="663048" y="558814"/>
                </a:lnTo>
                <a:lnTo>
                  <a:pt x="663048" y="556676"/>
                </a:lnTo>
                <a:lnTo>
                  <a:pt x="663523" y="554538"/>
                </a:lnTo>
                <a:lnTo>
                  <a:pt x="665424" y="550498"/>
                </a:lnTo>
                <a:lnTo>
                  <a:pt x="668038" y="546459"/>
                </a:lnTo>
                <a:lnTo>
                  <a:pt x="671602" y="542420"/>
                </a:lnTo>
                <a:lnTo>
                  <a:pt x="676829" y="538857"/>
                </a:lnTo>
                <a:lnTo>
                  <a:pt x="682768" y="535768"/>
                </a:lnTo>
                <a:lnTo>
                  <a:pt x="689896" y="533154"/>
                </a:lnTo>
                <a:close/>
                <a:moveTo>
                  <a:pt x="654257" y="302216"/>
                </a:moveTo>
                <a:lnTo>
                  <a:pt x="651882" y="302691"/>
                </a:lnTo>
                <a:lnTo>
                  <a:pt x="649268" y="303166"/>
                </a:lnTo>
                <a:lnTo>
                  <a:pt x="647130" y="304354"/>
                </a:lnTo>
                <a:lnTo>
                  <a:pt x="644516" y="306255"/>
                </a:lnTo>
                <a:lnTo>
                  <a:pt x="642140" y="307918"/>
                </a:lnTo>
                <a:lnTo>
                  <a:pt x="640002" y="310294"/>
                </a:lnTo>
                <a:lnTo>
                  <a:pt x="638101" y="312432"/>
                </a:lnTo>
                <a:lnTo>
                  <a:pt x="636913" y="314571"/>
                </a:lnTo>
                <a:lnTo>
                  <a:pt x="635963" y="316946"/>
                </a:lnTo>
                <a:lnTo>
                  <a:pt x="635963" y="319085"/>
                </a:lnTo>
                <a:lnTo>
                  <a:pt x="636913" y="321223"/>
                </a:lnTo>
                <a:lnTo>
                  <a:pt x="637626" y="324074"/>
                </a:lnTo>
                <a:lnTo>
                  <a:pt x="639527" y="326688"/>
                </a:lnTo>
                <a:lnTo>
                  <a:pt x="643091" y="331677"/>
                </a:lnTo>
                <a:lnTo>
                  <a:pt x="647130" y="335954"/>
                </a:lnTo>
                <a:lnTo>
                  <a:pt x="655920" y="330727"/>
                </a:lnTo>
                <a:lnTo>
                  <a:pt x="663999" y="324787"/>
                </a:lnTo>
                <a:lnTo>
                  <a:pt x="679917" y="313383"/>
                </a:lnTo>
                <a:lnTo>
                  <a:pt x="676354" y="311007"/>
                </a:lnTo>
                <a:lnTo>
                  <a:pt x="672790" y="308393"/>
                </a:lnTo>
                <a:lnTo>
                  <a:pt x="668988" y="306730"/>
                </a:lnTo>
                <a:lnTo>
                  <a:pt x="664949" y="304829"/>
                </a:lnTo>
                <a:lnTo>
                  <a:pt x="660910" y="303641"/>
                </a:lnTo>
                <a:lnTo>
                  <a:pt x="657346" y="302691"/>
                </a:lnTo>
                <a:close/>
                <a:moveTo>
                  <a:pt x="696549" y="252322"/>
                </a:moveTo>
                <a:lnTo>
                  <a:pt x="696786" y="259925"/>
                </a:lnTo>
                <a:lnTo>
                  <a:pt x="698212" y="266102"/>
                </a:lnTo>
                <a:lnTo>
                  <a:pt x="700113" y="272042"/>
                </a:lnTo>
                <a:lnTo>
                  <a:pt x="701776" y="276794"/>
                </a:lnTo>
                <a:lnTo>
                  <a:pt x="704389" y="280833"/>
                </a:lnTo>
                <a:lnTo>
                  <a:pt x="707240" y="284397"/>
                </a:lnTo>
                <a:lnTo>
                  <a:pt x="710329" y="287010"/>
                </a:lnTo>
                <a:lnTo>
                  <a:pt x="713418" y="289624"/>
                </a:lnTo>
                <a:lnTo>
                  <a:pt x="716506" y="291524"/>
                </a:lnTo>
                <a:lnTo>
                  <a:pt x="719595" y="293187"/>
                </a:lnTo>
                <a:lnTo>
                  <a:pt x="725772" y="295088"/>
                </a:lnTo>
                <a:lnTo>
                  <a:pt x="731237" y="296514"/>
                </a:lnTo>
                <a:lnTo>
                  <a:pt x="734801" y="296751"/>
                </a:lnTo>
                <a:lnTo>
                  <a:pt x="722209" y="303879"/>
                </a:lnTo>
                <a:lnTo>
                  <a:pt x="710804" y="311007"/>
                </a:lnTo>
                <a:lnTo>
                  <a:pt x="688471" y="324787"/>
                </a:lnTo>
                <a:lnTo>
                  <a:pt x="667563" y="339043"/>
                </a:lnTo>
                <a:lnTo>
                  <a:pt x="646179" y="352823"/>
                </a:lnTo>
                <a:lnTo>
                  <a:pt x="620044" y="313383"/>
                </a:lnTo>
                <a:lnTo>
                  <a:pt x="617668" y="312432"/>
                </a:lnTo>
                <a:lnTo>
                  <a:pt x="615055" y="312432"/>
                </a:lnTo>
                <a:lnTo>
                  <a:pt x="612441" y="313383"/>
                </a:lnTo>
                <a:lnTo>
                  <a:pt x="609353" y="314095"/>
                </a:lnTo>
                <a:lnTo>
                  <a:pt x="602938" y="316946"/>
                </a:lnTo>
                <a:lnTo>
                  <a:pt x="599849" y="317659"/>
                </a:lnTo>
                <a:lnTo>
                  <a:pt x="596760" y="318610"/>
                </a:lnTo>
                <a:lnTo>
                  <a:pt x="607927" y="307205"/>
                </a:lnTo>
                <a:lnTo>
                  <a:pt x="618619" y="295088"/>
                </a:lnTo>
                <a:lnTo>
                  <a:pt x="623846" y="289386"/>
                </a:lnTo>
                <a:lnTo>
                  <a:pt x="629786" y="283921"/>
                </a:lnTo>
                <a:lnTo>
                  <a:pt x="635963" y="278694"/>
                </a:lnTo>
                <a:lnTo>
                  <a:pt x="642140" y="273705"/>
                </a:lnTo>
                <a:lnTo>
                  <a:pt x="648793" y="269191"/>
                </a:lnTo>
                <a:lnTo>
                  <a:pt x="655446" y="265627"/>
                </a:lnTo>
                <a:lnTo>
                  <a:pt x="662098" y="263013"/>
                </a:lnTo>
                <a:lnTo>
                  <a:pt x="668988" y="260400"/>
                </a:lnTo>
                <a:lnTo>
                  <a:pt x="682768" y="256361"/>
                </a:lnTo>
                <a:close/>
                <a:moveTo>
                  <a:pt x="1030602" y="200289"/>
                </a:moveTo>
                <a:lnTo>
                  <a:pt x="1027513" y="207892"/>
                </a:lnTo>
                <a:lnTo>
                  <a:pt x="1023949" y="214545"/>
                </a:lnTo>
                <a:lnTo>
                  <a:pt x="1019910" y="221197"/>
                </a:lnTo>
                <a:lnTo>
                  <a:pt x="1015396" y="226899"/>
                </a:lnTo>
                <a:lnTo>
                  <a:pt x="1011119" y="232839"/>
                </a:lnTo>
                <a:lnTo>
                  <a:pt x="1006130" y="237591"/>
                </a:lnTo>
                <a:lnTo>
                  <a:pt x="1001140" y="242105"/>
                </a:lnTo>
                <a:lnTo>
                  <a:pt x="996388" y="246144"/>
                </a:lnTo>
                <a:lnTo>
                  <a:pt x="990924" y="249708"/>
                </a:lnTo>
                <a:lnTo>
                  <a:pt x="985697" y="252797"/>
                </a:lnTo>
                <a:lnTo>
                  <a:pt x="980232" y="254935"/>
                </a:lnTo>
                <a:lnTo>
                  <a:pt x="975005" y="256836"/>
                </a:lnTo>
                <a:lnTo>
                  <a:pt x="969541" y="258262"/>
                </a:lnTo>
                <a:lnTo>
                  <a:pt x="963839" y="258499"/>
                </a:lnTo>
                <a:lnTo>
                  <a:pt x="958612" y="258499"/>
                </a:lnTo>
                <a:lnTo>
                  <a:pt x="953622" y="257786"/>
                </a:lnTo>
                <a:lnTo>
                  <a:pt x="970966" y="244006"/>
                </a:lnTo>
                <a:lnTo>
                  <a:pt x="990211" y="229275"/>
                </a:lnTo>
                <a:lnTo>
                  <a:pt x="1010169" y="214069"/>
                </a:lnTo>
                <a:lnTo>
                  <a:pt x="1020385" y="206942"/>
                </a:lnTo>
                <a:close/>
                <a:moveTo>
                  <a:pt x="389581" y="176768"/>
                </a:moveTo>
                <a:lnTo>
                  <a:pt x="397422" y="177243"/>
                </a:lnTo>
                <a:lnTo>
                  <a:pt x="414766" y="178906"/>
                </a:lnTo>
                <a:lnTo>
                  <a:pt x="405500" y="179856"/>
                </a:lnTo>
                <a:lnTo>
                  <a:pt x="396946" y="181995"/>
                </a:lnTo>
                <a:lnTo>
                  <a:pt x="389581" y="184371"/>
                </a:lnTo>
                <a:lnTo>
                  <a:pt x="381978" y="186984"/>
                </a:lnTo>
                <a:lnTo>
                  <a:pt x="375326" y="190548"/>
                </a:lnTo>
                <a:lnTo>
                  <a:pt x="368911" y="194112"/>
                </a:lnTo>
                <a:lnTo>
                  <a:pt x="363208" y="198626"/>
                </a:lnTo>
                <a:lnTo>
                  <a:pt x="357981" y="202903"/>
                </a:lnTo>
                <a:lnTo>
                  <a:pt x="352517" y="208367"/>
                </a:lnTo>
                <a:lnTo>
                  <a:pt x="348003" y="214070"/>
                </a:lnTo>
                <a:lnTo>
                  <a:pt x="343726" y="220247"/>
                </a:lnTo>
                <a:lnTo>
                  <a:pt x="339687" y="226662"/>
                </a:lnTo>
                <a:lnTo>
                  <a:pt x="335648" y="233790"/>
                </a:lnTo>
                <a:lnTo>
                  <a:pt x="332559" y="240917"/>
                </a:lnTo>
                <a:lnTo>
                  <a:pt x="328995" y="248758"/>
                </a:lnTo>
                <a:lnTo>
                  <a:pt x="325907" y="256836"/>
                </a:lnTo>
                <a:lnTo>
                  <a:pt x="325432" y="252797"/>
                </a:lnTo>
                <a:lnTo>
                  <a:pt x="324956" y="248283"/>
                </a:lnTo>
                <a:lnTo>
                  <a:pt x="323056" y="239492"/>
                </a:lnTo>
                <a:lnTo>
                  <a:pt x="320917" y="229275"/>
                </a:lnTo>
                <a:lnTo>
                  <a:pt x="320442" y="223811"/>
                </a:lnTo>
                <a:lnTo>
                  <a:pt x="319967" y="217633"/>
                </a:lnTo>
                <a:lnTo>
                  <a:pt x="314740" y="217633"/>
                </a:lnTo>
                <a:lnTo>
                  <a:pt x="302148" y="243056"/>
                </a:lnTo>
                <a:lnTo>
                  <a:pt x="289793" y="267528"/>
                </a:lnTo>
                <a:lnTo>
                  <a:pt x="277438" y="291049"/>
                </a:lnTo>
                <a:lnTo>
                  <a:pt x="264371" y="312907"/>
                </a:lnTo>
                <a:lnTo>
                  <a:pt x="267459" y="295088"/>
                </a:lnTo>
                <a:lnTo>
                  <a:pt x="271023" y="279170"/>
                </a:lnTo>
                <a:lnTo>
                  <a:pt x="274587" y="263964"/>
                </a:lnTo>
                <a:lnTo>
                  <a:pt x="279101" y="250183"/>
                </a:lnTo>
                <a:lnTo>
                  <a:pt x="284091" y="238066"/>
                </a:lnTo>
                <a:lnTo>
                  <a:pt x="289318" y="226900"/>
                </a:lnTo>
                <a:lnTo>
                  <a:pt x="292406" y="221673"/>
                </a:lnTo>
                <a:lnTo>
                  <a:pt x="295495" y="217158"/>
                </a:lnTo>
                <a:lnTo>
                  <a:pt x="298584" y="212406"/>
                </a:lnTo>
                <a:lnTo>
                  <a:pt x="302148" y="208367"/>
                </a:lnTo>
                <a:lnTo>
                  <a:pt x="305711" y="204328"/>
                </a:lnTo>
                <a:lnTo>
                  <a:pt x="309275" y="200765"/>
                </a:lnTo>
                <a:lnTo>
                  <a:pt x="313314" y="197201"/>
                </a:lnTo>
                <a:lnTo>
                  <a:pt x="317354" y="194112"/>
                </a:lnTo>
                <a:lnTo>
                  <a:pt x="321868" y="191498"/>
                </a:lnTo>
                <a:lnTo>
                  <a:pt x="326382" y="188647"/>
                </a:lnTo>
                <a:lnTo>
                  <a:pt x="330659" y="186509"/>
                </a:lnTo>
                <a:lnTo>
                  <a:pt x="335648" y="184371"/>
                </a:lnTo>
                <a:lnTo>
                  <a:pt x="340637" y="182470"/>
                </a:lnTo>
                <a:lnTo>
                  <a:pt x="345864" y="181282"/>
                </a:lnTo>
                <a:lnTo>
                  <a:pt x="351091" y="179856"/>
                </a:lnTo>
                <a:lnTo>
                  <a:pt x="357031" y="178431"/>
                </a:lnTo>
                <a:lnTo>
                  <a:pt x="368911" y="177243"/>
                </a:lnTo>
                <a:lnTo>
                  <a:pt x="381978" y="176768"/>
                </a:lnTo>
                <a:close/>
                <a:moveTo>
                  <a:pt x="609353" y="174629"/>
                </a:moveTo>
                <a:lnTo>
                  <a:pt x="602463" y="180807"/>
                </a:lnTo>
                <a:lnTo>
                  <a:pt x="596285" y="187459"/>
                </a:lnTo>
                <a:lnTo>
                  <a:pt x="583931" y="201715"/>
                </a:lnTo>
                <a:lnTo>
                  <a:pt x="571101" y="215495"/>
                </a:lnTo>
                <a:lnTo>
                  <a:pt x="564686" y="222148"/>
                </a:lnTo>
                <a:lnTo>
                  <a:pt x="558508" y="228325"/>
                </a:lnTo>
                <a:lnTo>
                  <a:pt x="557558" y="223335"/>
                </a:lnTo>
                <a:lnTo>
                  <a:pt x="557083" y="219059"/>
                </a:lnTo>
                <a:lnTo>
                  <a:pt x="557083" y="215020"/>
                </a:lnTo>
                <a:lnTo>
                  <a:pt x="557558" y="210981"/>
                </a:lnTo>
                <a:lnTo>
                  <a:pt x="558508" y="207417"/>
                </a:lnTo>
                <a:lnTo>
                  <a:pt x="560409" y="203853"/>
                </a:lnTo>
                <a:lnTo>
                  <a:pt x="562072" y="200764"/>
                </a:lnTo>
                <a:lnTo>
                  <a:pt x="564686" y="197676"/>
                </a:lnTo>
                <a:lnTo>
                  <a:pt x="567774" y="194587"/>
                </a:lnTo>
                <a:lnTo>
                  <a:pt x="571813" y="191973"/>
                </a:lnTo>
                <a:lnTo>
                  <a:pt x="576328" y="188647"/>
                </a:lnTo>
                <a:lnTo>
                  <a:pt x="581317" y="186034"/>
                </a:lnTo>
                <a:lnTo>
                  <a:pt x="587019" y="183420"/>
                </a:lnTo>
                <a:lnTo>
                  <a:pt x="593672" y="180332"/>
                </a:lnTo>
                <a:close/>
                <a:moveTo>
                  <a:pt x="586544" y="0"/>
                </a:moveTo>
                <a:lnTo>
                  <a:pt x="570150" y="2851"/>
                </a:lnTo>
                <a:lnTo>
                  <a:pt x="553519" y="5940"/>
                </a:lnTo>
                <a:lnTo>
                  <a:pt x="536650" y="10454"/>
                </a:lnTo>
                <a:lnTo>
                  <a:pt x="520256" y="14731"/>
                </a:lnTo>
                <a:lnTo>
                  <a:pt x="486993" y="24472"/>
                </a:lnTo>
                <a:lnTo>
                  <a:pt x="469887" y="28986"/>
                </a:lnTo>
                <a:lnTo>
                  <a:pt x="453493" y="33500"/>
                </a:lnTo>
                <a:lnTo>
                  <a:pt x="438762" y="40153"/>
                </a:lnTo>
                <a:lnTo>
                  <a:pt x="424507" y="47281"/>
                </a:lnTo>
                <a:lnTo>
                  <a:pt x="417379" y="51320"/>
                </a:lnTo>
                <a:lnTo>
                  <a:pt x="410727" y="55834"/>
                </a:lnTo>
                <a:lnTo>
                  <a:pt x="403599" y="60111"/>
                </a:lnTo>
                <a:lnTo>
                  <a:pt x="397422" y="65100"/>
                </a:lnTo>
                <a:lnTo>
                  <a:pt x="390769" y="69852"/>
                </a:lnTo>
                <a:lnTo>
                  <a:pt x="384592" y="75792"/>
                </a:lnTo>
                <a:lnTo>
                  <a:pt x="378889" y="81494"/>
                </a:lnTo>
                <a:lnTo>
                  <a:pt x="372950" y="87671"/>
                </a:lnTo>
                <a:lnTo>
                  <a:pt x="367723" y="94324"/>
                </a:lnTo>
                <a:lnTo>
                  <a:pt x="362733" y="101452"/>
                </a:lnTo>
                <a:lnTo>
                  <a:pt x="357981" y="109055"/>
                </a:lnTo>
                <a:lnTo>
                  <a:pt x="353467" y="117608"/>
                </a:lnTo>
                <a:lnTo>
                  <a:pt x="409064" y="117608"/>
                </a:lnTo>
                <a:lnTo>
                  <a:pt x="406925" y="119271"/>
                </a:lnTo>
                <a:lnTo>
                  <a:pt x="404074" y="121647"/>
                </a:lnTo>
                <a:lnTo>
                  <a:pt x="400510" y="123310"/>
                </a:lnTo>
                <a:lnTo>
                  <a:pt x="397422" y="125211"/>
                </a:lnTo>
                <a:lnTo>
                  <a:pt x="393383" y="126399"/>
                </a:lnTo>
                <a:lnTo>
                  <a:pt x="389581" y="127824"/>
                </a:lnTo>
                <a:lnTo>
                  <a:pt x="385542" y="128299"/>
                </a:lnTo>
                <a:lnTo>
                  <a:pt x="381503" y="128774"/>
                </a:lnTo>
                <a:lnTo>
                  <a:pt x="375326" y="130438"/>
                </a:lnTo>
                <a:lnTo>
                  <a:pt x="368435" y="131863"/>
                </a:lnTo>
                <a:lnTo>
                  <a:pt x="361783" y="133051"/>
                </a:lnTo>
                <a:lnTo>
                  <a:pt x="355606" y="134001"/>
                </a:lnTo>
                <a:lnTo>
                  <a:pt x="342300" y="135427"/>
                </a:lnTo>
                <a:lnTo>
                  <a:pt x="329471" y="137090"/>
                </a:lnTo>
                <a:lnTo>
                  <a:pt x="322818" y="138040"/>
                </a:lnTo>
                <a:lnTo>
                  <a:pt x="316403" y="139704"/>
                </a:lnTo>
                <a:lnTo>
                  <a:pt x="310226" y="141604"/>
                </a:lnTo>
                <a:lnTo>
                  <a:pt x="304048" y="144218"/>
                </a:lnTo>
                <a:lnTo>
                  <a:pt x="298346" y="147307"/>
                </a:lnTo>
                <a:lnTo>
                  <a:pt x="292406" y="151346"/>
                </a:lnTo>
                <a:lnTo>
                  <a:pt x="286704" y="156335"/>
                </a:lnTo>
                <a:lnTo>
                  <a:pt x="281240" y="162037"/>
                </a:lnTo>
                <a:lnTo>
                  <a:pt x="262232" y="182945"/>
                </a:lnTo>
                <a:lnTo>
                  <a:pt x="242987" y="203378"/>
                </a:lnTo>
                <a:lnTo>
                  <a:pt x="203547" y="244006"/>
                </a:lnTo>
                <a:lnTo>
                  <a:pt x="183827" y="264439"/>
                </a:lnTo>
                <a:lnTo>
                  <a:pt x="164345" y="285822"/>
                </a:lnTo>
                <a:lnTo>
                  <a:pt x="144862" y="307443"/>
                </a:lnTo>
                <a:lnTo>
                  <a:pt x="126093" y="329777"/>
                </a:lnTo>
                <a:lnTo>
                  <a:pt x="122054" y="335004"/>
                </a:lnTo>
                <a:lnTo>
                  <a:pt x="118015" y="340468"/>
                </a:lnTo>
                <a:lnTo>
                  <a:pt x="110887" y="352110"/>
                </a:lnTo>
                <a:lnTo>
                  <a:pt x="104709" y="363514"/>
                </a:lnTo>
                <a:lnTo>
                  <a:pt x="99007" y="375156"/>
                </a:lnTo>
                <a:lnTo>
                  <a:pt x="87840" y="400103"/>
                </a:lnTo>
                <a:lnTo>
                  <a:pt x="82138" y="412458"/>
                </a:lnTo>
                <a:lnTo>
                  <a:pt x="75723" y="425050"/>
                </a:lnTo>
                <a:lnTo>
                  <a:pt x="75723" y="429802"/>
                </a:lnTo>
                <a:lnTo>
                  <a:pt x="76674" y="436217"/>
                </a:lnTo>
                <a:lnTo>
                  <a:pt x="77149" y="439306"/>
                </a:lnTo>
                <a:lnTo>
                  <a:pt x="78574" y="442395"/>
                </a:lnTo>
                <a:lnTo>
                  <a:pt x="79762" y="445008"/>
                </a:lnTo>
                <a:lnTo>
                  <a:pt x="81663" y="447147"/>
                </a:lnTo>
                <a:lnTo>
                  <a:pt x="94018" y="468055"/>
                </a:lnTo>
                <a:lnTo>
                  <a:pt x="106848" y="488963"/>
                </a:lnTo>
                <a:lnTo>
                  <a:pt x="113975" y="499654"/>
                </a:lnTo>
                <a:lnTo>
                  <a:pt x="121103" y="510346"/>
                </a:lnTo>
                <a:lnTo>
                  <a:pt x="128706" y="520562"/>
                </a:lnTo>
                <a:lnTo>
                  <a:pt x="137259" y="531254"/>
                </a:lnTo>
                <a:lnTo>
                  <a:pt x="149614" y="514385"/>
                </a:lnTo>
                <a:lnTo>
                  <a:pt x="162206" y="498466"/>
                </a:lnTo>
                <a:lnTo>
                  <a:pt x="174561" y="483260"/>
                </a:lnTo>
                <a:lnTo>
                  <a:pt x="180739" y="476133"/>
                </a:lnTo>
                <a:lnTo>
                  <a:pt x="186916" y="469480"/>
                </a:lnTo>
                <a:lnTo>
                  <a:pt x="182639" y="482310"/>
                </a:lnTo>
                <a:lnTo>
                  <a:pt x="178125" y="495615"/>
                </a:lnTo>
                <a:lnTo>
                  <a:pt x="172423" y="509871"/>
                </a:lnTo>
                <a:lnTo>
                  <a:pt x="164820" y="525552"/>
                </a:lnTo>
                <a:lnTo>
                  <a:pt x="156267" y="538381"/>
                </a:lnTo>
                <a:lnTo>
                  <a:pt x="152703" y="544559"/>
                </a:lnTo>
                <a:lnTo>
                  <a:pt x="148664" y="551449"/>
                </a:lnTo>
                <a:lnTo>
                  <a:pt x="145100" y="558339"/>
                </a:lnTo>
                <a:lnTo>
                  <a:pt x="142011" y="565467"/>
                </a:lnTo>
                <a:lnTo>
                  <a:pt x="139398" y="573070"/>
                </a:lnTo>
                <a:lnTo>
                  <a:pt x="137259" y="581623"/>
                </a:lnTo>
                <a:lnTo>
                  <a:pt x="136309" y="583761"/>
                </a:lnTo>
                <a:lnTo>
                  <a:pt x="135359" y="586137"/>
                </a:lnTo>
                <a:lnTo>
                  <a:pt x="134883" y="590889"/>
                </a:lnTo>
                <a:lnTo>
                  <a:pt x="134883" y="595879"/>
                </a:lnTo>
                <a:lnTo>
                  <a:pt x="135359" y="601106"/>
                </a:lnTo>
                <a:lnTo>
                  <a:pt x="136784" y="606095"/>
                </a:lnTo>
                <a:lnTo>
                  <a:pt x="138447" y="611322"/>
                </a:lnTo>
                <a:lnTo>
                  <a:pt x="140348" y="616311"/>
                </a:lnTo>
                <a:lnTo>
                  <a:pt x="142486" y="620826"/>
                </a:lnTo>
                <a:lnTo>
                  <a:pt x="148664" y="629616"/>
                </a:lnTo>
                <a:lnTo>
                  <a:pt x="155554" y="637219"/>
                </a:lnTo>
                <a:lnTo>
                  <a:pt x="162444" y="643872"/>
                </a:lnTo>
                <a:lnTo>
                  <a:pt x="169572" y="649099"/>
                </a:lnTo>
                <a:lnTo>
                  <a:pt x="177175" y="653613"/>
                </a:lnTo>
                <a:lnTo>
                  <a:pt x="184778" y="657177"/>
                </a:lnTo>
                <a:lnTo>
                  <a:pt x="192856" y="659553"/>
                </a:lnTo>
                <a:lnTo>
                  <a:pt x="200934" y="661216"/>
                </a:lnTo>
                <a:lnTo>
                  <a:pt x="209250" y="661691"/>
                </a:lnTo>
                <a:lnTo>
                  <a:pt x="218278" y="661691"/>
                </a:lnTo>
                <a:lnTo>
                  <a:pt x="227069" y="660266"/>
                </a:lnTo>
                <a:lnTo>
                  <a:pt x="236335" y="658603"/>
                </a:lnTo>
                <a:lnTo>
                  <a:pt x="245838" y="655514"/>
                </a:lnTo>
                <a:lnTo>
                  <a:pt x="255580" y="652425"/>
                </a:lnTo>
                <a:lnTo>
                  <a:pt x="265321" y="647911"/>
                </a:lnTo>
                <a:lnTo>
                  <a:pt x="276013" y="642922"/>
                </a:lnTo>
                <a:lnTo>
                  <a:pt x="288367" y="635081"/>
                </a:lnTo>
                <a:lnTo>
                  <a:pt x="301910" y="627478"/>
                </a:lnTo>
                <a:lnTo>
                  <a:pt x="315215" y="620350"/>
                </a:lnTo>
                <a:lnTo>
                  <a:pt x="329471" y="613698"/>
                </a:lnTo>
                <a:lnTo>
                  <a:pt x="343726" y="607283"/>
                </a:lnTo>
                <a:lnTo>
                  <a:pt x="357981" y="602056"/>
                </a:lnTo>
                <a:lnTo>
                  <a:pt x="371999" y="597066"/>
                </a:lnTo>
                <a:lnTo>
                  <a:pt x="386730" y="592790"/>
                </a:lnTo>
                <a:lnTo>
                  <a:pt x="394808" y="590414"/>
                </a:lnTo>
                <a:lnTo>
                  <a:pt x="402411" y="587325"/>
                </a:lnTo>
                <a:lnTo>
                  <a:pt x="409064" y="583761"/>
                </a:lnTo>
                <a:lnTo>
                  <a:pt x="411677" y="581623"/>
                </a:lnTo>
                <a:lnTo>
                  <a:pt x="414766" y="579247"/>
                </a:lnTo>
                <a:lnTo>
                  <a:pt x="417142" y="577109"/>
                </a:lnTo>
                <a:lnTo>
                  <a:pt x="419280" y="574495"/>
                </a:lnTo>
                <a:lnTo>
                  <a:pt x="420943" y="571407"/>
                </a:lnTo>
                <a:lnTo>
                  <a:pt x="422844" y="568318"/>
                </a:lnTo>
                <a:lnTo>
                  <a:pt x="424269" y="565229"/>
                </a:lnTo>
                <a:lnTo>
                  <a:pt x="424982" y="561665"/>
                </a:lnTo>
                <a:lnTo>
                  <a:pt x="425457" y="557626"/>
                </a:lnTo>
                <a:lnTo>
                  <a:pt x="425932" y="553587"/>
                </a:lnTo>
                <a:lnTo>
                  <a:pt x="425932" y="413884"/>
                </a:lnTo>
                <a:lnTo>
                  <a:pt x="425932" y="285347"/>
                </a:lnTo>
                <a:lnTo>
                  <a:pt x="429496" y="300078"/>
                </a:lnTo>
                <a:lnTo>
                  <a:pt x="433060" y="314096"/>
                </a:lnTo>
                <a:lnTo>
                  <a:pt x="436149" y="328826"/>
                </a:lnTo>
                <a:lnTo>
                  <a:pt x="438762" y="343082"/>
                </a:lnTo>
                <a:lnTo>
                  <a:pt x="443752" y="370642"/>
                </a:lnTo>
                <a:lnTo>
                  <a:pt x="447791" y="397015"/>
                </a:lnTo>
                <a:lnTo>
                  <a:pt x="451830" y="421962"/>
                </a:lnTo>
                <a:lnTo>
                  <a:pt x="454919" y="446434"/>
                </a:lnTo>
                <a:lnTo>
                  <a:pt x="456106" y="458313"/>
                </a:lnTo>
                <a:lnTo>
                  <a:pt x="457057" y="470430"/>
                </a:lnTo>
                <a:lnTo>
                  <a:pt x="457532" y="482310"/>
                </a:lnTo>
                <a:lnTo>
                  <a:pt x="457532" y="493952"/>
                </a:lnTo>
                <a:lnTo>
                  <a:pt x="457532" y="506069"/>
                </a:lnTo>
                <a:lnTo>
                  <a:pt x="456582" y="517473"/>
                </a:lnTo>
                <a:lnTo>
                  <a:pt x="455869" y="529116"/>
                </a:lnTo>
                <a:lnTo>
                  <a:pt x="453968" y="540757"/>
                </a:lnTo>
                <a:lnTo>
                  <a:pt x="452305" y="552162"/>
                </a:lnTo>
                <a:lnTo>
                  <a:pt x="449454" y="563804"/>
                </a:lnTo>
                <a:lnTo>
                  <a:pt x="446365" y="575446"/>
                </a:lnTo>
                <a:lnTo>
                  <a:pt x="442326" y="586850"/>
                </a:lnTo>
                <a:lnTo>
                  <a:pt x="440188" y="591364"/>
                </a:lnTo>
                <a:lnTo>
                  <a:pt x="437574" y="595403"/>
                </a:lnTo>
                <a:lnTo>
                  <a:pt x="434486" y="598967"/>
                </a:lnTo>
                <a:lnTo>
                  <a:pt x="431397" y="602531"/>
                </a:lnTo>
                <a:lnTo>
                  <a:pt x="428071" y="605145"/>
                </a:lnTo>
                <a:lnTo>
                  <a:pt x="424982" y="607283"/>
                </a:lnTo>
                <a:lnTo>
                  <a:pt x="422369" y="608708"/>
                </a:lnTo>
                <a:lnTo>
                  <a:pt x="420230" y="609659"/>
                </a:lnTo>
                <a:lnTo>
                  <a:pt x="410727" y="610847"/>
                </a:lnTo>
                <a:lnTo>
                  <a:pt x="401461" y="612748"/>
                </a:lnTo>
                <a:lnTo>
                  <a:pt x="392670" y="614886"/>
                </a:lnTo>
                <a:lnTo>
                  <a:pt x="383641" y="617262"/>
                </a:lnTo>
                <a:lnTo>
                  <a:pt x="374850" y="620350"/>
                </a:lnTo>
                <a:lnTo>
                  <a:pt x="365822" y="623914"/>
                </a:lnTo>
                <a:lnTo>
                  <a:pt x="348478" y="631042"/>
                </a:lnTo>
                <a:lnTo>
                  <a:pt x="331609" y="639358"/>
                </a:lnTo>
                <a:lnTo>
                  <a:pt x="314740" y="647911"/>
                </a:lnTo>
                <a:lnTo>
                  <a:pt x="281240" y="665255"/>
                </a:lnTo>
                <a:lnTo>
                  <a:pt x="274587" y="669294"/>
                </a:lnTo>
                <a:lnTo>
                  <a:pt x="267935" y="672858"/>
                </a:lnTo>
                <a:lnTo>
                  <a:pt x="261757" y="675947"/>
                </a:lnTo>
                <a:lnTo>
                  <a:pt x="255105" y="679035"/>
                </a:lnTo>
                <a:lnTo>
                  <a:pt x="248927" y="681174"/>
                </a:lnTo>
                <a:lnTo>
                  <a:pt x="242987" y="683075"/>
                </a:lnTo>
                <a:lnTo>
                  <a:pt x="236810" y="684738"/>
                </a:lnTo>
                <a:lnTo>
                  <a:pt x="231108" y="686163"/>
                </a:lnTo>
                <a:lnTo>
                  <a:pt x="225406" y="687114"/>
                </a:lnTo>
                <a:lnTo>
                  <a:pt x="219466" y="687589"/>
                </a:lnTo>
                <a:lnTo>
                  <a:pt x="213764" y="687589"/>
                </a:lnTo>
                <a:lnTo>
                  <a:pt x="208299" y="687589"/>
                </a:lnTo>
                <a:lnTo>
                  <a:pt x="203072" y="687114"/>
                </a:lnTo>
                <a:lnTo>
                  <a:pt x="197607" y="686163"/>
                </a:lnTo>
                <a:lnTo>
                  <a:pt x="192380" y="684738"/>
                </a:lnTo>
                <a:lnTo>
                  <a:pt x="186916" y="683550"/>
                </a:lnTo>
                <a:lnTo>
                  <a:pt x="181689" y="681649"/>
                </a:lnTo>
                <a:lnTo>
                  <a:pt x="176699" y="679986"/>
                </a:lnTo>
                <a:lnTo>
                  <a:pt x="171472" y="677610"/>
                </a:lnTo>
                <a:lnTo>
                  <a:pt x="166483" y="674996"/>
                </a:lnTo>
                <a:lnTo>
                  <a:pt x="156742" y="669294"/>
                </a:lnTo>
                <a:lnTo>
                  <a:pt x="147001" y="662167"/>
                </a:lnTo>
                <a:lnTo>
                  <a:pt x="137735" y="654564"/>
                </a:lnTo>
                <a:lnTo>
                  <a:pt x="127756" y="645535"/>
                </a:lnTo>
                <a:lnTo>
                  <a:pt x="118490" y="636269"/>
                </a:lnTo>
                <a:lnTo>
                  <a:pt x="109224" y="626053"/>
                </a:lnTo>
                <a:lnTo>
                  <a:pt x="107323" y="623914"/>
                </a:lnTo>
                <a:lnTo>
                  <a:pt x="106135" y="620350"/>
                </a:lnTo>
                <a:lnTo>
                  <a:pt x="105185" y="616311"/>
                </a:lnTo>
                <a:lnTo>
                  <a:pt x="105185" y="612272"/>
                </a:lnTo>
                <a:lnTo>
                  <a:pt x="105185" y="608233"/>
                </a:lnTo>
                <a:lnTo>
                  <a:pt x="106135" y="604194"/>
                </a:lnTo>
                <a:lnTo>
                  <a:pt x="107323" y="600630"/>
                </a:lnTo>
                <a:lnTo>
                  <a:pt x="109224" y="598017"/>
                </a:lnTo>
                <a:lnTo>
                  <a:pt x="111837" y="591840"/>
                </a:lnTo>
                <a:lnTo>
                  <a:pt x="113975" y="586137"/>
                </a:lnTo>
                <a:lnTo>
                  <a:pt x="115401" y="579722"/>
                </a:lnTo>
                <a:lnTo>
                  <a:pt x="115876" y="574020"/>
                </a:lnTo>
                <a:lnTo>
                  <a:pt x="115876" y="568318"/>
                </a:lnTo>
                <a:lnTo>
                  <a:pt x="115401" y="562378"/>
                </a:lnTo>
                <a:lnTo>
                  <a:pt x="114451" y="557151"/>
                </a:lnTo>
                <a:lnTo>
                  <a:pt x="112788" y="551449"/>
                </a:lnTo>
                <a:lnTo>
                  <a:pt x="110412" y="545984"/>
                </a:lnTo>
                <a:lnTo>
                  <a:pt x="108273" y="540757"/>
                </a:lnTo>
                <a:lnTo>
                  <a:pt x="105185" y="535293"/>
                </a:lnTo>
                <a:lnTo>
                  <a:pt x="102096" y="530066"/>
                </a:lnTo>
                <a:lnTo>
                  <a:pt x="94968" y="519374"/>
                </a:lnTo>
                <a:lnTo>
                  <a:pt x="86890" y="508683"/>
                </a:lnTo>
                <a:lnTo>
                  <a:pt x="78812" y="497991"/>
                </a:lnTo>
                <a:lnTo>
                  <a:pt x="70972" y="486824"/>
                </a:lnTo>
                <a:lnTo>
                  <a:pt x="67408" y="481122"/>
                </a:lnTo>
                <a:lnTo>
                  <a:pt x="64319" y="474707"/>
                </a:lnTo>
                <a:lnTo>
                  <a:pt x="61230" y="469005"/>
                </a:lnTo>
                <a:lnTo>
                  <a:pt x="58379" y="462828"/>
                </a:lnTo>
                <a:lnTo>
                  <a:pt x="56716" y="456175"/>
                </a:lnTo>
                <a:lnTo>
                  <a:pt x="54815" y="449998"/>
                </a:lnTo>
                <a:lnTo>
                  <a:pt x="54103" y="443345"/>
                </a:lnTo>
                <a:lnTo>
                  <a:pt x="53627" y="436455"/>
                </a:lnTo>
                <a:lnTo>
                  <a:pt x="53627" y="429327"/>
                </a:lnTo>
                <a:lnTo>
                  <a:pt x="54815" y="422675"/>
                </a:lnTo>
                <a:lnTo>
                  <a:pt x="56716" y="415547"/>
                </a:lnTo>
                <a:lnTo>
                  <a:pt x="59330" y="408182"/>
                </a:lnTo>
                <a:lnTo>
                  <a:pt x="60280" y="403192"/>
                </a:lnTo>
                <a:lnTo>
                  <a:pt x="61943" y="397965"/>
                </a:lnTo>
                <a:lnTo>
                  <a:pt x="65507" y="387986"/>
                </a:lnTo>
                <a:lnTo>
                  <a:pt x="69546" y="378720"/>
                </a:lnTo>
                <a:lnTo>
                  <a:pt x="74535" y="369929"/>
                </a:lnTo>
                <a:lnTo>
                  <a:pt x="79762" y="360901"/>
                </a:lnTo>
                <a:lnTo>
                  <a:pt x="85940" y="352585"/>
                </a:lnTo>
                <a:lnTo>
                  <a:pt x="98057" y="335479"/>
                </a:lnTo>
                <a:lnTo>
                  <a:pt x="102571" y="328113"/>
                </a:lnTo>
                <a:lnTo>
                  <a:pt x="106848" y="320986"/>
                </a:lnTo>
                <a:lnTo>
                  <a:pt x="116827" y="307205"/>
                </a:lnTo>
                <a:lnTo>
                  <a:pt x="127043" y="293188"/>
                </a:lnTo>
                <a:lnTo>
                  <a:pt x="137735" y="279407"/>
                </a:lnTo>
                <a:lnTo>
                  <a:pt x="159831" y="251847"/>
                </a:lnTo>
                <a:lnTo>
                  <a:pt x="170522" y="238066"/>
                </a:lnTo>
                <a:lnTo>
                  <a:pt x="181214" y="223336"/>
                </a:lnTo>
                <a:lnTo>
                  <a:pt x="164820" y="223336"/>
                </a:lnTo>
                <a:lnTo>
                  <a:pt x="137972" y="230226"/>
                </a:lnTo>
                <a:lnTo>
                  <a:pt x="125142" y="233790"/>
                </a:lnTo>
                <a:lnTo>
                  <a:pt x="112788" y="237591"/>
                </a:lnTo>
                <a:lnTo>
                  <a:pt x="100195" y="241630"/>
                </a:lnTo>
                <a:lnTo>
                  <a:pt x="87840" y="245669"/>
                </a:lnTo>
                <a:lnTo>
                  <a:pt x="75723" y="250183"/>
                </a:lnTo>
                <a:lnTo>
                  <a:pt x="64319" y="254935"/>
                </a:lnTo>
                <a:lnTo>
                  <a:pt x="52677" y="260400"/>
                </a:lnTo>
                <a:lnTo>
                  <a:pt x="41035" y="265627"/>
                </a:lnTo>
                <a:lnTo>
                  <a:pt x="29868" y="271567"/>
                </a:lnTo>
                <a:lnTo>
                  <a:pt x="18939" y="277744"/>
                </a:lnTo>
                <a:lnTo>
                  <a:pt x="7772" y="284397"/>
                </a:lnTo>
                <a:lnTo>
                  <a:pt x="0" y="289924"/>
                </a:lnTo>
                <a:lnTo>
                  <a:pt x="0" y="895572"/>
                </a:lnTo>
                <a:lnTo>
                  <a:pt x="125653" y="895572"/>
                </a:lnTo>
                <a:lnTo>
                  <a:pt x="127756" y="892155"/>
                </a:lnTo>
                <a:lnTo>
                  <a:pt x="131082" y="885502"/>
                </a:lnTo>
                <a:lnTo>
                  <a:pt x="133696" y="878374"/>
                </a:lnTo>
                <a:lnTo>
                  <a:pt x="135834" y="871722"/>
                </a:lnTo>
                <a:lnTo>
                  <a:pt x="137735" y="864594"/>
                </a:lnTo>
                <a:lnTo>
                  <a:pt x="138923" y="857466"/>
                </a:lnTo>
                <a:lnTo>
                  <a:pt x="140348" y="850339"/>
                </a:lnTo>
                <a:lnTo>
                  <a:pt x="141298" y="843211"/>
                </a:lnTo>
                <a:lnTo>
                  <a:pt x="142011" y="828955"/>
                </a:lnTo>
                <a:lnTo>
                  <a:pt x="142486" y="814225"/>
                </a:lnTo>
                <a:lnTo>
                  <a:pt x="142486" y="799494"/>
                </a:lnTo>
                <a:lnTo>
                  <a:pt x="142486" y="782625"/>
                </a:lnTo>
                <a:lnTo>
                  <a:pt x="142486" y="771458"/>
                </a:lnTo>
                <a:lnTo>
                  <a:pt x="143912" y="778586"/>
                </a:lnTo>
                <a:lnTo>
                  <a:pt x="145100" y="784526"/>
                </a:lnTo>
                <a:lnTo>
                  <a:pt x="147476" y="789753"/>
                </a:lnTo>
                <a:lnTo>
                  <a:pt x="149614" y="794267"/>
                </a:lnTo>
                <a:lnTo>
                  <a:pt x="152228" y="797831"/>
                </a:lnTo>
                <a:lnTo>
                  <a:pt x="155554" y="801395"/>
                </a:lnTo>
                <a:lnTo>
                  <a:pt x="158643" y="803533"/>
                </a:lnTo>
                <a:lnTo>
                  <a:pt x="162206" y="805909"/>
                </a:lnTo>
                <a:lnTo>
                  <a:pt x="165770" y="807572"/>
                </a:lnTo>
                <a:lnTo>
                  <a:pt x="169572" y="808523"/>
                </a:lnTo>
                <a:lnTo>
                  <a:pt x="174086" y="809473"/>
                </a:lnTo>
                <a:lnTo>
                  <a:pt x="178600" y="810186"/>
                </a:lnTo>
                <a:lnTo>
                  <a:pt x="187866" y="810661"/>
                </a:lnTo>
                <a:lnTo>
                  <a:pt x="198083" y="810661"/>
                </a:lnTo>
                <a:lnTo>
                  <a:pt x="236810" y="810661"/>
                </a:lnTo>
                <a:lnTo>
                  <a:pt x="249640" y="811136"/>
                </a:lnTo>
                <a:lnTo>
                  <a:pt x="263183" y="811611"/>
                </a:lnTo>
                <a:lnTo>
                  <a:pt x="270310" y="811611"/>
                </a:lnTo>
                <a:lnTo>
                  <a:pt x="276963" y="811136"/>
                </a:lnTo>
                <a:lnTo>
                  <a:pt x="283140" y="810186"/>
                </a:lnTo>
                <a:lnTo>
                  <a:pt x="289793" y="808523"/>
                </a:lnTo>
                <a:lnTo>
                  <a:pt x="295495" y="806147"/>
                </a:lnTo>
                <a:lnTo>
                  <a:pt x="301435" y="803058"/>
                </a:lnTo>
                <a:lnTo>
                  <a:pt x="304524" y="801395"/>
                </a:lnTo>
                <a:lnTo>
                  <a:pt x="307137" y="799256"/>
                </a:lnTo>
                <a:lnTo>
                  <a:pt x="309275" y="796881"/>
                </a:lnTo>
                <a:lnTo>
                  <a:pt x="312126" y="794267"/>
                </a:lnTo>
                <a:lnTo>
                  <a:pt x="314265" y="791178"/>
                </a:lnTo>
                <a:lnTo>
                  <a:pt x="316403" y="788090"/>
                </a:lnTo>
                <a:lnTo>
                  <a:pt x="318304" y="784051"/>
                </a:lnTo>
                <a:lnTo>
                  <a:pt x="319967" y="780012"/>
                </a:lnTo>
                <a:lnTo>
                  <a:pt x="321868" y="775973"/>
                </a:lnTo>
                <a:lnTo>
                  <a:pt x="323056" y="771221"/>
                </a:lnTo>
                <a:lnTo>
                  <a:pt x="324481" y="765756"/>
                </a:lnTo>
                <a:lnTo>
                  <a:pt x="325907" y="760529"/>
                </a:lnTo>
                <a:lnTo>
                  <a:pt x="325907" y="827530"/>
                </a:lnTo>
                <a:lnTo>
                  <a:pt x="310226" y="835608"/>
                </a:lnTo>
                <a:lnTo>
                  <a:pt x="295970" y="843686"/>
                </a:lnTo>
                <a:lnTo>
                  <a:pt x="282665" y="850339"/>
                </a:lnTo>
                <a:lnTo>
                  <a:pt x="276488" y="852952"/>
                </a:lnTo>
                <a:lnTo>
                  <a:pt x="270310" y="855565"/>
                </a:lnTo>
                <a:lnTo>
                  <a:pt x="266271" y="857942"/>
                </a:lnTo>
                <a:lnTo>
                  <a:pt x="262708" y="860080"/>
                </a:lnTo>
                <a:lnTo>
                  <a:pt x="259619" y="862693"/>
                </a:lnTo>
                <a:lnTo>
                  <a:pt x="256768" y="865544"/>
                </a:lnTo>
                <a:lnTo>
                  <a:pt x="254154" y="868633"/>
                </a:lnTo>
                <a:lnTo>
                  <a:pt x="252491" y="871722"/>
                </a:lnTo>
                <a:lnTo>
                  <a:pt x="250590" y="874810"/>
                </a:lnTo>
                <a:lnTo>
                  <a:pt x="249402" y="877899"/>
                </a:lnTo>
                <a:lnTo>
                  <a:pt x="248452" y="880988"/>
                </a:lnTo>
                <a:lnTo>
                  <a:pt x="247977" y="884076"/>
                </a:lnTo>
                <a:lnTo>
                  <a:pt x="247977" y="887165"/>
                </a:lnTo>
                <a:lnTo>
                  <a:pt x="248452" y="890016"/>
                </a:lnTo>
                <a:lnTo>
                  <a:pt x="249402" y="893105"/>
                </a:lnTo>
                <a:lnTo>
                  <a:pt x="250075" y="895572"/>
                </a:lnTo>
                <a:lnTo>
                  <a:pt x="474750" y="895572"/>
                </a:lnTo>
                <a:lnTo>
                  <a:pt x="475827" y="894768"/>
                </a:lnTo>
                <a:lnTo>
                  <a:pt x="486993" y="882889"/>
                </a:lnTo>
                <a:lnTo>
                  <a:pt x="497210" y="870296"/>
                </a:lnTo>
                <a:lnTo>
                  <a:pt x="506951" y="857942"/>
                </a:lnTo>
                <a:lnTo>
                  <a:pt x="515742" y="844636"/>
                </a:lnTo>
                <a:lnTo>
                  <a:pt x="523820" y="831094"/>
                </a:lnTo>
                <a:lnTo>
                  <a:pt x="531898" y="816838"/>
                </a:lnTo>
                <a:lnTo>
                  <a:pt x="539026" y="802583"/>
                </a:lnTo>
                <a:lnTo>
                  <a:pt x="545678" y="788565"/>
                </a:lnTo>
                <a:lnTo>
                  <a:pt x="552331" y="773359"/>
                </a:lnTo>
                <a:lnTo>
                  <a:pt x="558033" y="758628"/>
                </a:lnTo>
                <a:lnTo>
                  <a:pt x="563498" y="743185"/>
                </a:lnTo>
                <a:lnTo>
                  <a:pt x="568725" y="727979"/>
                </a:lnTo>
                <a:lnTo>
                  <a:pt x="573714" y="712298"/>
                </a:lnTo>
                <a:lnTo>
                  <a:pt x="577991" y="696855"/>
                </a:lnTo>
                <a:lnTo>
                  <a:pt x="586544" y="665255"/>
                </a:lnTo>
                <a:lnTo>
                  <a:pt x="586069" y="663117"/>
                </a:lnTo>
                <a:lnTo>
                  <a:pt x="584881" y="660266"/>
                </a:lnTo>
                <a:lnTo>
                  <a:pt x="582980" y="657177"/>
                </a:lnTo>
                <a:lnTo>
                  <a:pt x="580367" y="654088"/>
                </a:lnTo>
                <a:lnTo>
                  <a:pt x="574902" y="647911"/>
                </a:lnTo>
                <a:lnTo>
                  <a:pt x="570150" y="642922"/>
                </a:lnTo>
                <a:lnTo>
                  <a:pt x="565636" y="636744"/>
                </a:lnTo>
                <a:lnTo>
                  <a:pt x="560647" y="631517"/>
                </a:lnTo>
                <a:lnTo>
                  <a:pt x="555420" y="626053"/>
                </a:lnTo>
                <a:lnTo>
                  <a:pt x="550193" y="621301"/>
                </a:lnTo>
                <a:lnTo>
                  <a:pt x="544253" y="616787"/>
                </a:lnTo>
                <a:lnTo>
                  <a:pt x="538075" y="612272"/>
                </a:lnTo>
                <a:lnTo>
                  <a:pt x="525721" y="603719"/>
                </a:lnTo>
                <a:lnTo>
                  <a:pt x="563023" y="619875"/>
                </a:lnTo>
                <a:lnTo>
                  <a:pt x="581317" y="628191"/>
                </a:lnTo>
                <a:lnTo>
                  <a:pt x="599374" y="636744"/>
                </a:lnTo>
                <a:lnTo>
                  <a:pt x="607927" y="641259"/>
                </a:lnTo>
                <a:lnTo>
                  <a:pt x="616718" y="646010"/>
                </a:lnTo>
                <a:lnTo>
                  <a:pt x="625271" y="651000"/>
                </a:lnTo>
                <a:lnTo>
                  <a:pt x="633349" y="656227"/>
                </a:lnTo>
                <a:lnTo>
                  <a:pt x="641665" y="662167"/>
                </a:lnTo>
                <a:lnTo>
                  <a:pt x="649268" y="668344"/>
                </a:lnTo>
                <a:lnTo>
                  <a:pt x="656871" y="674996"/>
                </a:lnTo>
                <a:lnTo>
                  <a:pt x="664474" y="682124"/>
                </a:lnTo>
                <a:lnTo>
                  <a:pt x="668988" y="686163"/>
                </a:lnTo>
                <a:lnTo>
                  <a:pt x="672790" y="690202"/>
                </a:lnTo>
                <a:lnTo>
                  <a:pt x="677304" y="693291"/>
                </a:lnTo>
                <a:lnTo>
                  <a:pt x="682293" y="696855"/>
                </a:lnTo>
                <a:lnTo>
                  <a:pt x="686570" y="699468"/>
                </a:lnTo>
                <a:lnTo>
                  <a:pt x="691559" y="702082"/>
                </a:lnTo>
                <a:lnTo>
                  <a:pt x="696549" y="703983"/>
                </a:lnTo>
                <a:lnTo>
                  <a:pt x="701300" y="705646"/>
                </a:lnTo>
                <a:lnTo>
                  <a:pt x="706290" y="707071"/>
                </a:lnTo>
                <a:lnTo>
                  <a:pt x="711042" y="708497"/>
                </a:lnTo>
                <a:lnTo>
                  <a:pt x="716506" y="708734"/>
                </a:lnTo>
                <a:lnTo>
                  <a:pt x="721258" y="708734"/>
                </a:lnTo>
                <a:lnTo>
                  <a:pt x="726723" y="708497"/>
                </a:lnTo>
                <a:lnTo>
                  <a:pt x="731712" y="707546"/>
                </a:lnTo>
                <a:lnTo>
                  <a:pt x="736939" y="706121"/>
                </a:lnTo>
                <a:lnTo>
                  <a:pt x="742166" y="704458"/>
                </a:lnTo>
                <a:lnTo>
                  <a:pt x="749294" y="702082"/>
                </a:lnTo>
                <a:lnTo>
                  <a:pt x="756184" y="699468"/>
                </a:lnTo>
                <a:lnTo>
                  <a:pt x="762361" y="696380"/>
                </a:lnTo>
                <a:lnTo>
                  <a:pt x="768063" y="692816"/>
                </a:lnTo>
                <a:lnTo>
                  <a:pt x="773528" y="689252"/>
                </a:lnTo>
                <a:lnTo>
                  <a:pt x="778755" y="684738"/>
                </a:lnTo>
                <a:lnTo>
                  <a:pt x="783269" y="680461"/>
                </a:lnTo>
                <a:lnTo>
                  <a:pt x="787308" y="674996"/>
                </a:lnTo>
                <a:lnTo>
                  <a:pt x="791110" y="669769"/>
                </a:lnTo>
                <a:lnTo>
                  <a:pt x="794436" y="663830"/>
                </a:lnTo>
                <a:lnTo>
                  <a:pt x="797050" y="657652"/>
                </a:lnTo>
                <a:lnTo>
                  <a:pt x="799188" y="651000"/>
                </a:lnTo>
                <a:lnTo>
                  <a:pt x="801089" y="643872"/>
                </a:lnTo>
                <a:lnTo>
                  <a:pt x="802277" y="636744"/>
                </a:lnTo>
                <a:lnTo>
                  <a:pt x="803227" y="628666"/>
                </a:lnTo>
                <a:lnTo>
                  <a:pt x="803227" y="620826"/>
                </a:lnTo>
                <a:lnTo>
                  <a:pt x="801089" y="622489"/>
                </a:lnTo>
                <a:lnTo>
                  <a:pt x="798238" y="623914"/>
                </a:lnTo>
                <a:lnTo>
                  <a:pt x="793011" y="626053"/>
                </a:lnTo>
                <a:lnTo>
                  <a:pt x="790397" y="627478"/>
                </a:lnTo>
                <a:lnTo>
                  <a:pt x="788496" y="628191"/>
                </a:lnTo>
                <a:lnTo>
                  <a:pt x="787308" y="630092"/>
                </a:lnTo>
                <a:lnTo>
                  <a:pt x="786833" y="631755"/>
                </a:lnTo>
                <a:lnTo>
                  <a:pt x="785408" y="635794"/>
                </a:lnTo>
                <a:lnTo>
                  <a:pt x="784220" y="639833"/>
                </a:lnTo>
                <a:lnTo>
                  <a:pt x="780656" y="646485"/>
                </a:lnTo>
                <a:lnTo>
                  <a:pt x="776617" y="653138"/>
                </a:lnTo>
                <a:lnTo>
                  <a:pt x="772103" y="659078"/>
                </a:lnTo>
                <a:lnTo>
                  <a:pt x="762361" y="670007"/>
                </a:lnTo>
                <a:lnTo>
                  <a:pt x="757847" y="675947"/>
                </a:lnTo>
                <a:lnTo>
                  <a:pt x="753333" y="682124"/>
                </a:lnTo>
                <a:lnTo>
                  <a:pt x="750244" y="684738"/>
                </a:lnTo>
                <a:lnTo>
                  <a:pt x="747155" y="687589"/>
                </a:lnTo>
                <a:lnTo>
                  <a:pt x="744067" y="689252"/>
                </a:lnTo>
                <a:lnTo>
                  <a:pt x="740978" y="690915"/>
                </a:lnTo>
                <a:lnTo>
                  <a:pt x="737890" y="691865"/>
                </a:lnTo>
                <a:lnTo>
                  <a:pt x="734801" y="692816"/>
                </a:lnTo>
                <a:lnTo>
                  <a:pt x="731950" y="693291"/>
                </a:lnTo>
                <a:lnTo>
                  <a:pt x="728861" y="693291"/>
                </a:lnTo>
                <a:lnTo>
                  <a:pt x="723634" y="692816"/>
                </a:lnTo>
                <a:lnTo>
                  <a:pt x="718169" y="691390"/>
                </a:lnTo>
                <a:lnTo>
                  <a:pt x="713418" y="689727"/>
                </a:lnTo>
                <a:lnTo>
                  <a:pt x="708903" y="687826"/>
                </a:lnTo>
                <a:lnTo>
                  <a:pt x="706765" y="687589"/>
                </a:lnTo>
                <a:lnTo>
                  <a:pt x="704864" y="687114"/>
                </a:lnTo>
                <a:lnTo>
                  <a:pt x="703201" y="686163"/>
                </a:lnTo>
                <a:lnTo>
                  <a:pt x="701776" y="684738"/>
                </a:lnTo>
                <a:lnTo>
                  <a:pt x="698687" y="681649"/>
                </a:lnTo>
                <a:lnTo>
                  <a:pt x="696549" y="678085"/>
                </a:lnTo>
                <a:lnTo>
                  <a:pt x="694648" y="673571"/>
                </a:lnTo>
                <a:lnTo>
                  <a:pt x="693460" y="668819"/>
                </a:lnTo>
                <a:lnTo>
                  <a:pt x="692510" y="664305"/>
                </a:lnTo>
                <a:lnTo>
                  <a:pt x="692510" y="659790"/>
                </a:lnTo>
                <a:lnTo>
                  <a:pt x="692510" y="647436"/>
                </a:lnTo>
                <a:lnTo>
                  <a:pt x="693460" y="635319"/>
                </a:lnTo>
                <a:lnTo>
                  <a:pt x="694173" y="624389"/>
                </a:lnTo>
                <a:lnTo>
                  <a:pt x="695598" y="612748"/>
                </a:lnTo>
                <a:lnTo>
                  <a:pt x="699162" y="591364"/>
                </a:lnTo>
                <a:lnTo>
                  <a:pt x="703676" y="570456"/>
                </a:lnTo>
                <a:lnTo>
                  <a:pt x="720070" y="574971"/>
                </a:lnTo>
                <a:lnTo>
                  <a:pt x="736939" y="579247"/>
                </a:lnTo>
                <a:lnTo>
                  <a:pt x="770677" y="589226"/>
                </a:lnTo>
                <a:lnTo>
                  <a:pt x="788021" y="593503"/>
                </a:lnTo>
                <a:lnTo>
                  <a:pt x="805365" y="597542"/>
                </a:lnTo>
                <a:lnTo>
                  <a:pt x="823660" y="601106"/>
                </a:lnTo>
                <a:lnTo>
                  <a:pt x="841954" y="603719"/>
                </a:lnTo>
                <a:lnTo>
                  <a:pt x="861437" y="606570"/>
                </a:lnTo>
                <a:lnTo>
                  <a:pt x="880682" y="608233"/>
                </a:lnTo>
                <a:lnTo>
                  <a:pt x="889948" y="608708"/>
                </a:lnTo>
                <a:lnTo>
                  <a:pt x="898976" y="608708"/>
                </a:lnTo>
                <a:lnTo>
                  <a:pt x="908242" y="608708"/>
                </a:lnTo>
                <a:lnTo>
                  <a:pt x="916795" y="608233"/>
                </a:lnTo>
                <a:lnTo>
                  <a:pt x="925586" y="607283"/>
                </a:lnTo>
                <a:lnTo>
                  <a:pt x="934140" y="606095"/>
                </a:lnTo>
                <a:lnTo>
                  <a:pt x="942455" y="604669"/>
                </a:lnTo>
                <a:lnTo>
                  <a:pt x="950533" y="603006"/>
                </a:lnTo>
                <a:lnTo>
                  <a:pt x="958611" y="600630"/>
                </a:lnTo>
                <a:lnTo>
                  <a:pt x="966452" y="598017"/>
                </a:lnTo>
                <a:lnTo>
                  <a:pt x="974055" y="595403"/>
                </a:lnTo>
                <a:lnTo>
                  <a:pt x="981658" y="591840"/>
                </a:lnTo>
                <a:lnTo>
                  <a:pt x="989261" y="588276"/>
                </a:lnTo>
                <a:lnTo>
                  <a:pt x="996388" y="584237"/>
                </a:lnTo>
                <a:lnTo>
                  <a:pt x="1003041" y="579247"/>
                </a:lnTo>
                <a:lnTo>
                  <a:pt x="1009694" y="574495"/>
                </a:lnTo>
                <a:lnTo>
                  <a:pt x="1016346" y="569031"/>
                </a:lnTo>
                <a:lnTo>
                  <a:pt x="1022998" y="562853"/>
                </a:lnTo>
                <a:lnTo>
                  <a:pt x="1029176" y="556676"/>
                </a:lnTo>
                <a:lnTo>
                  <a:pt x="1035116" y="549548"/>
                </a:lnTo>
                <a:lnTo>
                  <a:pt x="1040818" y="541945"/>
                </a:lnTo>
                <a:lnTo>
                  <a:pt x="1046520" y="534342"/>
                </a:lnTo>
                <a:lnTo>
                  <a:pt x="1051985" y="526027"/>
                </a:lnTo>
                <a:lnTo>
                  <a:pt x="1056737" y="516523"/>
                </a:lnTo>
                <a:lnTo>
                  <a:pt x="1061726" y="507257"/>
                </a:lnTo>
                <a:lnTo>
                  <a:pt x="1066715" y="497041"/>
                </a:lnTo>
                <a:lnTo>
                  <a:pt x="1070992" y="486349"/>
                </a:lnTo>
                <a:lnTo>
                  <a:pt x="1075506" y="475182"/>
                </a:lnTo>
                <a:lnTo>
                  <a:pt x="1079070" y="462828"/>
                </a:lnTo>
                <a:lnTo>
                  <a:pt x="1082634" y="449998"/>
                </a:lnTo>
                <a:lnTo>
                  <a:pt x="1084772" y="437405"/>
                </a:lnTo>
                <a:lnTo>
                  <a:pt x="1087148" y="425050"/>
                </a:lnTo>
                <a:lnTo>
                  <a:pt x="1088811" y="411983"/>
                </a:lnTo>
                <a:lnTo>
                  <a:pt x="1089762" y="399628"/>
                </a:lnTo>
                <a:lnTo>
                  <a:pt x="1090712" y="386798"/>
                </a:lnTo>
                <a:lnTo>
                  <a:pt x="1090712" y="373731"/>
                </a:lnTo>
                <a:lnTo>
                  <a:pt x="1090712" y="360901"/>
                </a:lnTo>
                <a:lnTo>
                  <a:pt x="1089762" y="348071"/>
                </a:lnTo>
                <a:lnTo>
                  <a:pt x="1088811" y="335004"/>
                </a:lnTo>
                <a:lnTo>
                  <a:pt x="1088099" y="321698"/>
                </a:lnTo>
                <a:lnTo>
                  <a:pt x="1084772" y="295563"/>
                </a:lnTo>
                <a:lnTo>
                  <a:pt x="1080971" y="268478"/>
                </a:lnTo>
                <a:lnTo>
                  <a:pt x="1078595" y="258262"/>
                </a:lnTo>
                <a:lnTo>
                  <a:pt x="1075981" y="248283"/>
                </a:lnTo>
                <a:lnTo>
                  <a:pt x="1072417" y="238542"/>
                </a:lnTo>
                <a:lnTo>
                  <a:pt x="1069329" y="229275"/>
                </a:lnTo>
                <a:lnTo>
                  <a:pt x="1061251" y="210031"/>
                </a:lnTo>
                <a:lnTo>
                  <a:pt x="1053173" y="190073"/>
                </a:lnTo>
                <a:lnTo>
                  <a:pt x="1051034" y="186034"/>
                </a:lnTo>
                <a:lnTo>
                  <a:pt x="1048896" y="182470"/>
                </a:lnTo>
                <a:lnTo>
                  <a:pt x="1046045" y="179381"/>
                </a:lnTo>
                <a:lnTo>
                  <a:pt x="1043906" y="176768"/>
                </a:lnTo>
                <a:lnTo>
                  <a:pt x="1041293" y="174630"/>
                </a:lnTo>
                <a:lnTo>
                  <a:pt x="1038680" y="172729"/>
                </a:lnTo>
                <a:lnTo>
                  <a:pt x="1035828" y="171303"/>
                </a:lnTo>
                <a:lnTo>
                  <a:pt x="1032740" y="170591"/>
                </a:lnTo>
                <a:lnTo>
                  <a:pt x="1030126" y="170591"/>
                </a:lnTo>
                <a:lnTo>
                  <a:pt x="1027038" y="170591"/>
                </a:lnTo>
                <a:lnTo>
                  <a:pt x="1024424" y="171303"/>
                </a:lnTo>
                <a:lnTo>
                  <a:pt x="1021335" y="172729"/>
                </a:lnTo>
                <a:lnTo>
                  <a:pt x="1018247" y="174867"/>
                </a:lnTo>
                <a:lnTo>
                  <a:pt x="1014920" y="177718"/>
                </a:lnTo>
                <a:lnTo>
                  <a:pt x="1011832" y="180807"/>
                </a:lnTo>
                <a:lnTo>
                  <a:pt x="1008743" y="184846"/>
                </a:lnTo>
                <a:lnTo>
                  <a:pt x="991874" y="201240"/>
                </a:lnTo>
                <a:lnTo>
                  <a:pt x="983321" y="209318"/>
                </a:lnTo>
                <a:lnTo>
                  <a:pt x="974530" y="216683"/>
                </a:lnTo>
                <a:lnTo>
                  <a:pt x="965739" y="223811"/>
                </a:lnTo>
                <a:lnTo>
                  <a:pt x="956236" y="230226"/>
                </a:lnTo>
                <a:lnTo>
                  <a:pt x="946494" y="235928"/>
                </a:lnTo>
                <a:lnTo>
                  <a:pt x="941505" y="238066"/>
                </a:lnTo>
                <a:lnTo>
                  <a:pt x="936753" y="240442"/>
                </a:lnTo>
                <a:lnTo>
                  <a:pt x="932239" y="242581"/>
                </a:lnTo>
                <a:lnTo>
                  <a:pt x="928675" y="245669"/>
                </a:lnTo>
                <a:lnTo>
                  <a:pt x="925111" y="249233"/>
                </a:lnTo>
                <a:lnTo>
                  <a:pt x="922022" y="252797"/>
                </a:lnTo>
                <a:lnTo>
                  <a:pt x="919884" y="257311"/>
                </a:lnTo>
                <a:lnTo>
                  <a:pt x="918934" y="259925"/>
                </a:lnTo>
                <a:lnTo>
                  <a:pt x="918459" y="262538"/>
                </a:lnTo>
                <a:lnTo>
                  <a:pt x="918459" y="265389"/>
                </a:lnTo>
                <a:lnTo>
                  <a:pt x="918459" y="268003"/>
                </a:lnTo>
                <a:lnTo>
                  <a:pt x="918934" y="271091"/>
                </a:lnTo>
                <a:lnTo>
                  <a:pt x="919884" y="274180"/>
                </a:lnTo>
                <a:lnTo>
                  <a:pt x="921547" y="282258"/>
                </a:lnTo>
                <a:lnTo>
                  <a:pt x="922973" y="290574"/>
                </a:lnTo>
                <a:lnTo>
                  <a:pt x="923923" y="299127"/>
                </a:lnTo>
                <a:lnTo>
                  <a:pt x="924161" y="307443"/>
                </a:lnTo>
                <a:lnTo>
                  <a:pt x="924161" y="315996"/>
                </a:lnTo>
                <a:lnTo>
                  <a:pt x="923923" y="324550"/>
                </a:lnTo>
                <a:lnTo>
                  <a:pt x="922973" y="332865"/>
                </a:lnTo>
                <a:lnTo>
                  <a:pt x="922022" y="340943"/>
                </a:lnTo>
                <a:lnTo>
                  <a:pt x="920597" y="349259"/>
                </a:lnTo>
                <a:lnTo>
                  <a:pt x="918934" y="357812"/>
                </a:lnTo>
                <a:lnTo>
                  <a:pt x="914420" y="374681"/>
                </a:lnTo>
                <a:lnTo>
                  <a:pt x="909192" y="391075"/>
                </a:lnTo>
                <a:lnTo>
                  <a:pt x="903253" y="408182"/>
                </a:lnTo>
                <a:lnTo>
                  <a:pt x="903253" y="397965"/>
                </a:lnTo>
                <a:lnTo>
                  <a:pt x="904203" y="387274"/>
                </a:lnTo>
                <a:lnTo>
                  <a:pt x="906104" y="367078"/>
                </a:lnTo>
                <a:lnTo>
                  <a:pt x="907767" y="347596"/>
                </a:lnTo>
                <a:lnTo>
                  <a:pt x="908717" y="338567"/>
                </a:lnTo>
                <a:lnTo>
                  <a:pt x="908717" y="329777"/>
                </a:lnTo>
                <a:lnTo>
                  <a:pt x="908717" y="325738"/>
                </a:lnTo>
                <a:lnTo>
                  <a:pt x="907767" y="322649"/>
                </a:lnTo>
                <a:lnTo>
                  <a:pt x="906817" y="319560"/>
                </a:lnTo>
                <a:lnTo>
                  <a:pt x="905154" y="316471"/>
                </a:lnTo>
                <a:lnTo>
                  <a:pt x="903728" y="314096"/>
                </a:lnTo>
                <a:lnTo>
                  <a:pt x="901590" y="311957"/>
                </a:lnTo>
                <a:lnTo>
                  <a:pt x="897551" y="307443"/>
                </a:lnTo>
                <a:lnTo>
                  <a:pt x="895412" y="309344"/>
                </a:lnTo>
                <a:lnTo>
                  <a:pt x="892561" y="310769"/>
                </a:lnTo>
                <a:lnTo>
                  <a:pt x="887334" y="313383"/>
                </a:lnTo>
                <a:lnTo>
                  <a:pt x="884721" y="314096"/>
                </a:lnTo>
                <a:lnTo>
                  <a:pt x="882820" y="315521"/>
                </a:lnTo>
                <a:lnTo>
                  <a:pt x="881632" y="316947"/>
                </a:lnTo>
                <a:lnTo>
                  <a:pt x="881157" y="318610"/>
                </a:lnTo>
                <a:lnTo>
                  <a:pt x="872604" y="331915"/>
                </a:lnTo>
                <a:lnTo>
                  <a:pt x="864288" y="346646"/>
                </a:lnTo>
                <a:lnTo>
                  <a:pt x="856210" y="361376"/>
                </a:lnTo>
                <a:lnTo>
                  <a:pt x="847656" y="374681"/>
                </a:lnTo>
                <a:lnTo>
                  <a:pt x="841954" y="374681"/>
                </a:lnTo>
                <a:lnTo>
                  <a:pt x="846468" y="357812"/>
                </a:lnTo>
                <a:lnTo>
                  <a:pt x="850508" y="339518"/>
                </a:lnTo>
                <a:lnTo>
                  <a:pt x="854784" y="319560"/>
                </a:lnTo>
                <a:lnTo>
                  <a:pt x="858823" y="296514"/>
                </a:lnTo>
                <a:lnTo>
                  <a:pt x="848132" y="303879"/>
                </a:lnTo>
                <a:lnTo>
                  <a:pt x="840054" y="310294"/>
                </a:lnTo>
                <a:lnTo>
                  <a:pt x="833163" y="316947"/>
                </a:lnTo>
                <a:lnTo>
                  <a:pt x="825560" y="324550"/>
                </a:lnTo>
                <a:lnTo>
                  <a:pt x="823185" y="326688"/>
                </a:lnTo>
                <a:lnTo>
                  <a:pt x="821522" y="329301"/>
                </a:lnTo>
                <a:lnTo>
                  <a:pt x="817007" y="335954"/>
                </a:lnTo>
                <a:lnTo>
                  <a:pt x="812968" y="344032"/>
                </a:lnTo>
                <a:lnTo>
                  <a:pt x="808929" y="352585"/>
                </a:lnTo>
                <a:lnTo>
                  <a:pt x="809880" y="343557"/>
                </a:lnTo>
                <a:lnTo>
                  <a:pt x="811305" y="335479"/>
                </a:lnTo>
                <a:lnTo>
                  <a:pt x="812493" y="328826"/>
                </a:lnTo>
                <a:lnTo>
                  <a:pt x="814394" y="323124"/>
                </a:lnTo>
                <a:lnTo>
                  <a:pt x="816532" y="317659"/>
                </a:lnTo>
                <a:lnTo>
                  <a:pt x="819146" y="313383"/>
                </a:lnTo>
                <a:lnTo>
                  <a:pt x="822709" y="309344"/>
                </a:lnTo>
                <a:lnTo>
                  <a:pt x="826748" y="306255"/>
                </a:lnTo>
                <a:lnTo>
                  <a:pt x="832213" y="303166"/>
                </a:lnTo>
                <a:lnTo>
                  <a:pt x="838390" y="300315"/>
                </a:lnTo>
                <a:lnTo>
                  <a:pt x="845518" y="298177"/>
                </a:lnTo>
                <a:lnTo>
                  <a:pt x="854071" y="295563"/>
                </a:lnTo>
                <a:lnTo>
                  <a:pt x="875217" y="290574"/>
                </a:lnTo>
                <a:lnTo>
                  <a:pt x="903253" y="285347"/>
                </a:lnTo>
                <a:lnTo>
                  <a:pt x="886384" y="268478"/>
                </a:lnTo>
                <a:lnTo>
                  <a:pt x="879731" y="270141"/>
                </a:lnTo>
                <a:lnTo>
                  <a:pt x="873079" y="271091"/>
                </a:lnTo>
                <a:lnTo>
                  <a:pt x="867376" y="271567"/>
                </a:lnTo>
                <a:lnTo>
                  <a:pt x="862387" y="271091"/>
                </a:lnTo>
                <a:lnTo>
                  <a:pt x="857398" y="269666"/>
                </a:lnTo>
                <a:lnTo>
                  <a:pt x="853596" y="268003"/>
                </a:lnTo>
                <a:lnTo>
                  <a:pt x="849557" y="265627"/>
                </a:lnTo>
                <a:lnTo>
                  <a:pt x="846468" y="262538"/>
                </a:lnTo>
                <a:lnTo>
                  <a:pt x="843380" y="259450"/>
                </a:lnTo>
                <a:lnTo>
                  <a:pt x="840529" y="255411"/>
                </a:lnTo>
                <a:lnTo>
                  <a:pt x="838390" y="251134"/>
                </a:lnTo>
                <a:lnTo>
                  <a:pt x="836490" y="246620"/>
                </a:lnTo>
                <a:lnTo>
                  <a:pt x="834827" y="241155"/>
                </a:lnTo>
                <a:lnTo>
                  <a:pt x="833401" y="235453"/>
                </a:lnTo>
                <a:lnTo>
                  <a:pt x="831263" y="223336"/>
                </a:lnTo>
                <a:lnTo>
                  <a:pt x="897551" y="206942"/>
                </a:lnTo>
                <a:lnTo>
                  <a:pt x="888997" y="194112"/>
                </a:lnTo>
                <a:lnTo>
                  <a:pt x="880682" y="181282"/>
                </a:lnTo>
                <a:lnTo>
                  <a:pt x="871416" y="168690"/>
                </a:lnTo>
                <a:lnTo>
                  <a:pt x="866901" y="162988"/>
                </a:lnTo>
                <a:lnTo>
                  <a:pt x="861437" y="157048"/>
                </a:lnTo>
                <a:lnTo>
                  <a:pt x="856210" y="151821"/>
                </a:lnTo>
                <a:lnTo>
                  <a:pt x="850745" y="146831"/>
                </a:lnTo>
                <a:lnTo>
                  <a:pt x="844568" y="142555"/>
                </a:lnTo>
                <a:lnTo>
                  <a:pt x="838390" y="138516"/>
                </a:lnTo>
                <a:lnTo>
                  <a:pt x="831738" y="134952"/>
                </a:lnTo>
                <a:lnTo>
                  <a:pt x="824610" y="132338"/>
                </a:lnTo>
                <a:lnTo>
                  <a:pt x="817007" y="129963"/>
                </a:lnTo>
                <a:lnTo>
                  <a:pt x="808929" y="128774"/>
                </a:lnTo>
                <a:lnTo>
                  <a:pt x="806791" y="128299"/>
                </a:lnTo>
                <a:lnTo>
                  <a:pt x="804652" y="127824"/>
                </a:lnTo>
                <a:lnTo>
                  <a:pt x="802752" y="126399"/>
                </a:lnTo>
                <a:lnTo>
                  <a:pt x="801089" y="125211"/>
                </a:lnTo>
                <a:lnTo>
                  <a:pt x="799663" y="123310"/>
                </a:lnTo>
                <a:lnTo>
                  <a:pt x="798713" y="121647"/>
                </a:lnTo>
                <a:lnTo>
                  <a:pt x="798000" y="119271"/>
                </a:lnTo>
                <a:lnTo>
                  <a:pt x="798000" y="117608"/>
                </a:lnTo>
                <a:lnTo>
                  <a:pt x="785408" y="106916"/>
                </a:lnTo>
                <a:lnTo>
                  <a:pt x="772578" y="95749"/>
                </a:lnTo>
                <a:lnTo>
                  <a:pt x="747155" y="72703"/>
                </a:lnTo>
                <a:lnTo>
                  <a:pt x="733850" y="61061"/>
                </a:lnTo>
                <a:lnTo>
                  <a:pt x="720545" y="49894"/>
                </a:lnTo>
                <a:lnTo>
                  <a:pt x="706765" y="38728"/>
                </a:lnTo>
                <a:lnTo>
                  <a:pt x="692510" y="28036"/>
                </a:lnTo>
                <a:lnTo>
                  <a:pt x="679442" y="21859"/>
                </a:lnTo>
                <a:lnTo>
                  <a:pt x="666137" y="16632"/>
                </a:lnTo>
                <a:lnTo>
                  <a:pt x="652832" y="11642"/>
                </a:lnTo>
                <a:lnTo>
                  <a:pt x="639527" y="7603"/>
                </a:lnTo>
                <a:lnTo>
                  <a:pt x="626222" y="4514"/>
                </a:lnTo>
                <a:lnTo>
                  <a:pt x="612917" y="1901"/>
                </a:lnTo>
                <a:lnTo>
                  <a:pt x="599374" y="475"/>
                </a:lnTo>
                <a:close/>
              </a:path>
            </a:pathLst>
          </a:custGeom>
          <a:solidFill>
            <a:schemeClr val="bg1">
              <a:alpha val="25000"/>
            </a:schemeClr>
          </a:solidFill>
          <a:ln>
            <a:noFill/>
          </a:ln>
        </p:spPr>
        <p:txBody>
          <a:bodyPr vert="horz" wrap="square" lIns="91440" tIns="45720" rIns="91440" bIns="45720" numCol="1" anchor="t" anchorCtr="0" compatLnSpc="1">
            <a:prstTxWarp prst="textNoShape">
              <a:avLst/>
            </a:prstTxWarp>
            <a:noAutofit/>
          </a:bodyPr>
          <a:lstStyle/>
          <a:p>
            <a:endParaRPr lang="en-IN"/>
          </a:p>
        </p:txBody>
      </p:sp>
      <p:sp>
        <p:nvSpPr>
          <p:cNvPr id="7" name="Rectangle 6"/>
          <p:cNvSpPr/>
          <p:nvPr/>
        </p:nvSpPr>
        <p:spPr>
          <a:xfrm>
            <a:off x="9108" y="1237136"/>
            <a:ext cx="5325034" cy="1588127"/>
          </a:xfrm>
          <a:prstGeom prst="rect">
            <a:avLst/>
          </a:prstGeom>
        </p:spPr>
        <p:txBody>
          <a:bodyPr wrap="square" lIns="274320">
            <a:spAutoFit/>
          </a:bodyPr>
          <a:lstStyle/>
          <a:p>
            <a:pPr defTabSz="932472" fontAlgn="base">
              <a:lnSpc>
                <a:spcPct val="90000"/>
              </a:lnSpc>
              <a:spcBef>
                <a:spcPct val="0"/>
              </a:spcBef>
              <a:spcAft>
                <a:spcPct val="0"/>
              </a:spcAft>
            </a:pPr>
            <a:r>
              <a:rPr lang="en-US" sz="5400" dirty="0" smtClean="0">
                <a:solidFill>
                  <a:schemeClr val="bg1"/>
                </a:solidFill>
                <a:latin typeface="+mj-lt"/>
                <a:ea typeface="Segoe UI" pitchFamily="34" charset="0"/>
                <a:cs typeface="Segoe UI" pitchFamily="34" charset="0"/>
              </a:rPr>
              <a:t>HDInsight makes Hadoop Easy</a:t>
            </a:r>
            <a:endParaRPr lang="en-US" sz="5400" dirty="0">
              <a:solidFill>
                <a:schemeClr val="bg1"/>
              </a:solidFill>
              <a:latin typeface="+mj-lt"/>
              <a:ea typeface="Segoe UI" pitchFamily="34" charset="0"/>
              <a:cs typeface="Segoe UI" pitchFamily="34" charset="0"/>
            </a:endParaRPr>
          </a:p>
        </p:txBody>
      </p:sp>
      <p:sp>
        <p:nvSpPr>
          <p:cNvPr id="2" name="Slide Number Placeholder 1"/>
          <p:cNvSpPr>
            <a:spLocks noGrp="1"/>
          </p:cNvSpPr>
          <p:nvPr>
            <p:ph type="sldNum" sz="quarter" idx="11"/>
          </p:nvPr>
        </p:nvSpPr>
        <p:spPr/>
        <p:txBody>
          <a:bodyPr/>
          <a:lstStyle/>
          <a:p>
            <a:pPr>
              <a:defRPr/>
            </a:pPr>
            <a:fld id="{F8A0AC42-AA1D-4944-8D96-660DE70C7E1B}" type="slidenum">
              <a:rPr lang="en-IN" smtClean="0"/>
              <a:pPr>
                <a:defRPr/>
              </a:pPr>
              <a:t>1</a:t>
            </a:fld>
            <a:endParaRPr lang="en-IN" dirty="0"/>
          </a:p>
        </p:txBody>
      </p:sp>
    </p:spTree>
    <p:extLst>
      <p:ext uri="{BB962C8B-B14F-4D97-AF65-F5344CB8AC3E}">
        <p14:creationId xmlns:p14="http://schemas.microsoft.com/office/powerpoint/2010/main" val="116150733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ialization and compression</a:t>
            </a:r>
            <a:endParaRPr lang="en-US" dirty="0"/>
          </a:p>
        </p:txBody>
      </p:sp>
      <p:sp>
        <p:nvSpPr>
          <p:cNvPr id="15" name="Rectangle 14"/>
          <p:cNvSpPr/>
          <p:nvPr/>
        </p:nvSpPr>
        <p:spPr>
          <a:xfrm>
            <a:off x="469899" y="1304612"/>
            <a:ext cx="11539539" cy="461665"/>
          </a:xfrm>
          <a:prstGeom prst="rect">
            <a:avLst/>
          </a:prstGeom>
          <a:noFill/>
        </p:spPr>
        <p:txBody>
          <a:bodyPr wrap="square" tIns="0" rIns="0" bIns="0" anchor="ctr">
            <a:noAutofit/>
          </a:bodyPr>
          <a:lstStyle/>
          <a:p>
            <a:pPr marL="3175" lvl="1" indent="-3175">
              <a:spcBef>
                <a:spcPts val="1200"/>
              </a:spcBef>
            </a:pPr>
            <a:r>
              <a:rPr lang="en-US" sz="2800" dirty="0">
                <a:solidFill>
                  <a:srgbClr val="68217A"/>
                </a:solidFill>
                <a:latin typeface="Segoe UI Light"/>
              </a:rPr>
              <a:t>Tools for Avro serialization and </a:t>
            </a:r>
            <a:r>
              <a:rPr lang="en-US" sz="2800" dirty="0" smtClean="0">
                <a:solidFill>
                  <a:srgbClr val="68217A"/>
                </a:solidFill>
                <a:latin typeface="Segoe UI Light"/>
              </a:rPr>
              <a:t>compression</a:t>
            </a:r>
            <a:endParaRPr lang="en-US" sz="2800" dirty="0">
              <a:solidFill>
                <a:srgbClr val="68217A"/>
              </a:solidFill>
              <a:latin typeface="Segoe UI Light"/>
            </a:endParaRPr>
          </a:p>
        </p:txBody>
      </p:sp>
      <p:graphicFrame>
        <p:nvGraphicFramePr>
          <p:cNvPr id="18" name="Table 17"/>
          <p:cNvGraphicFramePr>
            <a:graphicFrameLocks noGrp="1"/>
          </p:cNvGraphicFramePr>
          <p:nvPr>
            <p:extLst/>
          </p:nvPr>
        </p:nvGraphicFramePr>
        <p:xfrm>
          <a:off x="465138" y="4748848"/>
          <a:ext cx="11544301" cy="1691640"/>
        </p:xfrm>
        <a:graphic>
          <a:graphicData uri="http://schemas.openxmlformats.org/drawingml/2006/table">
            <a:tbl>
              <a:tblPr firstRow="1" firstCol="1" bandRow="1"/>
              <a:tblGrid>
                <a:gridCol w="1316037"/>
                <a:gridCol w="6323024"/>
                <a:gridCol w="2057692"/>
                <a:gridCol w="1847548"/>
              </a:tblGrid>
              <a:tr h="0">
                <a:tc>
                  <a:txBody>
                    <a:bodyPr/>
                    <a:lstStyle/>
                    <a:p>
                      <a:pPr marL="0" marR="0" algn="ctr">
                        <a:lnSpc>
                          <a:spcPct val="100000"/>
                        </a:lnSpc>
                        <a:spcBef>
                          <a:spcPts val="300"/>
                        </a:spcBef>
                        <a:spcAft>
                          <a:spcPts val="300"/>
                        </a:spcAft>
                      </a:pPr>
                      <a:r>
                        <a:rPr lang="en-US" sz="1800" dirty="0">
                          <a:solidFill>
                            <a:schemeClr val="bg1"/>
                          </a:solidFill>
                          <a:effectLst/>
                        </a:rPr>
                        <a:t>Format</a:t>
                      </a:r>
                      <a:endParaRPr lang="en-US" sz="18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anchor="ctr">
                    <a:lnL w="12700" cmpd="sng">
                      <a:noFill/>
                      <a:prstDash val="solid"/>
                    </a:lnL>
                    <a:lnR w="9525" cap="flat" cmpd="sng" algn="ctr">
                      <a:solidFill>
                        <a:schemeClr val="bg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1"/>
                    </a:solidFill>
                  </a:tcPr>
                </a:tc>
                <a:tc>
                  <a:txBody>
                    <a:bodyPr/>
                    <a:lstStyle/>
                    <a:p>
                      <a:pPr marL="0" marR="0" algn="ctr">
                        <a:lnSpc>
                          <a:spcPct val="100000"/>
                        </a:lnSpc>
                        <a:spcBef>
                          <a:spcPts val="300"/>
                        </a:spcBef>
                        <a:spcAft>
                          <a:spcPts val="300"/>
                        </a:spcAft>
                      </a:pPr>
                      <a:r>
                        <a:rPr lang="en-US" sz="1800" dirty="0">
                          <a:solidFill>
                            <a:schemeClr val="bg1"/>
                          </a:solidFill>
                          <a:effectLst/>
                        </a:rPr>
                        <a:t>Codec</a:t>
                      </a:r>
                      <a:endParaRPr lang="en-US" sz="18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1"/>
                    </a:solidFill>
                  </a:tcPr>
                </a:tc>
                <a:tc>
                  <a:txBody>
                    <a:bodyPr/>
                    <a:lstStyle/>
                    <a:p>
                      <a:pPr marL="0" marR="0" algn="ctr">
                        <a:lnSpc>
                          <a:spcPct val="100000"/>
                        </a:lnSpc>
                        <a:spcBef>
                          <a:spcPts val="300"/>
                        </a:spcBef>
                        <a:spcAft>
                          <a:spcPts val="300"/>
                        </a:spcAft>
                      </a:pPr>
                      <a:r>
                        <a:rPr lang="en-US" sz="1800" dirty="0">
                          <a:solidFill>
                            <a:schemeClr val="bg1"/>
                          </a:solidFill>
                          <a:effectLst/>
                        </a:rPr>
                        <a:t>Extension</a:t>
                      </a:r>
                      <a:endParaRPr lang="en-US" sz="18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1"/>
                    </a:solidFill>
                  </a:tcPr>
                </a:tc>
                <a:tc>
                  <a:txBody>
                    <a:bodyPr/>
                    <a:lstStyle/>
                    <a:p>
                      <a:pPr marL="0" marR="0" algn="ctr">
                        <a:lnSpc>
                          <a:spcPct val="100000"/>
                        </a:lnSpc>
                        <a:spcBef>
                          <a:spcPts val="300"/>
                        </a:spcBef>
                        <a:spcAft>
                          <a:spcPts val="300"/>
                        </a:spcAft>
                      </a:pPr>
                      <a:r>
                        <a:rPr lang="en-US" sz="1800" dirty="0" err="1">
                          <a:solidFill>
                            <a:schemeClr val="bg1"/>
                          </a:solidFill>
                          <a:effectLst/>
                        </a:rPr>
                        <a:t>Splittable</a:t>
                      </a:r>
                      <a:endParaRPr lang="en-US" sz="18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anchor="ctr">
                    <a:lnL w="9525" cap="flat" cmpd="sng" algn="ctr">
                      <a:solidFill>
                        <a:schemeClr val="bg1"/>
                      </a:solidFill>
                      <a:prstDash val="solid"/>
                      <a:round/>
                      <a:headEnd type="none" w="med" len="med"/>
                      <a:tailEnd type="none" w="med" len="me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1"/>
                    </a:solidFill>
                  </a:tcPr>
                </a:tc>
              </a:tr>
              <a:tr h="0">
                <a:tc>
                  <a:txBody>
                    <a:bodyPr/>
                    <a:lstStyle/>
                    <a:p>
                      <a:pPr marL="0" marR="0" algn="ctr">
                        <a:lnSpc>
                          <a:spcPct val="100000"/>
                        </a:lnSpc>
                        <a:spcBef>
                          <a:spcPts val="300"/>
                        </a:spcBef>
                        <a:spcAft>
                          <a:spcPts val="300"/>
                        </a:spcAft>
                      </a:pPr>
                      <a:r>
                        <a:rPr lang="en-US" sz="1600" dirty="0">
                          <a:solidFill>
                            <a:schemeClr val="tx2"/>
                          </a:solidFill>
                          <a:effectLst/>
                        </a:rPr>
                        <a:t>DEFLATE</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anchor="ctr">
                    <a:lnL w="12700" cmpd="sng">
                      <a:noFill/>
                      <a:prstDash val="solid"/>
                    </a:lnL>
                    <a:lnR w="9525" cap="flat" cmpd="sng" algn="ctr">
                      <a:solidFill>
                        <a:schemeClr val="bg1">
                          <a:lumMod val="75000"/>
                        </a:schemeClr>
                      </a:solidFill>
                      <a:prstDash val="solid"/>
                      <a:round/>
                      <a:headEnd type="none" w="med" len="med"/>
                      <a:tailEnd type="none" w="med" len="me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0000"/>
                        </a:lnSpc>
                        <a:spcBef>
                          <a:spcPts val="300"/>
                        </a:spcBef>
                        <a:spcAft>
                          <a:spcPts val="300"/>
                        </a:spcAft>
                      </a:pPr>
                      <a:r>
                        <a:rPr lang="en-US" sz="1600" dirty="0" err="1">
                          <a:solidFill>
                            <a:schemeClr val="tx2"/>
                          </a:solidFill>
                          <a:effectLst/>
                        </a:rPr>
                        <a:t>org.apache.hadoop.io.compress.DefaultCodec</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300"/>
                        </a:spcBef>
                        <a:spcAft>
                          <a:spcPts val="300"/>
                        </a:spcAft>
                      </a:pPr>
                      <a:r>
                        <a:rPr lang="en-US" sz="1600" dirty="0">
                          <a:solidFill>
                            <a:schemeClr val="tx2"/>
                          </a:solidFill>
                          <a:effectLst/>
                        </a:rPr>
                        <a:t>.deflate</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300"/>
                        </a:spcBef>
                        <a:spcAft>
                          <a:spcPts val="300"/>
                        </a:spcAft>
                      </a:pPr>
                      <a:r>
                        <a:rPr lang="en-US" sz="1600" dirty="0">
                          <a:solidFill>
                            <a:schemeClr val="tx2"/>
                          </a:solidFill>
                          <a:effectLst/>
                        </a:rPr>
                        <a:t>No</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12700" cmpd="sng">
                      <a:noFill/>
                      <a:prstDash val="soli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a:txBody>
                    <a:bodyPr/>
                    <a:lstStyle/>
                    <a:p>
                      <a:pPr marL="0" marR="0" algn="ctr">
                        <a:lnSpc>
                          <a:spcPct val="100000"/>
                        </a:lnSpc>
                        <a:spcBef>
                          <a:spcPts val="300"/>
                        </a:spcBef>
                        <a:spcAft>
                          <a:spcPts val="300"/>
                        </a:spcAft>
                      </a:pPr>
                      <a:r>
                        <a:rPr lang="en-US" sz="1600" dirty="0" err="1">
                          <a:solidFill>
                            <a:schemeClr val="tx2"/>
                          </a:solidFill>
                          <a:effectLst/>
                        </a:rPr>
                        <a:t>GZip</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anchor="ctr">
                    <a:lnL w="12700" cmpd="sng">
                      <a:noFill/>
                      <a:prstDash val="soli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0000"/>
                        </a:lnSpc>
                        <a:spcBef>
                          <a:spcPts val="300"/>
                        </a:spcBef>
                        <a:spcAft>
                          <a:spcPts val="300"/>
                        </a:spcAft>
                      </a:pPr>
                      <a:r>
                        <a:rPr lang="en-US" sz="1600" dirty="0" err="1">
                          <a:solidFill>
                            <a:schemeClr val="tx2"/>
                          </a:solidFill>
                          <a:effectLst/>
                        </a:rPr>
                        <a:t>org.apache.hadoop.io.compress.GzipCodec</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300"/>
                        </a:spcBef>
                        <a:spcAft>
                          <a:spcPts val="300"/>
                        </a:spcAft>
                      </a:pPr>
                      <a:r>
                        <a:rPr lang="en-US" sz="1600" dirty="0">
                          <a:solidFill>
                            <a:schemeClr val="tx2"/>
                          </a:solidFill>
                          <a:effectLst/>
                        </a:rPr>
                        <a:t>.</a:t>
                      </a:r>
                      <a:r>
                        <a:rPr lang="en-US" sz="1600" dirty="0" err="1">
                          <a:solidFill>
                            <a:schemeClr val="tx2"/>
                          </a:solidFill>
                          <a:effectLst/>
                        </a:rPr>
                        <a:t>gz</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300"/>
                        </a:spcBef>
                        <a:spcAft>
                          <a:spcPts val="300"/>
                        </a:spcAft>
                      </a:pPr>
                      <a:r>
                        <a:rPr lang="en-US" sz="1600" dirty="0">
                          <a:solidFill>
                            <a:schemeClr val="tx2"/>
                          </a:solidFill>
                          <a:effectLst/>
                        </a:rPr>
                        <a:t>No</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12700" cmpd="sng">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74992">
                <a:tc>
                  <a:txBody>
                    <a:bodyPr/>
                    <a:lstStyle/>
                    <a:p>
                      <a:pPr marL="0" marR="0" algn="ctr">
                        <a:lnSpc>
                          <a:spcPct val="100000"/>
                        </a:lnSpc>
                        <a:spcBef>
                          <a:spcPts val="300"/>
                        </a:spcBef>
                        <a:spcAft>
                          <a:spcPts val="300"/>
                        </a:spcAft>
                      </a:pPr>
                      <a:r>
                        <a:rPr lang="en-US" sz="1600" dirty="0">
                          <a:solidFill>
                            <a:schemeClr val="tx2"/>
                          </a:solidFill>
                          <a:effectLst/>
                        </a:rPr>
                        <a:t>BZip2</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anchor="ctr">
                    <a:lnL w="12700" cmpd="sng">
                      <a:noFill/>
                      <a:prstDash val="soli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95000"/>
                      </a:schemeClr>
                    </a:solidFill>
                  </a:tcPr>
                </a:tc>
                <a:tc>
                  <a:txBody>
                    <a:bodyPr/>
                    <a:lstStyle/>
                    <a:p>
                      <a:pPr marL="0" marR="0">
                        <a:lnSpc>
                          <a:spcPct val="100000"/>
                        </a:lnSpc>
                        <a:spcBef>
                          <a:spcPts val="300"/>
                        </a:spcBef>
                        <a:spcAft>
                          <a:spcPts val="300"/>
                        </a:spcAft>
                      </a:pPr>
                      <a:r>
                        <a:rPr lang="en-US" sz="1600" dirty="0">
                          <a:solidFill>
                            <a:schemeClr val="tx2"/>
                          </a:solidFill>
                          <a:effectLst/>
                        </a:rPr>
                        <a:t>org.apache.hadoop.io.compress.BZip2Codec</a:t>
                      </a:r>
                    </a:p>
                    <a:p>
                      <a:pPr marL="0" marR="0">
                        <a:lnSpc>
                          <a:spcPct val="100000"/>
                        </a:lnSpc>
                        <a:spcBef>
                          <a:spcPts val="300"/>
                        </a:spcBef>
                        <a:spcAft>
                          <a:spcPts val="300"/>
                        </a:spcAft>
                      </a:pPr>
                      <a:r>
                        <a:rPr lang="en-US" sz="1600" dirty="0">
                          <a:solidFill>
                            <a:schemeClr val="tx2"/>
                          </a:solidFill>
                          <a:effectLst/>
                        </a:rPr>
                        <a:t>(this codec is not enabled by default in configuration)</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300"/>
                        </a:spcBef>
                        <a:spcAft>
                          <a:spcPts val="300"/>
                        </a:spcAft>
                      </a:pPr>
                      <a:r>
                        <a:rPr lang="en-US" sz="1600" dirty="0">
                          <a:solidFill>
                            <a:schemeClr val="tx2"/>
                          </a:solidFill>
                          <a:effectLst/>
                        </a:rPr>
                        <a:t>.bz2</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300"/>
                        </a:spcBef>
                        <a:spcAft>
                          <a:spcPts val="300"/>
                        </a:spcAft>
                      </a:pPr>
                      <a:r>
                        <a:rPr lang="en-US" sz="1600" dirty="0">
                          <a:solidFill>
                            <a:schemeClr val="tx2"/>
                          </a:solidFill>
                          <a:effectLst/>
                        </a:rPr>
                        <a:t>Yes</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12700" cmpd="sng">
                      <a:noFill/>
                      <a:prstDash val="soli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95000"/>
                      </a:schemeClr>
                    </a:solidFill>
                  </a:tcPr>
                </a:tc>
              </a:tr>
            </a:tbl>
          </a:graphicData>
        </a:graphic>
      </p:graphicFrame>
      <p:sp>
        <p:nvSpPr>
          <p:cNvPr id="19" name="Rectangle 18"/>
          <p:cNvSpPr/>
          <p:nvPr/>
        </p:nvSpPr>
        <p:spPr>
          <a:xfrm>
            <a:off x="469899" y="4187531"/>
            <a:ext cx="11539539" cy="461665"/>
          </a:xfrm>
          <a:prstGeom prst="rect">
            <a:avLst/>
          </a:prstGeom>
          <a:noFill/>
        </p:spPr>
        <p:txBody>
          <a:bodyPr wrap="square" tIns="0" rIns="0" bIns="0" anchor="ctr">
            <a:noAutofit/>
          </a:bodyPr>
          <a:lstStyle/>
          <a:p>
            <a:pPr marL="3175" lvl="1" indent="-3175">
              <a:spcBef>
                <a:spcPts val="1200"/>
              </a:spcBef>
            </a:pPr>
            <a:r>
              <a:rPr lang="en-US" sz="2800" dirty="0" err="1">
                <a:solidFill>
                  <a:srgbClr val="68217A"/>
                </a:solidFill>
                <a:latin typeface="Segoe UI Light"/>
              </a:rPr>
              <a:t>HDInsight</a:t>
            </a:r>
            <a:r>
              <a:rPr lang="en-US" sz="2800" dirty="0">
                <a:solidFill>
                  <a:srgbClr val="68217A"/>
                </a:solidFill>
                <a:latin typeface="Segoe UI Light"/>
              </a:rPr>
              <a:t> compression libraries </a:t>
            </a:r>
          </a:p>
        </p:txBody>
      </p:sp>
      <p:sp>
        <p:nvSpPr>
          <p:cNvPr id="88" name="Rectangle 87"/>
          <p:cNvSpPr/>
          <p:nvPr/>
        </p:nvSpPr>
        <p:spPr>
          <a:xfrm>
            <a:off x="469899" y="1857152"/>
            <a:ext cx="2834640" cy="2187798"/>
          </a:xfrm>
          <a:prstGeom prst="rect">
            <a:avLst/>
          </a:prstGeom>
          <a:solidFill>
            <a:schemeClr val="accent3"/>
          </a:solidFill>
        </p:spPr>
        <p:txBody>
          <a:bodyPr wrap="square">
            <a:noAutofit/>
          </a:bodyPr>
          <a:lstStyle/>
          <a:p>
            <a:pPr marL="0" lvl="1" defTabSz="932133" fontAlgn="base">
              <a:spcBef>
                <a:spcPts val="600"/>
              </a:spcBef>
              <a:buClr>
                <a:srgbClr val="505050"/>
              </a:buClr>
            </a:pPr>
            <a:endParaRPr lang="en-US" dirty="0">
              <a:solidFill>
                <a:srgbClr val="FFFFFF"/>
              </a:solidFill>
              <a:ea typeface="Segoe UI" pitchFamily="34" charset="0"/>
              <a:cs typeface="Segoe UI" pitchFamily="34" charset="0"/>
            </a:endParaRPr>
          </a:p>
        </p:txBody>
      </p:sp>
      <p:sp>
        <p:nvSpPr>
          <p:cNvPr id="89" name="Rectangle 88"/>
          <p:cNvSpPr/>
          <p:nvPr/>
        </p:nvSpPr>
        <p:spPr>
          <a:xfrm>
            <a:off x="3371533" y="1857152"/>
            <a:ext cx="2834640" cy="2187798"/>
          </a:xfrm>
          <a:prstGeom prst="rect">
            <a:avLst/>
          </a:prstGeom>
          <a:solidFill>
            <a:schemeClr val="accent3"/>
          </a:solidFill>
        </p:spPr>
        <p:txBody>
          <a:bodyPr wrap="square">
            <a:noAutofit/>
          </a:bodyPr>
          <a:lstStyle/>
          <a:p>
            <a:pPr marL="0" lvl="1" defTabSz="932133" fontAlgn="base">
              <a:spcBef>
                <a:spcPts val="600"/>
              </a:spcBef>
              <a:buClr>
                <a:srgbClr val="505050"/>
              </a:buClr>
            </a:pPr>
            <a:endParaRPr lang="en-US" dirty="0">
              <a:solidFill>
                <a:srgbClr val="FFFFFF"/>
              </a:solidFill>
              <a:ea typeface="Segoe UI" pitchFamily="34" charset="0"/>
              <a:cs typeface="Segoe UI" pitchFamily="34" charset="0"/>
            </a:endParaRPr>
          </a:p>
        </p:txBody>
      </p:sp>
      <p:sp>
        <p:nvSpPr>
          <p:cNvPr id="90" name="Rectangle 89"/>
          <p:cNvSpPr/>
          <p:nvPr/>
        </p:nvSpPr>
        <p:spPr>
          <a:xfrm>
            <a:off x="6273166" y="1857152"/>
            <a:ext cx="2834640" cy="2187798"/>
          </a:xfrm>
          <a:prstGeom prst="rect">
            <a:avLst/>
          </a:prstGeom>
          <a:solidFill>
            <a:schemeClr val="accent3"/>
          </a:solidFill>
        </p:spPr>
        <p:txBody>
          <a:bodyPr wrap="square">
            <a:noAutofit/>
          </a:bodyPr>
          <a:lstStyle/>
          <a:p>
            <a:pPr marL="0" lvl="1" defTabSz="932133" fontAlgn="base">
              <a:spcBef>
                <a:spcPts val="600"/>
              </a:spcBef>
              <a:buClr>
                <a:srgbClr val="505050"/>
              </a:buClr>
            </a:pPr>
            <a:endParaRPr lang="en-US" dirty="0">
              <a:solidFill>
                <a:srgbClr val="FFFFFF"/>
              </a:solidFill>
              <a:ea typeface="Segoe UI" pitchFamily="34" charset="0"/>
              <a:cs typeface="Segoe UI" pitchFamily="34" charset="0"/>
            </a:endParaRPr>
          </a:p>
        </p:txBody>
      </p:sp>
      <p:sp>
        <p:nvSpPr>
          <p:cNvPr id="91" name="Rectangle 90"/>
          <p:cNvSpPr/>
          <p:nvPr/>
        </p:nvSpPr>
        <p:spPr>
          <a:xfrm>
            <a:off x="9174798" y="1857152"/>
            <a:ext cx="2834640" cy="2187798"/>
          </a:xfrm>
          <a:prstGeom prst="rect">
            <a:avLst/>
          </a:prstGeom>
          <a:solidFill>
            <a:schemeClr val="accent3"/>
          </a:solidFill>
        </p:spPr>
        <p:txBody>
          <a:bodyPr wrap="square">
            <a:noAutofit/>
          </a:bodyPr>
          <a:lstStyle/>
          <a:p>
            <a:pPr marL="0" lvl="1" defTabSz="932133" fontAlgn="base">
              <a:spcBef>
                <a:spcPts val="600"/>
              </a:spcBef>
              <a:buClr>
                <a:srgbClr val="505050"/>
              </a:buClr>
            </a:pPr>
            <a:endParaRPr lang="en-US" dirty="0">
              <a:solidFill>
                <a:srgbClr val="FFFFFF"/>
              </a:solidFill>
              <a:ea typeface="Segoe UI" pitchFamily="34" charset="0"/>
              <a:cs typeface="Segoe UI" pitchFamily="34" charset="0"/>
            </a:endParaRPr>
          </a:p>
        </p:txBody>
      </p:sp>
      <p:sp>
        <p:nvSpPr>
          <p:cNvPr id="92" name="Round Diagonal Corner Rectangle 53"/>
          <p:cNvSpPr/>
          <p:nvPr/>
        </p:nvSpPr>
        <p:spPr bwMode="auto">
          <a:xfrm>
            <a:off x="7032777" y="2202409"/>
            <a:ext cx="1315418" cy="1497284"/>
          </a:xfrm>
          <a:custGeom>
            <a:avLst/>
            <a:gdLst/>
            <a:ahLst/>
            <a:cxnLst/>
            <a:rect l="l" t="t" r="r" b="b"/>
            <a:pathLst>
              <a:path w="1069848" h="1217762">
                <a:moveTo>
                  <a:pt x="859964" y="887952"/>
                </a:moveTo>
                <a:cubicBezTo>
                  <a:pt x="859964" y="887952"/>
                  <a:pt x="859964" y="887952"/>
                  <a:pt x="859964" y="887953"/>
                </a:cubicBezTo>
                <a:lnTo>
                  <a:pt x="859964" y="887953"/>
                </a:lnTo>
                <a:close/>
                <a:moveTo>
                  <a:pt x="823054" y="851043"/>
                </a:moveTo>
                <a:lnTo>
                  <a:pt x="246792" y="851043"/>
                </a:lnTo>
                <a:cubicBezTo>
                  <a:pt x="226407" y="851043"/>
                  <a:pt x="209882" y="867568"/>
                  <a:pt x="209882" y="887953"/>
                </a:cubicBezTo>
                <a:lnTo>
                  <a:pt x="209883" y="887953"/>
                </a:lnTo>
                <a:cubicBezTo>
                  <a:pt x="209883" y="908338"/>
                  <a:pt x="226408" y="924863"/>
                  <a:pt x="246793" y="924863"/>
                </a:cubicBezTo>
                <a:lnTo>
                  <a:pt x="823054" y="924862"/>
                </a:lnTo>
                <a:cubicBezTo>
                  <a:pt x="843439" y="924862"/>
                  <a:pt x="859964" y="908337"/>
                  <a:pt x="859964" y="887953"/>
                </a:cubicBezTo>
                <a:cubicBezTo>
                  <a:pt x="859964" y="867568"/>
                  <a:pt x="843439" y="851043"/>
                  <a:pt x="823054" y="851043"/>
                </a:cubicBezTo>
                <a:close/>
                <a:moveTo>
                  <a:pt x="859964" y="716502"/>
                </a:moveTo>
                <a:lnTo>
                  <a:pt x="859964" y="716503"/>
                </a:lnTo>
                <a:lnTo>
                  <a:pt x="859964" y="716503"/>
                </a:lnTo>
                <a:close/>
                <a:moveTo>
                  <a:pt x="823054" y="679593"/>
                </a:moveTo>
                <a:lnTo>
                  <a:pt x="246792" y="679593"/>
                </a:lnTo>
                <a:cubicBezTo>
                  <a:pt x="226407" y="679593"/>
                  <a:pt x="209882" y="696118"/>
                  <a:pt x="209882" y="716503"/>
                </a:cubicBezTo>
                <a:lnTo>
                  <a:pt x="209883" y="716503"/>
                </a:lnTo>
                <a:cubicBezTo>
                  <a:pt x="209883" y="736888"/>
                  <a:pt x="226408" y="753413"/>
                  <a:pt x="246793" y="753413"/>
                </a:cubicBezTo>
                <a:lnTo>
                  <a:pt x="823054" y="753412"/>
                </a:lnTo>
                <a:cubicBezTo>
                  <a:pt x="843439" y="753412"/>
                  <a:pt x="859964" y="736887"/>
                  <a:pt x="859964" y="716503"/>
                </a:cubicBezTo>
                <a:cubicBezTo>
                  <a:pt x="859964" y="696118"/>
                  <a:pt x="843439" y="679593"/>
                  <a:pt x="823054" y="679593"/>
                </a:cubicBezTo>
                <a:close/>
                <a:moveTo>
                  <a:pt x="859964" y="545051"/>
                </a:moveTo>
                <a:lnTo>
                  <a:pt x="859964" y="545052"/>
                </a:lnTo>
                <a:lnTo>
                  <a:pt x="859964" y="545052"/>
                </a:lnTo>
                <a:close/>
                <a:moveTo>
                  <a:pt x="823054" y="508142"/>
                </a:moveTo>
                <a:lnTo>
                  <a:pt x="246792" y="508142"/>
                </a:lnTo>
                <a:cubicBezTo>
                  <a:pt x="226407" y="508142"/>
                  <a:pt x="209882" y="524667"/>
                  <a:pt x="209882" y="545052"/>
                </a:cubicBezTo>
                <a:lnTo>
                  <a:pt x="209883" y="545052"/>
                </a:lnTo>
                <a:cubicBezTo>
                  <a:pt x="209883" y="565437"/>
                  <a:pt x="226408" y="581962"/>
                  <a:pt x="246793" y="581962"/>
                </a:cubicBezTo>
                <a:lnTo>
                  <a:pt x="823054" y="581961"/>
                </a:lnTo>
                <a:cubicBezTo>
                  <a:pt x="843439" y="581961"/>
                  <a:pt x="859964" y="565436"/>
                  <a:pt x="859964" y="545052"/>
                </a:cubicBezTo>
                <a:cubicBezTo>
                  <a:pt x="859964" y="524667"/>
                  <a:pt x="843439" y="508142"/>
                  <a:pt x="823054" y="508142"/>
                </a:cubicBezTo>
                <a:close/>
                <a:moveTo>
                  <a:pt x="607552" y="375982"/>
                </a:moveTo>
                <a:lnTo>
                  <a:pt x="607552" y="375983"/>
                </a:lnTo>
                <a:lnTo>
                  <a:pt x="607552" y="375983"/>
                </a:lnTo>
                <a:close/>
                <a:moveTo>
                  <a:pt x="570642" y="339073"/>
                </a:moveTo>
                <a:lnTo>
                  <a:pt x="246792" y="339073"/>
                </a:lnTo>
                <a:cubicBezTo>
                  <a:pt x="226407" y="339073"/>
                  <a:pt x="209882" y="355598"/>
                  <a:pt x="209882" y="375983"/>
                </a:cubicBezTo>
                <a:lnTo>
                  <a:pt x="209883" y="375983"/>
                </a:lnTo>
                <a:cubicBezTo>
                  <a:pt x="209883" y="396368"/>
                  <a:pt x="226408" y="412893"/>
                  <a:pt x="246793" y="412893"/>
                </a:cubicBezTo>
                <a:lnTo>
                  <a:pt x="570642" y="412892"/>
                </a:lnTo>
                <a:cubicBezTo>
                  <a:pt x="591027" y="412892"/>
                  <a:pt x="607552" y="396367"/>
                  <a:pt x="607552" y="375983"/>
                </a:cubicBezTo>
                <a:cubicBezTo>
                  <a:pt x="607552" y="355598"/>
                  <a:pt x="591027" y="339073"/>
                  <a:pt x="570642" y="339073"/>
                </a:cubicBezTo>
                <a:close/>
                <a:moveTo>
                  <a:pt x="679213" y="74747"/>
                </a:moveTo>
                <a:lnTo>
                  <a:pt x="679213" y="291168"/>
                </a:lnTo>
                <a:cubicBezTo>
                  <a:pt x="679213" y="325515"/>
                  <a:pt x="707057" y="353359"/>
                  <a:pt x="741404" y="353359"/>
                </a:cubicBezTo>
                <a:lnTo>
                  <a:pt x="992124" y="353359"/>
                </a:lnTo>
                <a:lnTo>
                  <a:pt x="992124" y="1044200"/>
                </a:lnTo>
                <a:cubicBezTo>
                  <a:pt x="992124" y="1097470"/>
                  <a:pt x="971294" y="1150179"/>
                  <a:pt x="897731" y="1140654"/>
                </a:cubicBezTo>
                <a:lnTo>
                  <a:pt x="77724" y="1140654"/>
                </a:lnTo>
                <a:lnTo>
                  <a:pt x="77724" y="173562"/>
                </a:lnTo>
                <a:cubicBezTo>
                  <a:pt x="80105" y="89336"/>
                  <a:pt x="119986" y="77108"/>
                  <a:pt x="172117" y="77108"/>
                </a:cubicBezTo>
                <a:close/>
                <a:moveTo>
                  <a:pt x="733418" y="0"/>
                </a:moveTo>
                <a:lnTo>
                  <a:pt x="110440" y="0"/>
                </a:lnTo>
                <a:cubicBezTo>
                  <a:pt x="49446" y="0"/>
                  <a:pt x="0" y="49446"/>
                  <a:pt x="0" y="110440"/>
                </a:cubicBezTo>
                <a:lnTo>
                  <a:pt x="0" y="1217762"/>
                </a:lnTo>
                <a:lnTo>
                  <a:pt x="959408" y="1217762"/>
                </a:lnTo>
                <a:cubicBezTo>
                  <a:pt x="1020402" y="1217762"/>
                  <a:pt x="1069848" y="1168316"/>
                  <a:pt x="1069848" y="1107322"/>
                </a:cubicBezTo>
                <a:lnTo>
                  <a:pt x="1069848" y="31055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3" name="Group 92"/>
          <p:cNvGrpSpPr/>
          <p:nvPr/>
        </p:nvGrpSpPr>
        <p:grpSpPr>
          <a:xfrm>
            <a:off x="4268706" y="2129053"/>
            <a:ext cx="1040295" cy="1643996"/>
            <a:chOff x="4788853" y="2855535"/>
            <a:chExt cx="581829" cy="919474"/>
          </a:xfrm>
        </p:grpSpPr>
        <p:sp>
          <p:nvSpPr>
            <p:cNvPr id="94" name="Freeform 2013"/>
            <p:cNvSpPr>
              <a:spLocks/>
            </p:cNvSpPr>
            <p:nvPr/>
          </p:nvSpPr>
          <p:spPr bwMode="auto">
            <a:xfrm>
              <a:off x="5043556" y="2855535"/>
              <a:ext cx="327126" cy="915125"/>
            </a:xfrm>
            <a:custGeom>
              <a:avLst/>
              <a:gdLst>
                <a:gd name="T0" fmla="*/ 315 w 317"/>
                <a:gd name="T1" fmla="*/ 139 h 886"/>
                <a:gd name="T2" fmla="*/ 310 w 317"/>
                <a:gd name="T3" fmla="*/ 113 h 886"/>
                <a:gd name="T4" fmla="*/ 302 w 317"/>
                <a:gd name="T5" fmla="*/ 88 h 886"/>
                <a:gd name="T6" fmla="*/ 290 w 317"/>
                <a:gd name="T7" fmla="*/ 66 h 886"/>
                <a:gd name="T8" fmla="*/ 274 w 317"/>
                <a:gd name="T9" fmla="*/ 45 h 886"/>
                <a:gd name="T10" fmla="*/ 256 w 317"/>
                <a:gd name="T11" fmla="*/ 28 h 886"/>
                <a:gd name="T12" fmla="*/ 235 w 317"/>
                <a:gd name="T13" fmla="*/ 14 h 886"/>
                <a:gd name="T14" fmla="*/ 212 w 317"/>
                <a:gd name="T15" fmla="*/ 3 h 886"/>
                <a:gd name="T16" fmla="*/ 200 w 317"/>
                <a:gd name="T17" fmla="*/ 141 h 886"/>
                <a:gd name="T18" fmla="*/ 140 w 317"/>
                <a:gd name="T19" fmla="*/ 164 h 886"/>
                <a:gd name="T20" fmla="*/ 117 w 317"/>
                <a:gd name="T21" fmla="*/ 0 h 886"/>
                <a:gd name="T22" fmla="*/ 92 w 317"/>
                <a:gd name="T23" fmla="*/ 10 h 886"/>
                <a:gd name="T24" fmla="*/ 70 w 317"/>
                <a:gd name="T25" fmla="*/ 20 h 886"/>
                <a:gd name="T26" fmla="*/ 50 w 317"/>
                <a:gd name="T27" fmla="*/ 38 h 886"/>
                <a:gd name="T28" fmla="*/ 33 w 317"/>
                <a:gd name="T29" fmla="*/ 55 h 886"/>
                <a:gd name="T30" fmla="*/ 19 w 317"/>
                <a:gd name="T31" fmla="*/ 77 h 886"/>
                <a:gd name="T32" fmla="*/ 9 w 317"/>
                <a:gd name="T33" fmla="*/ 100 h 886"/>
                <a:gd name="T34" fmla="*/ 1 w 317"/>
                <a:gd name="T35" fmla="*/ 125 h 886"/>
                <a:gd name="T36" fmla="*/ 0 w 317"/>
                <a:gd name="T37" fmla="*/ 153 h 886"/>
                <a:gd name="T38" fmla="*/ 0 w 317"/>
                <a:gd name="T39" fmla="*/ 155 h 886"/>
                <a:gd name="T40" fmla="*/ 0 w 317"/>
                <a:gd name="T41" fmla="*/ 169 h 886"/>
                <a:gd name="T42" fmla="*/ 4 w 317"/>
                <a:gd name="T43" fmla="*/ 191 h 886"/>
                <a:gd name="T44" fmla="*/ 11 w 317"/>
                <a:gd name="T45" fmla="*/ 213 h 886"/>
                <a:gd name="T46" fmla="*/ 20 w 317"/>
                <a:gd name="T47" fmla="*/ 233 h 886"/>
                <a:gd name="T48" fmla="*/ 33 w 317"/>
                <a:gd name="T49" fmla="*/ 250 h 886"/>
                <a:gd name="T50" fmla="*/ 48 w 317"/>
                <a:gd name="T51" fmla="*/ 267 h 886"/>
                <a:gd name="T52" fmla="*/ 64 w 317"/>
                <a:gd name="T53" fmla="*/ 281 h 886"/>
                <a:gd name="T54" fmla="*/ 84 w 317"/>
                <a:gd name="T55" fmla="*/ 292 h 886"/>
                <a:gd name="T56" fmla="*/ 93 w 317"/>
                <a:gd name="T57" fmla="*/ 825 h 886"/>
                <a:gd name="T58" fmla="*/ 95 w 317"/>
                <a:gd name="T59" fmla="*/ 837 h 886"/>
                <a:gd name="T60" fmla="*/ 98 w 317"/>
                <a:gd name="T61" fmla="*/ 848 h 886"/>
                <a:gd name="T62" fmla="*/ 104 w 317"/>
                <a:gd name="T63" fmla="*/ 859 h 886"/>
                <a:gd name="T64" fmla="*/ 114 w 317"/>
                <a:gd name="T65" fmla="*/ 868 h 886"/>
                <a:gd name="T66" fmla="*/ 123 w 317"/>
                <a:gd name="T67" fmla="*/ 875 h 886"/>
                <a:gd name="T68" fmla="*/ 134 w 317"/>
                <a:gd name="T69" fmla="*/ 881 h 886"/>
                <a:gd name="T70" fmla="*/ 145 w 317"/>
                <a:gd name="T71" fmla="*/ 884 h 886"/>
                <a:gd name="T72" fmla="*/ 159 w 317"/>
                <a:gd name="T73" fmla="*/ 886 h 886"/>
                <a:gd name="T74" fmla="*/ 170 w 317"/>
                <a:gd name="T75" fmla="*/ 884 h 886"/>
                <a:gd name="T76" fmla="*/ 182 w 317"/>
                <a:gd name="T77" fmla="*/ 881 h 886"/>
                <a:gd name="T78" fmla="*/ 193 w 317"/>
                <a:gd name="T79" fmla="*/ 875 h 886"/>
                <a:gd name="T80" fmla="*/ 203 w 317"/>
                <a:gd name="T81" fmla="*/ 868 h 886"/>
                <a:gd name="T82" fmla="*/ 210 w 317"/>
                <a:gd name="T83" fmla="*/ 859 h 886"/>
                <a:gd name="T84" fmla="*/ 217 w 317"/>
                <a:gd name="T85" fmla="*/ 848 h 886"/>
                <a:gd name="T86" fmla="*/ 221 w 317"/>
                <a:gd name="T87" fmla="*/ 837 h 886"/>
                <a:gd name="T88" fmla="*/ 223 w 317"/>
                <a:gd name="T89" fmla="*/ 825 h 886"/>
                <a:gd name="T90" fmla="*/ 232 w 317"/>
                <a:gd name="T91" fmla="*/ 292 h 886"/>
                <a:gd name="T92" fmla="*/ 251 w 317"/>
                <a:gd name="T93" fmla="*/ 281 h 886"/>
                <a:gd name="T94" fmla="*/ 268 w 317"/>
                <a:gd name="T95" fmla="*/ 267 h 886"/>
                <a:gd name="T96" fmla="*/ 282 w 317"/>
                <a:gd name="T97" fmla="*/ 250 h 886"/>
                <a:gd name="T98" fmla="*/ 295 w 317"/>
                <a:gd name="T99" fmla="*/ 233 h 886"/>
                <a:gd name="T100" fmla="*/ 306 w 317"/>
                <a:gd name="T101" fmla="*/ 213 h 886"/>
                <a:gd name="T102" fmla="*/ 312 w 317"/>
                <a:gd name="T103" fmla="*/ 191 h 886"/>
                <a:gd name="T104" fmla="*/ 315 w 317"/>
                <a:gd name="T105" fmla="*/ 169 h 886"/>
                <a:gd name="T106" fmla="*/ 317 w 317"/>
                <a:gd name="T107" fmla="*/ 155 h 886"/>
                <a:gd name="T108" fmla="*/ 317 w 317"/>
                <a:gd name="T109" fmla="*/ 153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7" h="886">
                  <a:moveTo>
                    <a:pt x="317" y="153"/>
                  </a:moveTo>
                  <a:lnTo>
                    <a:pt x="315" y="139"/>
                  </a:lnTo>
                  <a:lnTo>
                    <a:pt x="313" y="125"/>
                  </a:lnTo>
                  <a:lnTo>
                    <a:pt x="310" y="113"/>
                  </a:lnTo>
                  <a:lnTo>
                    <a:pt x="307" y="100"/>
                  </a:lnTo>
                  <a:lnTo>
                    <a:pt x="302" y="88"/>
                  </a:lnTo>
                  <a:lnTo>
                    <a:pt x="296" y="77"/>
                  </a:lnTo>
                  <a:lnTo>
                    <a:pt x="290" y="66"/>
                  </a:lnTo>
                  <a:lnTo>
                    <a:pt x="282" y="55"/>
                  </a:lnTo>
                  <a:lnTo>
                    <a:pt x="274" y="45"/>
                  </a:lnTo>
                  <a:lnTo>
                    <a:pt x="265" y="38"/>
                  </a:lnTo>
                  <a:lnTo>
                    <a:pt x="256" y="28"/>
                  </a:lnTo>
                  <a:lnTo>
                    <a:pt x="246" y="20"/>
                  </a:lnTo>
                  <a:lnTo>
                    <a:pt x="235" y="14"/>
                  </a:lnTo>
                  <a:lnTo>
                    <a:pt x="223" y="10"/>
                  </a:lnTo>
                  <a:lnTo>
                    <a:pt x="212" y="3"/>
                  </a:lnTo>
                  <a:lnTo>
                    <a:pt x="200" y="0"/>
                  </a:lnTo>
                  <a:lnTo>
                    <a:pt x="200" y="141"/>
                  </a:lnTo>
                  <a:lnTo>
                    <a:pt x="176" y="164"/>
                  </a:lnTo>
                  <a:lnTo>
                    <a:pt x="140" y="164"/>
                  </a:lnTo>
                  <a:lnTo>
                    <a:pt x="117" y="141"/>
                  </a:lnTo>
                  <a:lnTo>
                    <a:pt x="117" y="0"/>
                  </a:lnTo>
                  <a:lnTo>
                    <a:pt x="104" y="3"/>
                  </a:lnTo>
                  <a:lnTo>
                    <a:pt x="92" y="10"/>
                  </a:lnTo>
                  <a:lnTo>
                    <a:pt x="81" y="14"/>
                  </a:lnTo>
                  <a:lnTo>
                    <a:pt x="70" y="20"/>
                  </a:lnTo>
                  <a:lnTo>
                    <a:pt x="61" y="28"/>
                  </a:lnTo>
                  <a:lnTo>
                    <a:pt x="50" y="38"/>
                  </a:lnTo>
                  <a:lnTo>
                    <a:pt x="42" y="45"/>
                  </a:lnTo>
                  <a:lnTo>
                    <a:pt x="33" y="55"/>
                  </a:lnTo>
                  <a:lnTo>
                    <a:pt x="26" y="66"/>
                  </a:lnTo>
                  <a:lnTo>
                    <a:pt x="19" y="77"/>
                  </a:lnTo>
                  <a:lnTo>
                    <a:pt x="14" y="88"/>
                  </a:lnTo>
                  <a:lnTo>
                    <a:pt x="9" y="100"/>
                  </a:lnTo>
                  <a:lnTo>
                    <a:pt x="4" y="113"/>
                  </a:lnTo>
                  <a:lnTo>
                    <a:pt x="1" y="125"/>
                  </a:lnTo>
                  <a:lnTo>
                    <a:pt x="0" y="139"/>
                  </a:lnTo>
                  <a:lnTo>
                    <a:pt x="0" y="153"/>
                  </a:lnTo>
                  <a:lnTo>
                    <a:pt x="0" y="153"/>
                  </a:lnTo>
                  <a:lnTo>
                    <a:pt x="0" y="155"/>
                  </a:lnTo>
                  <a:lnTo>
                    <a:pt x="0" y="156"/>
                  </a:lnTo>
                  <a:lnTo>
                    <a:pt x="0" y="169"/>
                  </a:lnTo>
                  <a:lnTo>
                    <a:pt x="1" y="180"/>
                  </a:lnTo>
                  <a:lnTo>
                    <a:pt x="4" y="191"/>
                  </a:lnTo>
                  <a:lnTo>
                    <a:pt x="6" y="202"/>
                  </a:lnTo>
                  <a:lnTo>
                    <a:pt x="11" y="213"/>
                  </a:lnTo>
                  <a:lnTo>
                    <a:pt x="15" y="222"/>
                  </a:lnTo>
                  <a:lnTo>
                    <a:pt x="20" y="233"/>
                  </a:lnTo>
                  <a:lnTo>
                    <a:pt x="26" y="242"/>
                  </a:lnTo>
                  <a:lnTo>
                    <a:pt x="33" y="250"/>
                  </a:lnTo>
                  <a:lnTo>
                    <a:pt x="40" y="259"/>
                  </a:lnTo>
                  <a:lnTo>
                    <a:pt x="48" y="267"/>
                  </a:lnTo>
                  <a:lnTo>
                    <a:pt x="56" y="275"/>
                  </a:lnTo>
                  <a:lnTo>
                    <a:pt x="64" y="281"/>
                  </a:lnTo>
                  <a:lnTo>
                    <a:pt x="73" y="288"/>
                  </a:lnTo>
                  <a:lnTo>
                    <a:pt x="84" y="292"/>
                  </a:lnTo>
                  <a:lnTo>
                    <a:pt x="93" y="298"/>
                  </a:lnTo>
                  <a:lnTo>
                    <a:pt x="93" y="825"/>
                  </a:lnTo>
                  <a:lnTo>
                    <a:pt x="93" y="831"/>
                  </a:lnTo>
                  <a:lnTo>
                    <a:pt x="95" y="837"/>
                  </a:lnTo>
                  <a:lnTo>
                    <a:pt x="97" y="842"/>
                  </a:lnTo>
                  <a:lnTo>
                    <a:pt x="98" y="848"/>
                  </a:lnTo>
                  <a:lnTo>
                    <a:pt x="101" y="853"/>
                  </a:lnTo>
                  <a:lnTo>
                    <a:pt x="104" y="859"/>
                  </a:lnTo>
                  <a:lnTo>
                    <a:pt x="109" y="864"/>
                  </a:lnTo>
                  <a:lnTo>
                    <a:pt x="114" y="868"/>
                  </a:lnTo>
                  <a:lnTo>
                    <a:pt x="118" y="872"/>
                  </a:lnTo>
                  <a:lnTo>
                    <a:pt x="123" y="875"/>
                  </a:lnTo>
                  <a:lnTo>
                    <a:pt x="128" y="878"/>
                  </a:lnTo>
                  <a:lnTo>
                    <a:pt x="134" y="881"/>
                  </a:lnTo>
                  <a:lnTo>
                    <a:pt x="140" y="882"/>
                  </a:lnTo>
                  <a:lnTo>
                    <a:pt x="145" y="884"/>
                  </a:lnTo>
                  <a:lnTo>
                    <a:pt x="151" y="886"/>
                  </a:lnTo>
                  <a:lnTo>
                    <a:pt x="159" y="886"/>
                  </a:lnTo>
                  <a:lnTo>
                    <a:pt x="165" y="886"/>
                  </a:lnTo>
                  <a:lnTo>
                    <a:pt x="170" y="884"/>
                  </a:lnTo>
                  <a:lnTo>
                    <a:pt x="176" y="882"/>
                  </a:lnTo>
                  <a:lnTo>
                    <a:pt x="182" y="881"/>
                  </a:lnTo>
                  <a:lnTo>
                    <a:pt x="189" y="878"/>
                  </a:lnTo>
                  <a:lnTo>
                    <a:pt x="193" y="875"/>
                  </a:lnTo>
                  <a:lnTo>
                    <a:pt x="198" y="872"/>
                  </a:lnTo>
                  <a:lnTo>
                    <a:pt x="203" y="868"/>
                  </a:lnTo>
                  <a:lnTo>
                    <a:pt x="207" y="864"/>
                  </a:lnTo>
                  <a:lnTo>
                    <a:pt x="210" y="859"/>
                  </a:lnTo>
                  <a:lnTo>
                    <a:pt x="214" y="853"/>
                  </a:lnTo>
                  <a:lnTo>
                    <a:pt x="217" y="848"/>
                  </a:lnTo>
                  <a:lnTo>
                    <a:pt x="220" y="842"/>
                  </a:lnTo>
                  <a:lnTo>
                    <a:pt x="221" y="837"/>
                  </a:lnTo>
                  <a:lnTo>
                    <a:pt x="221" y="831"/>
                  </a:lnTo>
                  <a:lnTo>
                    <a:pt x="223" y="825"/>
                  </a:lnTo>
                  <a:lnTo>
                    <a:pt x="223" y="298"/>
                  </a:lnTo>
                  <a:lnTo>
                    <a:pt x="232" y="292"/>
                  </a:lnTo>
                  <a:lnTo>
                    <a:pt x="242" y="288"/>
                  </a:lnTo>
                  <a:lnTo>
                    <a:pt x="251" y="281"/>
                  </a:lnTo>
                  <a:lnTo>
                    <a:pt x="260" y="275"/>
                  </a:lnTo>
                  <a:lnTo>
                    <a:pt x="268" y="267"/>
                  </a:lnTo>
                  <a:lnTo>
                    <a:pt x="276" y="259"/>
                  </a:lnTo>
                  <a:lnTo>
                    <a:pt x="282" y="250"/>
                  </a:lnTo>
                  <a:lnTo>
                    <a:pt x="290" y="242"/>
                  </a:lnTo>
                  <a:lnTo>
                    <a:pt x="295" y="233"/>
                  </a:lnTo>
                  <a:lnTo>
                    <a:pt x="301" y="222"/>
                  </a:lnTo>
                  <a:lnTo>
                    <a:pt x="306" y="213"/>
                  </a:lnTo>
                  <a:lnTo>
                    <a:pt x="309" y="202"/>
                  </a:lnTo>
                  <a:lnTo>
                    <a:pt x="312" y="191"/>
                  </a:lnTo>
                  <a:lnTo>
                    <a:pt x="313" y="180"/>
                  </a:lnTo>
                  <a:lnTo>
                    <a:pt x="315" y="169"/>
                  </a:lnTo>
                  <a:lnTo>
                    <a:pt x="317" y="156"/>
                  </a:lnTo>
                  <a:lnTo>
                    <a:pt x="317" y="155"/>
                  </a:lnTo>
                  <a:lnTo>
                    <a:pt x="317" y="153"/>
                  </a:lnTo>
                  <a:lnTo>
                    <a:pt x="317" y="153"/>
                  </a:lnTo>
                  <a:lnTo>
                    <a:pt x="317" y="153"/>
                  </a:lnTo>
                  <a:close/>
                </a:path>
              </a:pathLst>
            </a:custGeom>
            <a:solidFill>
              <a:schemeClr val="bg1"/>
            </a:solidFill>
            <a:ln w="9525">
              <a:noFill/>
              <a:round/>
              <a:headEnd/>
              <a:tailEnd/>
            </a:ln>
            <a:extLst/>
          </p:spPr>
          <p:txBody>
            <a:bodyPr vert="horz" wrap="square" lIns="91416" tIns="45708" rIns="91416" bIns="45708" numCol="1" anchor="t" anchorCtr="0" compatLnSpc="1">
              <a:prstTxWarp prst="textNoShape">
                <a:avLst/>
              </a:prstTxWarp>
            </a:bodyPr>
            <a:lstStyle/>
            <a:p>
              <a:pPr defTabSz="914126"/>
              <a:endParaRPr lang="en-US" sz="1799">
                <a:solidFill>
                  <a:prstClr val="black"/>
                </a:solidFill>
              </a:endParaRPr>
            </a:p>
          </p:txBody>
        </p:sp>
        <p:grpSp>
          <p:nvGrpSpPr>
            <p:cNvPr id="95" name="Group 94"/>
            <p:cNvGrpSpPr/>
            <p:nvPr/>
          </p:nvGrpSpPr>
          <p:grpSpPr>
            <a:xfrm>
              <a:off x="4788853" y="2878506"/>
              <a:ext cx="204971" cy="896503"/>
              <a:chOff x="4788853" y="2878506"/>
              <a:chExt cx="204971" cy="896503"/>
            </a:xfrm>
          </p:grpSpPr>
          <p:sp>
            <p:nvSpPr>
              <p:cNvPr id="96" name="Freeform 2016"/>
              <p:cNvSpPr>
                <a:spLocks/>
              </p:cNvSpPr>
              <p:nvPr/>
            </p:nvSpPr>
            <p:spPr bwMode="auto">
              <a:xfrm>
                <a:off x="4788853" y="3412681"/>
                <a:ext cx="204971" cy="229820"/>
              </a:xfrm>
              <a:custGeom>
                <a:avLst/>
                <a:gdLst>
                  <a:gd name="T0" fmla="*/ 190 w 198"/>
                  <a:gd name="T1" fmla="*/ 0 h 222"/>
                  <a:gd name="T2" fmla="*/ 8 w 198"/>
                  <a:gd name="T3" fmla="*/ 0 h 222"/>
                  <a:gd name="T4" fmla="*/ 6 w 198"/>
                  <a:gd name="T5" fmla="*/ 3 h 222"/>
                  <a:gd name="T6" fmla="*/ 6 w 198"/>
                  <a:gd name="T7" fmla="*/ 6 h 222"/>
                  <a:gd name="T8" fmla="*/ 3 w 198"/>
                  <a:gd name="T9" fmla="*/ 11 h 222"/>
                  <a:gd name="T10" fmla="*/ 1 w 198"/>
                  <a:gd name="T11" fmla="*/ 14 h 222"/>
                  <a:gd name="T12" fmla="*/ 0 w 198"/>
                  <a:gd name="T13" fmla="*/ 16 h 222"/>
                  <a:gd name="T14" fmla="*/ 0 w 198"/>
                  <a:gd name="T15" fmla="*/ 17 h 222"/>
                  <a:gd name="T16" fmla="*/ 0 w 198"/>
                  <a:gd name="T17" fmla="*/ 19 h 222"/>
                  <a:gd name="T18" fmla="*/ 0 w 198"/>
                  <a:gd name="T19" fmla="*/ 222 h 222"/>
                  <a:gd name="T20" fmla="*/ 198 w 198"/>
                  <a:gd name="T21" fmla="*/ 222 h 222"/>
                  <a:gd name="T22" fmla="*/ 198 w 198"/>
                  <a:gd name="T23" fmla="*/ 19 h 222"/>
                  <a:gd name="T24" fmla="*/ 198 w 198"/>
                  <a:gd name="T25" fmla="*/ 17 h 222"/>
                  <a:gd name="T26" fmla="*/ 196 w 198"/>
                  <a:gd name="T27" fmla="*/ 16 h 222"/>
                  <a:gd name="T28" fmla="*/ 196 w 198"/>
                  <a:gd name="T29" fmla="*/ 14 h 222"/>
                  <a:gd name="T30" fmla="*/ 195 w 198"/>
                  <a:gd name="T31" fmla="*/ 11 h 222"/>
                  <a:gd name="T32" fmla="*/ 192 w 198"/>
                  <a:gd name="T33" fmla="*/ 6 h 222"/>
                  <a:gd name="T34" fmla="*/ 190 w 198"/>
                  <a:gd name="T35" fmla="*/ 3 h 222"/>
                  <a:gd name="T36" fmla="*/ 190 w 198"/>
                  <a:gd name="T37" fmla="*/ 0 h 222"/>
                  <a:gd name="T38" fmla="*/ 190 w 198"/>
                  <a:gd name="T3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222">
                    <a:moveTo>
                      <a:pt x="190" y="0"/>
                    </a:moveTo>
                    <a:lnTo>
                      <a:pt x="8" y="0"/>
                    </a:lnTo>
                    <a:lnTo>
                      <a:pt x="6" y="3"/>
                    </a:lnTo>
                    <a:lnTo>
                      <a:pt x="6" y="6"/>
                    </a:lnTo>
                    <a:lnTo>
                      <a:pt x="3" y="11"/>
                    </a:lnTo>
                    <a:lnTo>
                      <a:pt x="1" y="14"/>
                    </a:lnTo>
                    <a:lnTo>
                      <a:pt x="0" y="16"/>
                    </a:lnTo>
                    <a:lnTo>
                      <a:pt x="0" y="17"/>
                    </a:lnTo>
                    <a:lnTo>
                      <a:pt x="0" y="19"/>
                    </a:lnTo>
                    <a:lnTo>
                      <a:pt x="0" y="222"/>
                    </a:lnTo>
                    <a:lnTo>
                      <a:pt x="198" y="222"/>
                    </a:lnTo>
                    <a:lnTo>
                      <a:pt x="198" y="19"/>
                    </a:lnTo>
                    <a:lnTo>
                      <a:pt x="198" y="17"/>
                    </a:lnTo>
                    <a:lnTo>
                      <a:pt x="196" y="16"/>
                    </a:lnTo>
                    <a:lnTo>
                      <a:pt x="196" y="14"/>
                    </a:lnTo>
                    <a:lnTo>
                      <a:pt x="195" y="11"/>
                    </a:lnTo>
                    <a:lnTo>
                      <a:pt x="192" y="6"/>
                    </a:lnTo>
                    <a:lnTo>
                      <a:pt x="190" y="3"/>
                    </a:lnTo>
                    <a:lnTo>
                      <a:pt x="190" y="0"/>
                    </a:lnTo>
                    <a:lnTo>
                      <a:pt x="190" y="0"/>
                    </a:lnTo>
                    <a:close/>
                  </a:path>
                </a:pathLst>
              </a:custGeom>
              <a:solidFill>
                <a:schemeClr val="bg1"/>
              </a:solidFill>
              <a:ln w="9525">
                <a:noFill/>
                <a:round/>
                <a:headEnd/>
                <a:tailEnd/>
              </a:ln>
              <a:extLst/>
            </p:spPr>
            <p:txBody>
              <a:bodyPr vert="horz" wrap="square" lIns="91416" tIns="45708" rIns="91416" bIns="45708" numCol="1" anchor="t" anchorCtr="0" compatLnSpc="1">
                <a:prstTxWarp prst="textNoShape">
                  <a:avLst/>
                </a:prstTxWarp>
              </a:bodyPr>
              <a:lstStyle/>
              <a:p>
                <a:pPr defTabSz="914126"/>
                <a:endParaRPr lang="en-US" sz="1799">
                  <a:solidFill>
                    <a:prstClr val="black"/>
                  </a:solidFill>
                </a:endParaRPr>
              </a:p>
            </p:txBody>
          </p:sp>
          <p:sp>
            <p:nvSpPr>
              <p:cNvPr id="97" name="Freeform 2017"/>
              <p:cNvSpPr>
                <a:spLocks/>
              </p:cNvSpPr>
              <p:nvPr/>
            </p:nvSpPr>
            <p:spPr bwMode="auto">
              <a:xfrm>
                <a:off x="4788853" y="3669416"/>
                <a:ext cx="204971" cy="105593"/>
              </a:xfrm>
              <a:custGeom>
                <a:avLst/>
                <a:gdLst>
                  <a:gd name="T0" fmla="*/ 0 w 198"/>
                  <a:gd name="T1" fmla="*/ 10 h 102"/>
                  <a:gd name="T2" fmla="*/ 0 w 198"/>
                  <a:gd name="T3" fmla="*/ 28 h 102"/>
                  <a:gd name="T4" fmla="*/ 0 w 198"/>
                  <a:gd name="T5" fmla="*/ 38 h 102"/>
                  <a:gd name="T6" fmla="*/ 1 w 198"/>
                  <a:gd name="T7" fmla="*/ 46 h 102"/>
                  <a:gd name="T8" fmla="*/ 3 w 198"/>
                  <a:gd name="T9" fmla="*/ 53 h 102"/>
                  <a:gd name="T10" fmla="*/ 4 w 198"/>
                  <a:gd name="T11" fmla="*/ 61 h 102"/>
                  <a:gd name="T12" fmla="*/ 8 w 198"/>
                  <a:gd name="T13" fmla="*/ 69 h 102"/>
                  <a:gd name="T14" fmla="*/ 12 w 198"/>
                  <a:gd name="T15" fmla="*/ 75 h 102"/>
                  <a:gd name="T16" fmla="*/ 17 w 198"/>
                  <a:gd name="T17" fmla="*/ 81 h 102"/>
                  <a:gd name="T18" fmla="*/ 23 w 198"/>
                  <a:gd name="T19" fmla="*/ 86 h 102"/>
                  <a:gd name="T20" fmla="*/ 31 w 198"/>
                  <a:gd name="T21" fmla="*/ 91 h 102"/>
                  <a:gd name="T22" fmla="*/ 36 w 198"/>
                  <a:gd name="T23" fmla="*/ 92 h 102"/>
                  <a:gd name="T24" fmla="*/ 42 w 198"/>
                  <a:gd name="T25" fmla="*/ 94 h 102"/>
                  <a:gd name="T26" fmla="*/ 47 w 198"/>
                  <a:gd name="T27" fmla="*/ 95 h 102"/>
                  <a:gd name="T28" fmla="*/ 53 w 198"/>
                  <a:gd name="T29" fmla="*/ 97 h 102"/>
                  <a:gd name="T30" fmla="*/ 59 w 198"/>
                  <a:gd name="T31" fmla="*/ 99 h 102"/>
                  <a:gd name="T32" fmla="*/ 65 w 198"/>
                  <a:gd name="T33" fmla="*/ 100 h 102"/>
                  <a:gd name="T34" fmla="*/ 73 w 198"/>
                  <a:gd name="T35" fmla="*/ 100 h 102"/>
                  <a:gd name="T36" fmla="*/ 81 w 198"/>
                  <a:gd name="T37" fmla="*/ 102 h 102"/>
                  <a:gd name="T38" fmla="*/ 89 w 198"/>
                  <a:gd name="T39" fmla="*/ 102 h 102"/>
                  <a:gd name="T40" fmla="*/ 98 w 198"/>
                  <a:gd name="T41" fmla="*/ 102 h 102"/>
                  <a:gd name="T42" fmla="*/ 106 w 198"/>
                  <a:gd name="T43" fmla="*/ 102 h 102"/>
                  <a:gd name="T44" fmla="*/ 115 w 198"/>
                  <a:gd name="T45" fmla="*/ 102 h 102"/>
                  <a:gd name="T46" fmla="*/ 123 w 198"/>
                  <a:gd name="T47" fmla="*/ 100 h 102"/>
                  <a:gd name="T48" fmla="*/ 131 w 198"/>
                  <a:gd name="T49" fmla="*/ 100 h 102"/>
                  <a:gd name="T50" fmla="*/ 137 w 198"/>
                  <a:gd name="T51" fmla="*/ 99 h 102"/>
                  <a:gd name="T52" fmla="*/ 143 w 198"/>
                  <a:gd name="T53" fmla="*/ 97 h 102"/>
                  <a:gd name="T54" fmla="*/ 150 w 198"/>
                  <a:gd name="T55" fmla="*/ 95 h 102"/>
                  <a:gd name="T56" fmla="*/ 156 w 198"/>
                  <a:gd name="T57" fmla="*/ 94 h 102"/>
                  <a:gd name="T58" fmla="*/ 161 w 198"/>
                  <a:gd name="T59" fmla="*/ 92 h 102"/>
                  <a:gd name="T60" fmla="*/ 165 w 198"/>
                  <a:gd name="T61" fmla="*/ 91 h 102"/>
                  <a:gd name="T62" fmla="*/ 170 w 198"/>
                  <a:gd name="T63" fmla="*/ 89 h 102"/>
                  <a:gd name="T64" fmla="*/ 173 w 198"/>
                  <a:gd name="T65" fmla="*/ 86 h 102"/>
                  <a:gd name="T66" fmla="*/ 181 w 198"/>
                  <a:gd name="T67" fmla="*/ 81 h 102"/>
                  <a:gd name="T68" fmla="*/ 185 w 198"/>
                  <a:gd name="T69" fmla="*/ 75 h 102"/>
                  <a:gd name="T70" fmla="*/ 190 w 198"/>
                  <a:gd name="T71" fmla="*/ 69 h 102"/>
                  <a:gd name="T72" fmla="*/ 193 w 198"/>
                  <a:gd name="T73" fmla="*/ 61 h 102"/>
                  <a:gd name="T74" fmla="*/ 195 w 198"/>
                  <a:gd name="T75" fmla="*/ 53 h 102"/>
                  <a:gd name="T76" fmla="*/ 196 w 198"/>
                  <a:gd name="T77" fmla="*/ 46 h 102"/>
                  <a:gd name="T78" fmla="*/ 198 w 198"/>
                  <a:gd name="T79" fmla="*/ 38 h 102"/>
                  <a:gd name="T80" fmla="*/ 198 w 198"/>
                  <a:gd name="T81" fmla="*/ 28 h 102"/>
                  <a:gd name="T82" fmla="*/ 198 w 198"/>
                  <a:gd name="T83" fmla="*/ 10 h 102"/>
                  <a:gd name="T84" fmla="*/ 198 w 198"/>
                  <a:gd name="T85" fmla="*/ 10 h 102"/>
                  <a:gd name="T86" fmla="*/ 198 w 198"/>
                  <a:gd name="T87" fmla="*/ 0 h 102"/>
                  <a:gd name="T88" fmla="*/ 0 w 198"/>
                  <a:gd name="T89" fmla="*/ 0 h 102"/>
                  <a:gd name="T90" fmla="*/ 0 w 198"/>
                  <a:gd name="T91" fmla="*/ 10 h 102"/>
                  <a:gd name="T92" fmla="*/ 0 w 198"/>
                  <a:gd name="T93" fmla="*/ 1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8" h="102">
                    <a:moveTo>
                      <a:pt x="0" y="10"/>
                    </a:moveTo>
                    <a:lnTo>
                      <a:pt x="0" y="28"/>
                    </a:lnTo>
                    <a:lnTo>
                      <a:pt x="0" y="38"/>
                    </a:lnTo>
                    <a:lnTo>
                      <a:pt x="1" y="46"/>
                    </a:lnTo>
                    <a:lnTo>
                      <a:pt x="3" y="53"/>
                    </a:lnTo>
                    <a:lnTo>
                      <a:pt x="4" y="61"/>
                    </a:lnTo>
                    <a:lnTo>
                      <a:pt x="8" y="69"/>
                    </a:lnTo>
                    <a:lnTo>
                      <a:pt x="12" y="75"/>
                    </a:lnTo>
                    <a:lnTo>
                      <a:pt x="17" y="81"/>
                    </a:lnTo>
                    <a:lnTo>
                      <a:pt x="23" y="86"/>
                    </a:lnTo>
                    <a:lnTo>
                      <a:pt x="31" y="91"/>
                    </a:lnTo>
                    <a:lnTo>
                      <a:pt x="36" y="92"/>
                    </a:lnTo>
                    <a:lnTo>
                      <a:pt x="42" y="94"/>
                    </a:lnTo>
                    <a:lnTo>
                      <a:pt x="47" y="95"/>
                    </a:lnTo>
                    <a:lnTo>
                      <a:pt x="53" y="97"/>
                    </a:lnTo>
                    <a:lnTo>
                      <a:pt x="59" y="99"/>
                    </a:lnTo>
                    <a:lnTo>
                      <a:pt x="65" y="100"/>
                    </a:lnTo>
                    <a:lnTo>
                      <a:pt x="73" y="100"/>
                    </a:lnTo>
                    <a:lnTo>
                      <a:pt x="81" y="102"/>
                    </a:lnTo>
                    <a:lnTo>
                      <a:pt x="89" y="102"/>
                    </a:lnTo>
                    <a:lnTo>
                      <a:pt x="98" y="102"/>
                    </a:lnTo>
                    <a:lnTo>
                      <a:pt x="106" y="102"/>
                    </a:lnTo>
                    <a:lnTo>
                      <a:pt x="115" y="102"/>
                    </a:lnTo>
                    <a:lnTo>
                      <a:pt x="123" y="100"/>
                    </a:lnTo>
                    <a:lnTo>
                      <a:pt x="131" y="100"/>
                    </a:lnTo>
                    <a:lnTo>
                      <a:pt x="137" y="99"/>
                    </a:lnTo>
                    <a:lnTo>
                      <a:pt x="143" y="97"/>
                    </a:lnTo>
                    <a:lnTo>
                      <a:pt x="150" y="95"/>
                    </a:lnTo>
                    <a:lnTo>
                      <a:pt x="156" y="94"/>
                    </a:lnTo>
                    <a:lnTo>
                      <a:pt x="161" y="92"/>
                    </a:lnTo>
                    <a:lnTo>
                      <a:pt x="165" y="91"/>
                    </a:lnTo>
                    <a:lnTo>
                      <a:pt x="170" y="89"/>
                    </a:lnTo>
                    <a:lnTo>
                      <a:pt x="173" y="86"/>
                    </a:lnTo>
                    <a:lnTo>
                      <a:pt x="181" y="81"/>
                    </a:lnTo>
                    <a:lnTo>
                      <a:pt x="185" y="75"/>
                    </a:lnTo>
                    <a:lnTo>
                      <a:pt x="190" y="69"/>
                    </a:lnTo>
                    <a:lnTo>
                      <a:pt x="193" y="61"/>
                    </a:lnTo>
                    <a:lnTo>
                      <a:pt x="195" y="53"/>
                    </a:lnTo>
                    <a:lnTo>
                      <a:pt x="196" y="46"/>
                    </a:lnTo>
                    <a:lnTo>
                      <a:pt x="198" y="38"/>
                    </a:lnTo>
                    <a:lnTo>
                      <a:pt x="198" y="28"/>
                    </a:lnTo>
                    <a:lnTo>
                      <a:pt x="198" y="10"/>
                    </a:lnTo>
                    <a:lnTo>
                      <a:pt x="198" y="10"/>
                    </a:lnTo>
                    <a:lnTo>
                      <a:pt x="198" y="0"/>
                    </a:lnTo>
                    <a:lnTo>
                      <a:pt x="0" y="0"/>
                    </a:lnTo>
                    <a:lnTo>
                      <a:pt x="0" y="10"/>
                    </a:lnTo>
                    <a:lnTo>
                      <a:pt x="0" y="10"/>
                    </a:lnTo>
                    <a:close/>
                  </a:path>
                </a:pathLst>
              </a:custGeom>
              <a:solidFill>
                <a:schemeClr val="bg1"/>
              </a:solidFill>
              <a:ln w="9525">
                <a:noFill/>
                <a:round/>
                <a:headEnd/>
                <a:tailEnd/>
              </a:ln>
              <a:extLst/>
            </p:spPr>
            <p:txBody>
              <a:bodyPr vert="horz" wrap="square" lIns="91416" tIns="45708" rIns="91416" bIns="45708" numCol="1" anchor="t" anchorCtr="0" compatLnSpc="1">
                <a:prstTxWarp prst="textNoShape">
                  <a:avLst/>
                </a:prstTxWarp>
              </a:bodyPr>
              <a:lstStyle/>
              <a:p>
                <a:pPr defTabSz="914126"/>
                <a:endParaRPr lang="en-US" sz="1799">
                  <a:solidFill>
                    <a:prstClr val="black"/>
                  </a:solidFill>
                </a:endParaRPr>
              </a:p>
            </p:txBody>
          </p:sp>
          <p:sp>
            <p:nvSpPr>
              <p:cNvPr id="98" name="Freeform 2018"/>
              <p:cNvSpPr>
                <a:spLocks/>
              </p:cNvSpPr>
              <p:nvPr/>
            </p:nvSpPr>
            <p:spPr bwMode="auto">
              <a:xfrm>
                <a:off x="4788853" y="2878506"/>
                <a:ext cx="204971" cy="509330"/>
              </a:xfrm>
              <a:custGeom>
                <a:avLst/>
                <a:gdLst>
                  <a:gd name="T0" fmla="*/ 140 w 198"/>
                  <a:gd name="T1" fmla="*/ 153 h 492"/>
                  <a:gd name="T2" fmla="*/ 164 w 198"/>
                  <a:gd name="T3" fmla="*/ 153 h 492"/>
                  <a:gd name="T4" fmla="*/ 164 w 198"/>
                  <a:gd name="T5" fmla="*/ 129 h 492"/>
                  <a:gd name="T6" fmla="*/ 150 w 198"/>
                  <a:gd name="T7" fmla="*/ 129 h 492"/>
                  <a:gd name="T8" fmla="*/ 140 w 198"/>
                  <a:gd name="T9" fmla="*/ 0 h 492"/>
                  <a:gd name="T10" fmla="*/ 58 w 198"/>
                  <a:gd name="T11" fmla="*/ 0 h 492"/>
                  <a:gd name="T12" fmla="*/ 47 w 198"/>
                  <a:gd name="T13" fmla="*/ 129 h 492"/>
                  <a:gd name="T14" fmla="*/ 34 w 198"/>
                  <a:gd name="T15" fmla="*/ 129 h 492"/>
                  <a:gd name="T16" fmla="*/ 34 w 198"/>
                  <a:gd name="T17" fmla="*/ 153 h 492"/>
                  <a:gd name="T18" fmla="*/ 58 w 198"/>
                  <a:gd name="T19" fmla="*/ 153 h 492"/>
                  <a:gd name="T20" fmla="*/ 58 w 198"/>
                  <a:gd name="T21" fmla="*/ 421 h 492"/>
                  <a:gd name="T22" fmla="*/ 0 w 198"/>
                  <a:gd name="T23" fmla="*/ 421 h 492"/>
                  <a:gd name="T24" fmla="*/ 11 w 198"/>
                  <a:gd name="T25" fmla="*/ 468 h 492"/>
                  <a:gd name="T26" fmla="*/ 34 w 198"/>
                  <a:gd name="T27" fmla="*/ 468 h 492"/>
                  <a:gd name="T28" fmla="*/ 28 w 198"/>
                  <a:gd name="T29" fmla="*/ 473 h 492"/>
                  <a:gd name="T30" fmla="*/ 22 w 198"/>
                  <a:gd name="T31" fmla="*/ 479 h 492"/>
                  <a:gd name="T32" fmla="*/ 15 w 198"/>
                  <a:gd name="T33" fmla="*/ 485 h 492"/>
                  <a:gd name="T34" fmla="*/ 11 w 198"/>
                  <a:gd name="T35" fmla="*/ 492 h 492"/>
                  <a:gd name="T36" fmla="*/ 187 w 198"/>
                  <a:gd name="T37" fmla="*/ 492 h 492"/>
                  <a:gd name="T38" fmla="*/ 184 w 198"/>
                  <a:gd name="T39" fmla="*/ 488 h 492"/>
                  <a:gd name="T40" fmla="*/ 181 w 198"/>
                  <a:gd name="T41" fmla="*/ 485 h 492"/>
                  <a:gd name="T42" fmla="*/ 176 w 198"/>
                  <a:gd name="T43" fmla="*/ 479 h 492"/>
                  <a:gd name="T44" fmla="*/ 168 w 198"/>
                  <a:gd name="T45" fmla="*/ 473 h 492"/>
                  <a:gd name="T46" fmla="*/ 164 w 198"/>
                  <a:gd name="T47" fmla="*/ 468 h 492"/>
                  <a:gd name="T48" fmla="*/ 187 w 198"/>
                  <a:gd name="T49" fmla="*/ 468 h 492"/>
                  <a:gd name="T50" fmla="*/ 198 w 198"/>
                  <a:gd name="T51" fmla="*/ 421 h 492"/>
                  <a:gd name="T52" fmla="*/ 140 w 198"/>
                  <a:gd name="T53" fmla="*/ 421 h 492"/>
                  <a:gd name="T54" fmla="*/ 140 w 198"/>
                  <a:gd name="T55" fmla="*/ 153 h 492"/>
                  <a:gd name="T56" fmla="*/ 140 w 198"/>
                  <a:gd name="T57" fmla="*/ 153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8" h="492">
                    <a:moveTo>
                      <a:pt x="140" y="153"/>
                    </a:moveTo>
                    <a:lnTo>
                      <a:pt x="164" y="153"/>
                    </a:lnTo>
                    <a:lnTo>
                      <a:pt x="164" y="129"/>
                    </a:lnTo>
                    <a:lnTo>
                      <a:pt x="150" y="129"/>
                    </a:lnTo>
                    <a:lnTo>
                      <a:pt x="140" y="0"/>
                    </a:lnTo>
                    <a:lnTo>
                      <a:pt x="58" y="0"/>
                    </a:lnTo>
                    <a:lnTo>
                      <a:pt x="47" y="129"/>
                    </a:lnTo>
                    <a:lnTo>
                      <a:pt x="34" y="129"/>
                    </a:lnTo>
                    <a:lnTo>
                      <a:pt x="34" y="153"/>
                    </a:lnTo>
                    <a:lnTo>
                      <a:pt x="58" y="153"/>
                    </a:lnTo>
                    <a:lnTo>
                      <a:pt x="58" y="421"/>
                    </a:lnTo>
                    <a:lnTo>
                      <a:pt x="0" y="421"/>
                    </a:lnTo>
                    <a:lnTo>
                      <a:pt x="11" y="468"/>
                    </a:lnTo>
                    <a:lnTo>
                      <a:pt x="34" y="468"/>
                    </a:lnTo>
                    <a:lnTo>
                      <a:pt x="28" y="473"/>
                    </a:lnTo>
                    <a:lnTo>
                      <a:pt x="22" y="479"/>
                    </a:lnTo>
                    <a:lnTo>
                      <a:pt x="15" y="485"/>
                    </a:lnTo>
                    <a:lnTo>
                      <a:pt x="11" y="492"/>
                    </a:lnTo>
                    <a:lnTo>
                      <a:pt x="187" y="492"/>
                    </a:lnTo>
                    <a:lnTo>
                      <a:pt x="184" y="488"/>
                    </a:lnTo>
                    <a:lnTo>
                      <a:pt x="181" y="485"/>
                    </a:lnTo>
                    <a:lnTo>
                      <a:pt x="176" y="479"/>
                    </a:lnTo>
                    <a:lnTo>
                      <a:pt x="168" y="473"/>
                    </a:lnTo>
                    <a:lnTo>
                      <a:pt x="164" y="468"/>
                    </a:lnTo>
                    <a:lnTo>
                      <a:pt x="187" y="468"/>
                    </a:lnTo>
                    <a:lnTo>
                      <a:pt x="198" y="421"/>
                    </a:lnTo>
                    <a:lnTo>
                      <a:pt x="140" y="421"/>
                    </a:lnTo>
                    <a:lnTo>
                      <a:pt x="140" y="153"/>
                    </a:lnTo>
                    <a:lnTo>
                      <a:pt x="140" y="153"/>
                    </a:lnTo>
                    <a:close/>
                  </a:path>
                </a:pathLst>
              </a:custGeom>
              <a:solidFill>
                <a:schemeClr val="bg1"/>
              </a:solidFill>
              <a:ln w="9525">
                <a:noFill/>
                <a:round/>
                <a:headEnd/>
                <a:tailEnd/>
              </a:ln>
              <a:extLst/>
            </p:spPr>
            <p:txBody>
              <a:bodyPr vert="horz" wrap="square" lIns="91416" tIns="45708" rIns="91416" bIns="45708" numCol="1" anchor="t" anchorCtr="0" compatLnSpc="1">
                <a:prstTxWarp prst="textNoShape">
                  <a:avLst/>
                </a:prstTxWarp>
              </a:bodyPr>
              <a:lstStyle/>
              <a:p>
                <a:pPr defTabSz="914126"/>
                <a:endParaRPr lang="en-US" sz="1799">
                  <a:solidFill>
                    <a:prstClr val="black"/>
                  </a:solidFill>
                </a:endParaRPr>
              </a:p>
            </p:txBody>
          </p:sp>
        </p:grpSp>
      </p:grpSp>
      <p:grpSp>
        <p:nvGrpSpPr>
          <p:cNvPr id="99" name="Group 98"/>
          <p:cNvGrpSpPr/>
          <p:nvPr/>
        </p:nvGrpSpPr>
        <p:grpSpPr>
          <a:xfrm>
            <a:off x="1167018" y="2146292"/>
            <a:ext cx="1440402" cy="1609519"/>
            <a:chOff x="805147" y="2779025"/>
            <a:chExt cx="717920" cy="802211"/>
          </a:xfrm>
        </p:grpSpPr>
        <p:sp>
          <p:nvSpPr>
            <p:cNvPr id="100" name="Oval 3"/>
            <p:cNvSpPr/>
            <p:nvPr/>
          </p:nvSpPr>
          <p:spPr>
            <a:xfrm>
              <a:off x="805147" y="2779025"/>
              <a:ext cx="698978" cy="710269"/>
            </a:xfrm>
            <a:custGeom>
              <a:avLst/>
              <a:gdLst/>
              <a:ahLst/>
              <a:cxnLst/>
              <a:rect l="l" t="t" r="r" b="b"/>
              <a:pathLst>
                <a:path w="3135080" h="3185726">
                  <a:moveTo>
                    <a:pt x="2701501" y="2552282"/>
                  </a:moveTo>
                  <a:cubicBezTo>
                    <a:pt x="2591342" y="2552282"/>
                    <a:pt x="2502040" y="2641585"/>
                    <a:pt x="2502041" y="2751743"/>
                  </a:cubicBezTo>
                  <a:cubicBezTo>
                    <a:pt x="2502040" y="2861903"/>
                    <a:pt x="2591343" y="2951204"/>
                    <a:pt x="2701501" y="2951204"/>
                  </a:cubicBezTo>
                  <a:cubicBezTo>
                    <a:pt x="2811660" y="2951204"/>
                    <a:pt x="2900962" y="2861902"/>
                    <a:pt x="2900962" y="2751744"/>
                  </a:cubicBezTo>
                  <a:cubicBezTo>
                    <a:pt x="2900963" y="2641584"/>
                    <a:pt x="2811660" y="2552283"/>
                    <a:pt x="2701501" y="2552282"/>
                  </a:cubicBezTo>
                  <a:close/>
                  <a:moveTo>
                    <a:pt x="752121" y="0"/>
                  </a:moveTo>
                  <a:cubicBezTo>
                    <a:pt x="1167506" y="0"/>
                    <a:pt x="1504242" y="336736"/>
                    <a:pt x="1504242" y="752121"/>
                  </a:cubicBezTo>
                  <a:cubicBezTo>
                    <a:pt x="1504242" y="812575"/>
                    <a:pt x="1497110" y="871364"/>
                    <a:pt x="1481661" y="927218"/>
                  </a:cubicBezTo>
                  <a:lnTo>
                    <a:pt x="2996658" y="2400787"/>
                  </a:lnTo>
                  <a:cubicBezTo>
                    <a:pt x="3177663" y="2576843"/>
                    <a:pt x="3181675" y="2866298"/>
                    <a:pt x="3005619" y="3047303"/>
                  </a:cubicBezTo>
                  <a:cubicBezTo>
                    <a:pt x="2829563" y="3228309"/>
                    <a:pt x="2540109" y="3232321"/>
                    <a:pt x="2359103" y="3056265"/>
                  </a:cubicBezTo>
                  <a:lnTo>
                    <a:pt x="762889" y="1503698"/>
                  </a:lnTo>
                  <a:cubicBezTo>
                    <a:pt x="759310" y="1504217"/>
                    <a:pt x="755719" y="1504242"/>
                    <a:pt x="752121" y="1504242"/>
                  </a:cubicBezTo>
                  <a:cubicBezTo>
                    <a:pt x="336736" y="1504242"/>
                    <a:pt x="0" y="1167506"/>
                    <a:pt x="0" y="752121"/>
                  </a:cubicBezTo>
                  <a:cubicBezTo>
                    <a:pt x="0" y="656205"/>
                    <a:pt x="17955" y="564482"/>
                    <a:pt x="52447" y="480814"/>
                  </a:cubicBezTo>
                  <a:lnTo>
                    <a:pt x="487026" y="920673"/>
                  </a:lnTo>
                  <a:cubicBezTo>
                    <a:pt x="554414" y="988880"/>
                    <a:pt x="664335" y="989544"/>
                    <a:pt x="732542" y="922156"/>
                  </a:cubicBezTo>
                  <a:lnTo>
                    <a:pt x="879355" y="777105"/>
                  </a:lnTo>
                  <a:cubicBezTo>
                    <a:pt x="947562" y="709717"/>
                    <a:pt x="948226" y="599796"/>
                    <a:pt x="880838" y="531589"/>
                  </a:cubicBezTo>
                  <a:lnTo>
                    <a:pt x="429851" y="75123"/>
                  </a:lnTo>
                  <a:cubicBezTo>
                    <a:pt x="526725" y="26148"/>
                    <a:pt x="636369" y="0"/>
                    <a:pt x="75212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dirty="0">
                <a:solidFill>
                  <a:srgbClr val="000000"/>
                </a:solidFill>
              </a:endParaRPr>
            </a:p>
          </p:txBody>
        </p:sp>
        <p:grpSp>
          <p:nvGrpSpPr>
            <p:cNvPr id="101" name="Group 100"/>
            <p:cNvGrpSpPr/>
            <p:nvPr/>
          </p:nvGrpSpPr>
          <p:grpSpPr>
            <a:xfrm>
              <a:off x="981286" y="2830673"/>
              <a:ext cx="541781" cy="750563"/>
              <a:chOff x="981286" y="2830673"/>
              <a:chExt cx="541781" cy="750563"/>
            </a:xfrm>
          </p:grpSpPr>
          <p:sp>
            <p:nvSpPr>
              <p:cNvPr id="104" name="Freeform 2016"/>
              <p:cNvSpPr>
                <a:spLocks/>
              </p:cNvSpPr>
              <p:nvPr/>
            </p:nvSpPr>
            <p:spPr bwMode="auto">
              <a:xfrm rot="13465931">
                <a:off x="1318096" y="2830673"/>
                <a:ext cx="204971" cy="332614"/>
              </a:xfrm>
              <a:custGeom>
                <a:avLst/>
                <a:gdLst>
                  <a:gd name="T0" fmla="*/ 190 w 198"/>
                  <a:gd name="T1" fmla="*/ 0 h 222"/>
                  <a:gd name="T2" fmla="*/ 8 w 198"/>
                  <a:gd name="T3" fmla="*/ 0 h 222"/>
                  <a:gd name="T4" fmla="*/ 6 w 198"/>
                  <a:gd name="T5" fmla="*/ 3 h 222"/>
                  <a:gd name="T6" fmla="*/ 6 w 198"/>
                  <a:gd name="T7" fmla="*/ 6 h 222"/>
                  <a:gd name="T8" fmla="*/ 3 w 198"/>
                  <a:gd name="T9" fmla="*/ 11 h 222"/>
                  <a:gd name="T10" fmla="*/ 1 w 198"/>
                  <a:gd name="T11" fmla="*/ 14 h 222"/>
                  <a:gd name="T12" fmla="*/ 0 w 198"/>
                  <a:gd name="T13" fmla="*/ 16 h 222"/>
                  <a:gd name="T14" fmla="*/ 0 w 198"/>
                  <a:gd name="T15" fmla="*/ 17 h 222"/>
                  <a:gd name="T16" fmla="*/ 0 w 198"/>
                  <a:gd name="T17" fmla="*/ 19 h 222"/>
                  <a:gd name="T18" fmla="*/ 0 w 198"/>
                  <a:gd name="T19" fmla="*/ 222 h 222"/>
                  <a:gd name="T20" fmla="*/ 198 w 198"/>
                  <a:gd name="T21" fmla="*/ 222 h 222"/>
                  <a:gd name="T22" fmla="*/ 198 w 198"/>
                  <a:gd name="T23" fmla="*/ 19 h 222"/>
                  <a:gd name="T24" fmla="*/ 198 w 198"/>
                  <a:gd name="T25" fmla="*/ 17 h 222"/>
                  <a:gd name="T26" fmla="*/ 196 w 198"/>
                  <a:gd name="T27" fmla="*/ 16 h 222"/>
                  <a:gd name="T28" fmla="*/ 196 w 198"/>
                  <a:gd name="T29" fmla="*/ 14 h 222"/>
                  <a:gd name="T30" fmla="*/ 195 w 198"/>
                  <a:gd name="T31" fmla="*/ 11 h 222"/>
                  <a:gd name="T32" fmla="*/ 192 w 198"/>
                  <a:gd name="T33" fmla="*/ 6 h 222"/>
                  <a:gd name="T34" fmla="*/ 190 w 198"/>
                  <a:gd name="T35" fmla="*/ 3 h 222"/>
                  <a:gd name="T36" fmla="*/ 190 w 198"/>
                  <a:gd name="T37" fmla="*/ 0 h 222"/>
                  <a:gd name="T38" fmla="*/ 190 w 198"/>
                  <a:gd name="T3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222">
                    <a:moveTo>
                      <a:pt x="190" y="0"/>
                    </a:moveTo>
                    <a:lnTo>
                      <a:pt x="8" y="0"/>
                    </a:lnTo>
                    <a:lnTo>
                      <a:pt x="6" y="3"/>
                    </a:lnTo>
                    <a:lnTo>
                      <a:pt x="6" y="6"/>
                    </a:lnTo>
                    <a:lnTo>
                      <a:pt x="3" y="11"/>
                    </a:lnTo>
                    <a:lnTo>
                      <a:pt x="1" y="14"/>
                    </a:lnTo>
                    <a:lnTo>
                      <a:pt x="0" y="16"/>
                    </a:lnTo>
                    <a:lnTo>
                      <a:pt x="0" y="17"/>
                    </a:lnTo>
                    <a:lnTo>
                      <a:pt x="0" y="19"/>
                    </a:lnTo>
                    <a:lnTo>
                      <a:pt x="0" y="222"/>
                    </a:lnTo>
                    <a:lnTo>
                      <a:pt x="198" y="222"/>
                    </a:lnTo>
                    <a:lnTo>
                      <a:pt x="198" y="19"/>
                    </a:lnTo>
                    <a:lnTo>
                      <a:pt x="198" y="17"/>
                    </a:lnTo>
                    <a:lnTo>
                      <a:pt x="196" y="16"/>
                    </a:lnTo>
                    <a:lnTo>
                      <a:pt x="196" y="14"/>
                    </a:lnTo>
                    <a:lnTo>
                      <a:pt x="195" y="11"/>
                    </a:lnTo>
                    <a:lnTo>
                      <a:pt x="192" y="6"/>
                    </a:lnTo>
                    <a:lnTo>
                      <a:pt x="190" y="3"/>
                    </a:lnTo>
                    <a:lnTo>
                      <a:pt x="190" y="0"/>
                    </a:lnTo>
                    <a:lnTo>
                      <a:pt x="190" y="0"/>
                    </a:lnTo>
                    <a:close/>
                  </a:path>
                </a:pathLst>
              </a:custGeom>
              <a:solidFill>
                <a:schemeClr val="bg1"/>
              </a:solidFill>
              <a:ln w="19050">
                <a:noFill/>
                <a:round/>
                <a:headEnd/>
                <a:tailEnd/>
              </a:ln>
              <a:extLst/>
            </p:spPr>
            <p:txBody>
              <a:bodyPr vert="horz" wrap="square" lIns="91416" tIns="45708" rIns="91416" bIns="45708" numCol="1" anchor="t" anchorCtr="0" compatLnSpc="1">
                <a:prstTxWarp prst="textNoShape">
                  <a:avLst/>
                </a:prstTxWarp>
              </a:bodyPr>
              <a:lstStyle/>
              <a:p>
                <a:pPr defTabSz="914126"/>
                <a:endParaRPr lang="en-US" sz="1799">
                  <a:solidFill>
                    <a:prstClr val="black"/>
                  </a:solidFill>
                </a:endParaRPr>
              </a:p>
            </p:txBody>
          </p:sp>
          <p:sp>
            <p:nvSpPr>
              <p:cNvPr id="105" name="Freeform 2018"/>
              <p:cNvSpPr>
                <a:spLocks/>
              </p:cNvSpPr>
              <p:nvPr/>
            </p:nvSpPr>
            <p:spPr bwMode="auto">
              <a:xfrm rot="13465931">
                <a:off x="981286" y="3071906"/>
                <a:ext cx="204971" cy="509330"/>
              </a:xfrm>
              <a:custGeom>
                <a:avLst/>
                <a:gdLst>
                  <a:gd name="T0" fmla="*/ 140 w 198"/>
                  <a:gd name="T1" fmla="*/ 153 h 492"/>
                  <a:gd name="T2" fmla="*/ 164 w 198"/>
                  <a:gd name="T3" fmla="*/ 153 h 492"/>
                  <a:gd name="T4" fmla="*/ 164 w 198"/>
                  <a:gd name="T5" fmla="*/ 129 h 492"/>
                  <a:gd name="T6" fmla="*/ 150 w 198"/>
                  <a:gd name="T7" fmla="*/ 129 h 492"/>
                  <a:gd name="T8" fmla="*/ 140 w 198"/>
                  <a:gd name="T9" fmla="*/ 0 h 492"/>
                  <a:gd name="T10" fmla="*/ 58 w 198"/>
                  <a:gd name="T11" fmla="*/ 0 h 492"/>
                  <a:gd name="T12" fmla="*/ 47 w 198"/>
                  <a:gd name="T13" fmla="*/ 129 h 492"/>
                  <a:gd name="T14" fmla="*/ 34 w 198"/>
                  <a:gd name="T15" fmla="*/ 129 h 492"/>
                  <a:gd name="T16" fmla="*/ 34 w 198"/>
                  <a:gd name="T17" fmla="*/ 153 h 492"/>
                  <a:gd name="T18" fmla="*/ 58 w 198"/>
                  <a:gd name="T19" fmla="*/ 153 h 492"/>
                  <a:gd name="T20" fmla="*/ 58 w 198"/>
                  <a:gd name="T21" fmla="*/ 421 h 492"/>
                  <a:gd name="T22" fmla="*/ 0 w 198"/>
                  <a:gd name="T23" fmla="*/ 421 h 492"/>
                  <a:gd name="T24" fmla="*/ 11 w 198"/>
                  <a:gd name="T25" fmla="*/ 468 h 492"/>
                  <a:gd name="T26" fmla="*/ 34 w 198"/>
                  <a:gd name="T27" fmla="*/ 468 h 492"/>
                  <a:gd name="T28" fmla="*/ 28 w 198"/>
                  <a:gd name="T29" fmla="*/ 473 h 492"/>
                  <a:gd name="T30" fmla="*/ 22 w 198"/>
                  <a:gd name="T31" fmla="*/ 479 h 492"/>
                  <a:gd name="T32" fmla="*/ 15 w 198"/>
                  <a:gd name="T33" fmla="*/ 485 h 492"/>
                  <a:gd name="T34" fmla="*/ 11 w 198"/>
                  <a:gd name="T35" fmla="*/ 492 h 492"/>
                  <a:gd name="T36" fmla="*/ 187 w 198"/>
                  <a:gd name="T37" fmla="*/ 492 h 492"/>
                  <a:gd name="T38" fmla="*/ 184 w 198"/>
                  <a:gd name="T39" fmla="*/ 488 h 492"/>
                  <a:gd name="T40" fmla="*/ 181 w 198"/>
                  <a:gd name="T41" fmla="*/ 485 h 492"/>
                  <a:gd name="T42" fmla="*/ 176 w 198"/>
                  <a:gd name="T43" fmla="*/ 479 h 492"/>
                  <a:gd name="T44" fmla="*/ 168 w 198"/>
                  <a:gd name="T45" fmla="*/ 473 h 492"/>
                  <a:gd name="T46" fmla="*/ 164 w 198"/>
                  <a:gd name="T47" fmla="*/ 468 h 492"/>
                  <a:gd name="T48" fmla="*/ 187 w 198"/>
                  <a:gd name="T49" fmla="*/ 468 h 492"/>
                  <a:gd name="T50" fmla="*/ 198 w 198"/>
                  <a:gd name="T51" fmla="*/ 421 h 492"/>
                  <a:gd name="T52" fmla="*/ 140 w 198"/>
                  <a:gd name="T53" fmla="*/ 421 h 492"/>
                  <a:gd name="T54" fmla="*/ 140 w 198"/>
                  <a:gd name="T55" fmla="*/ 153 h 492"/>
                  <a:gd name="T56" fmla="*/ 140 w 198"/>
                  <a:gd name="T57" fmla="*/ 153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8" h="492">
                    <a:moveTo>
                      <a:pt x="140" y="153"/>
                    </a:moveTo>
                    <a:lnTo>
                      <a:pt x="164" y="153"/>
                    </a:lnTo>
                    <a:lnTo>
                      <a:pt x="164" y="129"/>
                    </a:lnTo>
                    <a:lnTo>
                      <a:pt x="150" y="129"/>
                    </a:lnTo>
                    <a:lnTo>
                      <a:pt x="140" y="0"/>
                    </a:lnTo>
                    <a:lnTo>
                      <a:pt x="58" y="0"/>
                    </a:lnTo>
                    <a:lnTo>
                      <a:pt x="47" y="129"/>
                    </a:lnTo>
                    <a:lnTo>
                      <a:pt x="34" y="129"/>
                    </a:lnTo>
                    <a:lnTo>
                      <a:pt x="34" y="153"/>
                    </a:lnTo>
                    <a:lnTo>
                      <a:pt x="58" y="153"/>
                    </a:lnTo>
                    <a:lnTo>
                      <a:pt x="58" y="421"/>
                    </a:lnTo>
                    <a:lnTo>
                      <a:pt x="0" y="421"/>
                    </a:lnTo>
                    <a:lnTo>
                      <a:pt x="11" y="468"/>
                    </a:lnTo>
                    <a:lnTo>
                      <a:pt x="34" y="468"/>
                    </a:lnTo>
                    <a:lnTo>
                      <a:pt x="28" y="473"/>
                    </a:lnTo>
                    <a:lnTo>
                      <a:pt x="22" y="479"/>
                    </a:lnTo>
                    <a:lnTo>
                      <a:pt x="15" y="485"/>
                    </a:lnTo>
                    <a:lnTo>
                      <a:pt x="11" y="492"/>
                    </a:lnTo>
                    <a:lnTo>
                      <a:pt x="187" y="492"/>
                    </a:lnTo>
                    <a:lnTo>
                      <a:pt x="184" y="488"/>
                    </a:lnTo>
                    <a:lnTo>
                      <a:pt x="181" y="485"/>
                    </a:lnTo>
                    <a:lnTo>
                      <a:pt x="176" y="479"/>
                    </a:lnTo>
                    <a:lnTo>
                      <a:pt x="168" y="473"/>
                    </a:lnTo>
                    <a:lnTo>
                      <a:pt x="164" y="468"/>
                    </a:lnTo>
                    <a:lnTo>
                      <a:pt x="187" y="468"/>
                    </a:lnTo>
                    <a:lnTo>
                      <a:pt x="198" y="421"/>
                    </a:lnTo>
                    <a:lnTo>
                      <a:pt x="140" y="421"/>
                    </a:lnTo>
                    <a:lnTo>
                      <a:pt x="140" y="153"/>
                    </a:lnTo>
                    <a:lnTo>
                      <a:pt x="140" y="153"/>
                    </a:lnTo>
                    <a:close/>
                  </a:path>
                </a:pathLst>
              </a:custGeom>
              <a:solidFill>
                <a:schemeClr val="bg1"/>
              </a:solidFill>
              <a:ln w="19050">
                <a:solidFill>
                  <a:schemeClr val="accent3"/>
                </a:solidFill>
                <a:round/>
                <a:headEnd/>
                <a:tailEnd/>
              </a:ln>
              <a:extLst/>
            </p:spPr>
            <p:txBody>
              <a:bodyPr vert="horz" wrap="square" lIns="91416" tIns="45708" rIns="91416" bIns="45708" numCol="1" anchor="t" anchorCtr="0" compatLnSpc="1">
                <a:prstTxWarp prst="textNoShape">
                  <a:avLst/>
                </a:prstTxWarp>
              </a:bodyPr>
              <a:lstStyle/>
              <a:p>
                <a:pPr defTabSz="914126"/>
                <a:endParaRPr lang="en-US" sz="1799">
                  <a:solidFill>
                    <a:prstClr val="black"/>
                  </a:solidFill>
                </a:endParaRPr>
              </a:p>
            </p:txBody>
          </p:sp>
        </p:grpSp>
        <p:sp>
          <p:nvSpPr>
            <p:cNvPr id="102" name="TextBox 101"/>
            <p:cNvSpPr txBox="1"/>
            <p:nvPr/>
          </p:nvSpPr>
          <p:spPr>
            <a:xfrm rot="18855593">
              <a:off x="1266027" y="2932442"/>
              <a:ext cx="297328" cy="112129"/>
            </a:xfrm>
            <a:prstGeom prst="rect">
              <a:avLst/>
            </a:prstGeom>
            <a:noFill/>
          </p:spPr>
          <p:txBody>
            <a:bodyPr wrap="none" lIns="0" tIns="0" rIns="0" bIns="0" rtlCol="0" anchor="ctr">
              <a:noAutofit/>
            </a:bodyPr>
            <a:lstStyle/>
            <a:p>
              <a:pPr algn="ctr">
                <a:spcAft>
                  <a:spcPts val="600"/>
                </a:spcAft>
              </a:pPr>
              <a:r>
                <a:rPr lang="en-IN" sz="1600" b="1" dirty="0" smtClean="0">
                  <a:solidFill>
                    <a:srgbClr val="68217A"/>
                  </a:solidFill>
                </a:rPr>
                <a:t>Azure</a:t>
              </a:r>
            </a:p>
          </p:txBody>
        </p:sp>
        <p:sp>
          <p:nvSpPr>
            <p:cNvPr id="103" name="TextBox 102"/>
            <p:cNvSpPr txBox="1"/>
            <p:nvPr/>
          </p:nvSpPr>
          <p:spPr>
            <a:xfrm>
              <a:off x="1020114" y="3437459"/>
              <a:ext cx="297328" cy="112129"/>
            </a:xfrm>
            <a:prstGeom prst="rect">
              <a:avLst/>
            </a:prstGeom>
            <a:noFill/>
          </p:spPr>
          <p:txBody>
            <a:bodyPr wrap="none" lIns="0" tIns="0" rIns="0" bIns="0" rtlCol="0" anchor="ctr">
              <a:noAutofit/>
            </a:bodyPr>
            <a:lstStyle/>
            <a:p>
              <a:pPr algn="ctr">
                <a:spcAft>
                  <a:spcPts val="600"/>
                </a:spcAft>
              </a:pPr>
              <a:r>
                <a:rPr lang="en-IN" sz="2000" dirty="0" smtClean="0">
                  <a:solidFill>
                    <a:srgbClr val="FFFFFF"/>
                  </a:solidFill>
                  <a:latin typeface="Segoe UI Semibold" panose="020B0702040204020203" pitchFamily="34" charset="0"/>
                  <a:cs typeface="Segoe UI Semibold" panose="020B0702040204020203" pitchFamily="34" charset="0"/>
                </a:rPr>
                <a:t>SDK</a:t>
              </a:r>
            </a:p>
          </p:txBody>
        </p:sp>
      </p:grpSp>
      <p:grpSp>
        <p:nvGrpSpPr>
          <p:cNvPr id="74" name="Group 73"/>
          <p:cNvGrpSpPr/>
          <p:nvPr/>
        </p:nvGrpSpPr>
        <p:grpSpPr>
          <a:xfrm>
            <a:off x="9914045" y="2179230"/>
            <a:ext cx="1356146" cy="1543643"/>
            <a:chOff x="6837733" y="2174627"/>
            <a:chExt cx="1471848" cy="1675342"/>
          </a:xfrm>
          <a:solidFill>
            <a:schemeClr val="bg1"/>
          </a:solidFill>
        </p:grpSpPr>
        <p:sp>
          <p:nvSpPr>
            <p:cNvPr id="75" name="Round Diagonal Corner Rectangle 53"/>
            <p:cNvSpPr/>
            <p:nvPr/>
          </p:nvSpPr>
          <p:spPr bwMode="auto">
            <a:xfrm>
              <a:off x="6837733" y="2174627"/>
              <a:ext cx="1471848" cy="1675342"/>
            </a:xfrm>
            <a:custGeom>
              <a:avLst/>
              <a:gdLst/>
              <a:ahLst/>
              <a:cxnLst/>
              <a:rect l="l" t="t" r="r" b="b"/>
              <a:pathLst>
                <a:path w="1069848" h="1217762">
                  <a:moveTo>
                    <a:pt x="859964" y="887952"/>
                  </a:moveTo>
                  <a:cubicBezTo>
                    <a:pt x="859964" y="887952"/>
                    <a:pt x="859964" y="887952"/>
                    <a:pt x="859964" y="887953"/>
                  </a:cubicBezTo>
                  <a:lnTo>
                    <a:pt x="859964" y="887953"/>
                  </a:lnTo>
                  <a:close/>
                  <a:moveTo>
                    <a:pt x="823054" y="851043"/>
                  </a:moveTo>
                  <a:lnTo>
                    <a:pt x="246792" y="851043"/>
                  </a:lnTo>
                  <a:cubicBezTo>
                    <a:pt x="226407" y="851043"/>
                    <a:pt x="209882" y="867568"/>
                    <a:pt x="209882" y="887953"/>
                  </a:cubicBezTo>
                  <a:lnTo>
                    <a:pt x="209883" y="887953"/>
                  </a:lnTo>
                  <a:cubicBezTo>
                    <a:pt x="209883" y="908338"/>
                    <a:pt x="226408" y="924863"/>
                    <a:pt x="246793" y="924863"/>
                  </a:cubicBezTo>
                  <a:lnTo>
                    <a:pt x="823054" y="924862"/>
                  </a:lnTo>
                  <a:cubicBezTo>
                    <a:pt x="843439" y="924862"/>
                    <a:pt x="859964" y="908337"/>
                    <a:pt x="859964" y="887953"/>
                  </a:cubicBezTo>
                  <a:cubicBezTo>
                    <a:pt x="859964" y="867568"/>
                    <a:pt x="843439" y="851043"/>
                    <a:pt x="823054" y="851043"/>
                  </a:cubicBezTo>
                  <a:close/>
                  <a:moveTo>
                    <a:pt x="859964" y="716502"/>
                  </a:moveTo>
                  <a:lnTo>
                    <a:pt x="859964" y="716503"/>
                  </a:lnTo>
                  <a:lnTo>
                    <a:pt x="859964" y="716503"/>
                  </a:lnTo>
                  <a:close/>
                  <a:moveTo>
                    <a:pt x="823054" y="679593"/>
                  </a:moveTo>
                  <a:lnTo>
                    <a:pt x="246792" y="679593"/>
                  </a:lnTo>
                  <a:cubicBezTo>
                    <a:pt x="226407" y="679593"/>
                    <a:pt x="209882" y="696118"/>
                    <a:pt x="209882" y="716503"/>
                  </a:cubicBezTo>
                  <a:lnTo>
                    <a:pt x="209883" y="716503"/>
                  </a:lnTo>
                  <a:cubicBezTo>
                    <a:pt x="209883" y="736888"/>
                    <a:pt x="226408" y="753413"/>
                    <a:pt x="246793" y="753413"/>
                  </a:cubicBezTo>
                  <a:lnTo>
                    <a:pt x="823054" y="753412"/>
                  </a:lnTo>
                  <a:cubicBezTo>
                    <a:pt x="843439" y="753412"/>
                    <a:pt x="859964" y="736887"/>
                    <a:pt x="859964" y="716503"/>
                  </a:cubicBezTo>
                  <a:cubicBezTo>
                    <a:pt x="859964" y="696118"/>
                    <a:pt x="843439" y="679593"/>
                    <a:pt x="823054" y="679593"/>
                  </a:cubicBezTo>
                  <a:close/>
                  <a:moveTo>
                    <a:pt x="859964" y="545051"/>
                  </a:moveTo>
                  <a:lnTo>
                    <a:pt x="859964" y="545052"/>
                  </a:lnTo>
                  <a:lnTo>
                    <a:pt x="859964" y="545052"/>
                  </a:lnTo>
                  <a:close/>
                  <a:moveTo>
                    <a:pt x="823054" y="508142"/>
                  </a:moveTo>
                  <a:lnTo>
                    <a:pt x="246792" y="508142"/>
                  </a:lnTo>
                  <a:cubicBezTo>
                    <a:pt x="226407" y="508142"/>
                    <a:pt x="209882" y="524667"/>
                    <a:pt x="209882" y="545052"/>
                  </a:cubicBezTo>
                  <a:lnTo>
                    <a:pt x="209883" y="545052"/>
                  </a:lnTo>
                  <a:cubicBezTo>
                    <a:pt x="209883" y="565437"/>
                    <a:pt x="226408" y="581962"/>
                    <a:pt x="246793" y="581962"/>
                  </a:cubicBezTo>
                  <a:lnTo>
                    <a:pt x="823054" y="581961"/>
                  </a:lnTo>
                  <a:cubicBezTo>
                    <a:pt x="843439" y="581961"/>
                    <a:pt x="859964" y="565436"/>
                    <a:pt x="859964" y="545052"/>
                  </a:cubicBezTo>
                  <a:cubicBezTo>
                    <a:pt x="859964" y="524667"/>
                    <a:pt x="843439" y="508142"/>
                    <a:pt x="823054" y="508142"/>
                  </a:cubicBezTo>
                  <a:close/>
                  <a:moveTo>
                    <a:pt x="607552" y="375982"/>
                  </a:moveTo>
                  <a:lnTo>
                    <a:pt x="607552" y="375983"/>
                  </a:lnTo>
                  <a:lnTo>
                    <a:pt x="607552" y="375983"/>
                  </a:lnTo>
                  <a:close/>
                  <a:moveTo>
                    <a:pt x="570642" y="339073"/>
                  </a:moveTo>
                  <a:lnTo>
                    <a:pt x="246792" y="339073"/>
                  </a:lnTo>
                  <a:cubicBezTo>
                    <a:pt x="226407" y="339073"/>
                    <a:pt x="209882" y="355598"/>
                    <a:pt x="209882" y="375983"/>
                  </a:cubicBezTo>
                  <a:lnTo>
                    <a:pt x="209883" y="375983"/>
                  </a:lnTo>
                  <a:cubicBezTo>
                    <a:pt x="209883" y="396368"/>
                    <a:pt x="226408" y="412893"/>
                    <a:pt x="246793" y="412893"/>
                  </a:cubicBezTo>
                  <a:lnTo>
                    <a:pt x="570642" y="412892"/>
                  </a:lnTo>
                  <a:cubicBezTo>
                    <a:pt x="591027" y="412892"/>
                    <a:pt x="607552" y="396367"/>
                    <a:pt x="607552" y="375983"/>
                  </a:cubicBezTo>
                  <a:cubicBezTo>
                    <a:pt x="607552" y="355598"/>
                    <a:pt x="591027" y="339073"/>
                    <a:pt x="570642" y="339073"/>
                  </a:cubicBezTo>
                  <a:close/>
                  <a:moveTo>
                    <a:pt x="679213" y="74747"/>
                  </a:moveTo>
                  <a:lnTo>
                    <a:pt x="679213" y="291168"/>
                  </a:lnTo>
                  <a:cubicBezTo>
                    <a:pt x="679213" y="325515"/>
                    <a:pt x="707057" y="353359"/>
                    <a:pt x="741404" y="353359"/>
                  </a:cubicBezTo>
                  <a:lnTo>
                    <a:pt x="992124" y="353359"/>
                  </a:lnTo>
                  <a:lnTo>
                    <a:pt x="992124" y="1044200"/>
                  </a:lnTo>
                  <a:cubicBezTo>
                    <a:pt x="992124" y="1097470"/>
                    <a:pt x="971294" y="1150179"/>
                    <a:pt x="897731" y="1140654"/>
                  </a:cubicBezTo>
                  <a:lnTo>
                    <a:pt x="77724" y="1140654"/>
                  </a:lnTo>
                  <a:lnTo>
                    <a:pt x="77724" y="173562"/>
                  </a:lnTo>
                  <a:cubicBezTo>
                    <a:pt x="80105" y="89336"/>
                    <a:pt x="119986" y="77108"/>
                    <a:pt x="172117" y="77108"/>
                  </a:cubicBezTo>
                  <a:close/>
                  <a:moveTo>
                    <a:pt x="733418" y="0"/>
                  </a:moveTo>
                  <a:lnTo>
                    <a:pt x="110440" y="0"/>
                  </a:lnTo>
                  <a:cubicBezTo>
                    <a:pt x="49446" y="0"/>
                    <a:pt x="0" y="49446"/>
                    <a:pt x="0" y="110440"/>
                  </a:cubicBezTo>
                  <a:lnTo>
                    <a:pt x="0" y="1217762"/>
                  </a:lnTo>
                  <a:lnTo>
                    <a:pt x="959408" y="1217762"/>
                  </a:lnTo>
                  <a:cubicBezTo>
                    <a:pt x="1020402" y="1217762"/>
                    <a:pt x="1069848" y="1168316"/>
                    <a:pt x="1069848" y="1107322"/>
                  </a:cubicBezTo>
                  <a:lnTo>
                    <a:pt x="1069848" y="31055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76" name="Freeform 75"/>
            <p:cNvSpPr/>
            <p:nvPr/>
          </p:nvSpPr>
          <p:spPr>
            <a:xfrm>
              <a:off x="6994807" y="2866587"/>
              <a:ext cx="133533" cy="112613"/>
            </a:xfrm>
            <a:custGeom>
              <a:avLst/>
              <a:gdLst>
                <a:gd name="connsiteX0" fmla="*/ 7143 w 1271587"/>
                <a:gd name="connsiteY0" fmla="*/ 604837 h 1064418"/>
                <a:gd name="connsiteX1" fmla="*/ 426243 w 1271587"/>
                <a:gd name="connsiteY1" fmla="*/ 1064418 h 1064418"/>
                <a:gd name="connsiteX2" fmla="*/ 528637 w 1271587"/>
                <a:gd name="connsiteY2" fmla="*/ 1054893 h 1064418"/>
                <a:gd name="connsiteX3" fmla="*/ 1254918 w 1271587"/>
                <a:gd name="connsiteY3" fmla="*/ 273843 h 1064418"/>
                <a:gd name="connsiteX4" fmla="*/ 1271587 w 1271587"/>
                <a:gd name="connsiteY4" fmla="*/ 178593 h 1064418"/>
                <a:gd name="connsiteX5" fmla="*/ 1131093 w 1271587"/>
                <a:gd name="connsiteY5" fmla="*/ 0 h 1064418"/>
                <a:gd name="connsiteX6" fmla="*/ 1038225 w 1271587"/>
                <a:gd name="connsiteY6" fmla="*/ 2381 h 1064418"/>
                <a:gd name="connsiteX7" fmla="*/ 457200 w 1271587"/>
                <a:gd name="connsiteY7" fmla="*/ 595312 h 1064418"/>
                <a:gd name="connsiteX8" fmla="*/ 238125 w 1271587"/>
                <a:gd name="connsiteY8" fmla="*/ 373856 h 1064418"/>
                <a:gd name="connsiteX9" fmla="*/ 126206 w 1271587"/>
                <a:gd name="connsiteY9" fmla="*/ 371475 h 1064418"/>
                <a:gd name="connsiteX10" fmla="*/ 0 w 1271587"/>
                <a:gd name="connsiteY10" fmla="*/ 531018 h 1064418"/>
                <a:gd name="connsiteX11" fmla="*/ 7143 w 1271587"/>
                <a:gd name="connsiteY11" fmla="*/ 604837 h 1064418"/>
                <a:gd name="connsiteX0" fmla="*/ 7143 w 1271587"/>
                <a:gd name="connsiteY0" fmla="*/ 604837 h 1067977"/>
                <a:gd name="connsiteX1" fmla="*/ 426243 w 1271587"/>
                <a:gd name="connsiteY1" fmla="*/ 1064418 h 1067977"/>
                <a:gd name="connsiteX2" fmla="*/ 528637 w 1271587"/>
                <a:gd name="connsiteY2" fmla="*/ 1054893 h 1067977"/>
                <a:gd name="connsiteX3" fmla="*/ 1254918 w 1271587"/>
                <a:gd name="connsiteY3" fmla="*/ 273843 h 1067977"/>
                <a:gd name="connsiteX4" fmla="*/ 1271587 w 1271587"/>
                <a:gd name="connsiteY4" fmla="*/ 178593 h 1067977"/>
                <a:gd name="connsiteX5" fmla="*/ 1131093 w 1271587"/>
                <a:gd name="connsiteY5" fmla="*/ 0 h 1067977"/>
                <a:gd name="connsiteX6" fmla="*/ 1038225 w 1271587"/>
                <a:gd name="connsiteY6" fmla="*/ 2381 h 1067977"/>
                <a:gd name="connsiteX7" fmla="*/ 457200 w 1271587"/>
                <a:gd name="connsiteY7" fmla="*/ 595312 h 1067977"/>
                <a:gd name="connsiteX8" fmla="*/ 238125 w 1271587"/>
                <a:gd name="connsiteY8" fmla="*/ 373856 h 1067977"/>
                <a:gd name="connsiteX9" fmla="*/ 126206 w 1271587"/>
                <a:gd name="connsiteY9" fmla="*/ 371475 h 1067977"/>
                <a:gd name="connsiteX10" fmla="*/ 0 w 1271587"/>
                <a:gd name="connsiteY10" fmla="*/ 531018 h 1067977"/>
                <a:gd name="connsiteX11" fmla="*/ 7143 w 1271587"/>
                <a:gd name="connsiteY11" fmla="*/ 604837 h 1067977"/>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5066"/>
                <a:gd name="connsiteY0" fmla="*/ 604837 h 1077089"/>
                <a:gd name="connsiteX1" fmla="*/ 426243 w 1275066"/>
                <a:gd name="connsiteY1" fmla="*/ 1064418 h 1077089"/>
                <a:gd name="connsiteX2" fmla="*/ 528637 w 1275066"/>
                <a:gd name="connsiteY2" fmla="*/ 1054893 h 1077089"/>
                <a:gd name="connsiteX3" fmla="*/ 1254918 w 1275066"/>
                <a:gd name="connsiteY3" fmla="*/ 273843 h 1077089"/>
                <a:gd name="connsiteX4" fmla="*/ 1271587 w 1275066"/>
                <a:gd name="connsiteY4" fmla="*/ 178593 h 1077089"/>
                <a:gd name="connsiteX5" fmla="*/ 1131093 w 1275066"/>
                <a:gd name="connsiteY5" fmla="*/ 0 h 1077089"/>
                <a:gd name="connsiteX6" fmla="*/ 1038225 w 1275066"/>
                <a:gd name="connsiteY6" fmla="*/ 2381 h 1077089"/>
                <a:gd name="connsiteX7" fmla="*/ 457200 w 1275066"/>
                <a:gd name="connsiteY7" fmla="*/ 595312 h 1077089"/>
                <a:gd name="connsiteX8" fmla="*/ 238125 w 1275066"/>
                <a:gd name="connsiteY8" fmla="*/ 373856 h 1077089"/>
                <a:gd name="connsiteX9" fmla="*/ 126206 w 1275066"/>
                <a:gd name="connsiteY9" fmla="*/ 371475 h 1077089"/>
                <a:gd name="connsiteX10" fmla="*/ 0 w 1275066"/>
                <a:gd name="connsiteY10" fmla="*/ 531018 h 1077089"/>
                <a:gd name="connsiteX11" fmla="*/ 7143 w 1275066"/>
                <a:gd name="connsiteY11" fmla="*/ 604837 h 1077089"/>
                <a:gd name="connsiteX0" fmla="*/ 7143 w 1280284"/>
                <a:gd name="connsiteY0" fmla="*/ 604837 h 1077089"/>
                <a:gd name="connsiteX1" fmla="*/ 426243 w 1280284"/>
                <a:gd name="connsiteY1" fmla="*/ 1064418 h 1077089"/>
                <a:gd name="connsiteX2" fmla="*/ 528637 w 1280284"/>
                <a:gd name="connsiteY2" fmla="*/ 1054893 h 1077089"/>
                <a:gd name="connsiteX3" fmla="*/ 1254918 w 1280284"/>
                <a:gd name="connsiteY3" fmla="*/ 273843 h 1077089"/>
                <a:gd name="connsiteX4" fmla="*/ 1271587 w 1280284"/>
                <a:gd name="connsiteY4" fmla="*/ 178593 h 1077089"/>
                <a:gd name="connsiteX5" fmla="*/ 1131093 w 1280284"/>
                <a:gd name="connsiteY5" fmla="*/ 0 h 1077089"/>
                <a:gd name="connsiteX6" fmla="*/ 1038225 w 1280284"/>
                <a:gd name="connsiteY6" fmla="*/ 2381 h 1077089"/>
                <a:gd name="connsiteX7" fmla="*/ 457200 w 1280284"/>
                <a:gd name="connsiteY7" fmla="*/ 595312 h 1077089"/>
                <a:gd name="connsiteX8" fmla="*/ 238125 w 1280284"/>
                <a:gd name="connsiteY8" fmla="*/ 373856 h 1077089"/>
                <a:gd name="connsiteX9" fmla="*/ 126206 w 1280284"/>
                <a:gd name="connsiteY9" fmla="*/ 371475 h 1077089"/>
                <a:gd name="connsiteX10" fmla="*/ 0 w 1280284"/>
                <a:gd name="connsiteY10" fmla="*/ 531018 h 1077089"/>
                <a:gd name="connsiteX11" fmla="*/ 7143 w 1280284"/>
                <a:gd name="connsiteY11" fmla="*/ 604837 h 1077089"/>
                <a:gd name="connsiteX0" fmla="*/ 7143 w 1282209"/>
                <a:gd name="connsiteY0" fmla="*/ 604837 h 1077089"/>
                <a:gd name="connsiteX1" fmla="*/ 426243 w 1282209"/>
                <a:gd name="connsiteY1" fmla="*/ 1064418 h 1077089"/>
                <a:gd name="connsiteX2" fmla="*/ 528637 w 1282209"/>
                <a:gd name="connsiteY2" fmla="*/ 1054893 h 1077089"/>
                <a:gd name="connsiteX3" fmla="*/ 1254918 w 1282209"/>
                <a:gd name="connsiteY3" fmla="*/ 273843 h 1077089"/>
                <a:gd name="connsiteX4" fmla="*/ 1271587 w 1282209"/>
                <a:gd name="connsiteY4" fmla="*/ 178593 h 1077089"/>
                <a:gd name="connsiteX5" fmla="*/ 1131093 w 1282209"/>
                <a:gd name="connsiteY5" fmla="*/ 0 h 1077089"/>
                <a:gd name="connsiteX6" fmla="*/ 1038225 w 1282209"/>
                <a:gd name="connsiteY6" fmla="*/ 2381 h 1077089"/>
                <a:gd name="connsiteX7" fmla="*/ 457200 w 1282209"/>
                <a:gd name="connsiteY7" fmla="*/ 595312 h 1077089"/>
                <a:gd name="connsiteX8" fmla="*/ 238125 w 1282209"/>
                <a:gd name="connsiteY8" fmla="*/ 373856 h 1077089"/>
                <a:gd name="connsiteX9" fmla="*/ 126206 w 1282209"/>
                <a:gd name="connsiteY9" fmla="*/ 371475 h 1077089"/>
                <a:gd name="connsiteX10" fmla="*/ 0 w 1282209"/>
                <a:gd name="connsiteY10" fmla="*/ 531018 h 1077089"/>
                <a:gd name="connsiteX11" fmla="*/ 7143 w 1282209"/>
                <a:gd name="connsiteY11" fmla="*/ 604837 h 1077089"/>
                <a:gd name="connsiteX0" fmla="*/ 7143 w 1282209"/>
                <a:gd name="connsiteY0" fmla="*/ 602456 h 1074708"/>
                <a:gd name="connsiteX1" fmla="*/ 426243 w 1282209"/>
                <a:gd name="connsiteY1" fmla="*/ 1062037 h 1074708"/>
                <a:gd name="connsiteX2" fmla="*/ 528637 w 1282209"/>
                <a:gd name="connsiteY2" fmla="*/ 1052512 h 1074708"/>
                <a:gd name="connsiteX3" fmla="*/ 1254918 w 1282209"/>
                <a:gd name="connsiteY3" fmla="*/ 271462 h 1074708"/>
                <a:gd name="connsiteX4" fmla="*/ 1271587 w 1282209"/>
                <a:gd name="connsiteY4" fmla="*/ 176212 h 1074708"/>
                <a:gd name="connsiteX5" fmla="*/ 1145381 w 1282209"/>
                <a:gd name="connsiteY5" fmla="*/ 4763 h 1074708"/>
                <a:gd name="connsiteX6" fmla="*/ 1038225 w 1282209"/>
                <a:gd name="connsiteY6" fmla="*/ 0 h 1074708"/>
                <a:gd name="connsiteX7" fmla="*/ 457200 w 1282209"/>
                <a:gd name="connsiteY7" fmla="*/ 592931 h 1074708"/>
                <a:gd name="connsiteX8" fmla="*/ 238125 w 1282209"/>
                <a:gd name="connsiteY8" fmla="*/ 371475 h 1074708"/>
                <a:gd name="connsiteX9" fmla="*/ 126206 w 1282209"/>
                <a:gd name="connsiteY9" fmla="*/ 369094 h 1074708"/>
                <a:gd name="connsiteX10" fmla="*/ 0 w 1282209"/>
                <a:gd name="connsiteY10" fmla="*/ 528637 h 1074708"/>
                <a:gd name="connsiteX11" fmla="*/ 7143 w 1282209"/>
                <a:gd name="connsiteY11" fmla="*/ 602456 h 1074708"/>
                <a:gd name="connsiteX0" fmla="*/ 7143 w 1282209"/>
                <a:gd name="connsiteY0" fmla="*/ 613102 h 1085354"/>
                <a:gd name="connsiteX1" fmla="*/ 426243 w 1282209"/>
                <a:gd name="connsiteY1" fmla="*/ 1072683 h 1085354"/>
                <a:gd name="connsiteX2" fmla="*/ 528637 w 1282209"/>
                <a:gd name="connsiteY2" fmla="*/ 1063158 h 1085354"/>
                <a:gd name="connsiteX3" fmla="*/ 1254918 w 1282209"/>
                <a:gd name="connsiteY3" fmla="*/ 282108 h 1085354"/>
                <a:gd name="connsiteX4" fmla="*/ 1271587 w 1282209"/>
                <a:gd name="connsiteY4" fmla="*/ 186858 h 1085354"/>
                <a:gd name="connsiteX5" fmla="*/ 1145381 w 1282209"/>
                <a:gd name="connsiteY5" fmla="*/ 15409 h 1085354"/>
                <a:gd name="connsiteX6" fmla="*/ 1038225 w 1282209"/>
                <a:gd name="connsiteY6" fmla="*/ 10646 h 1085354"/>
                <a:gd name="connsiteX7" fmla="*/ 457200 w 1282209"/>
                <a:gd name="connsiteY7" fmla="*/ 603577 h 1085354"/>
                <a:gd name="connsiteX8" fmla="*/ 238125 w 1282209"/>
                <a:gd name="connsiteY8" fmla="*/ 382121 h 1085354"/>
                <a:gd name="connsiteX9" fmla="*/ 126206 w 1282209"/>
                <a:gd name="connsiteY9" fmla="*/ 379740 h 1085354"/>
                <a:gd name="connsiteX10" fmla="*/ 0 w 1282209"/>
                <a:gd name="connsiteY10" fmla="*/ 539283 h 1085354"/>
                <a:gd name="connsiteX11" fmla="*/ 7143 w 1282209"/>
                <a:gd name="connsiteY11" fmla="*/ 613102 h 1085354"/>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11641 w 1286707"/>
                <a:gd name="connsiteY0" fmla="*/ 618884 h 1091136"/>
                <a:gd name="connsiteX1" fmla="*/ 430741 w 1286707"/>
                <a:gd name="connsiteY1" fmla="*/ 1078465 h 1091136"/>
                <a:gd name="connsiteX2" fmla="*/ 533135 w 1286707"/>
                <a:gd name="connsiteY2" fmla="*/ 1068940 h 1091136"/>
                <a:gd name="connsiteX3" fmla="*/ 1259416 w 1286707"/>
                <a:gd name="connsiteY3" fmla="*/ 287890 h 1091136"/>
                <a:gd name="connsiteX4" fmla="*/ 1276085 w 1286707"/>
                <a:gd name="connsiteY4" fmla="*/ 192640 h 1091136"/>
                <a:gd name="connsiteX5" fmla="*/ 1149879 w 1286707"/>
                <a:gd name="connsiteY5" fmla="*/ 21191 h 1091136"/>
                <a:gd name="connsiteX6" fmla="*/ 1042723 w 1286707"/>
                <a:gd name="connsiteY6" fmla="*/ 16428 h 1091136"/>
                <a:gd name="connsiteX7" fmla="*/ 461698 w 1286707"/>
                <a:gd name="connsiteY7" fmla="*/ 609359 h 1091136"/>
                <a:gd name="connsiteX8" fmla="*/ 242623 w 1286707"/>
                <a:gd name="connsiteY8" fmla="*/ 387903 h 1091136"/>
                <a:gd name="connsiteX9" fmla="*/ 130704 w 1286707"/>
                <a:gd name="connsiteY9" fmla="*/ 385522 h 1091136"/>
                <a:gd name="connsiteX10" fmla="*/ 11641 w 1286707"/>
                <a:gd name="connsiteY10" fmla="*/ 523633 h 1091136"/>
                <a:gd name="connsiteX11" fmla="*/ 11641 w 1286707"/>
                <a:gd name="connsiteY11" fmla="*/ 618884 h 1091136"/>
                <a:gd name="connsiteX0" fmla="*/ 19645 w 1294711"/>
                <a:gd name="connsiteY0" fmla="*/ 618884 h 1091136"/>
                <a:gd name="connsiteX1" fmla="*/ 438745 w 1294711"/>
                <a:gd name="connsiteY1" fmla="*/ 1078465 h 1091136"/>
                <a:gd name="connsiteX2" fmla="*/ 541139 w 1294711"/>
                <a:gd name="connsiteY2" fmla="*/ 1068940 h 1091136"/>
                <a:gd name="connsiteX3" fmla="*/ 1267420 w 1294711"/>
                <a:gd name="connsiteY3" fmla="*/ 287890 h 1091136"/>
                <a:gd name="connsiteX4" fmla="*/ 1284089 w 1294711"/>
                <a:gd name="connsiteY4" fmla="*/ 192640 h 1091136"/>
                <a:gd name="connsiteX5" fmla="*/ 1157883 w 1294711"/>
                <a:gd name="connsiteY5" fmla="*/ 21191 h 1091136"/>
                <a:gd name="connsiteX6" fmla="*/ 1050727 w 1294711"/>
                <a:gd name="connsiteY6" fmla="*/ 16428 h 1091136"/>
                <a:gd name="connsiteX7" fmla="*/ 469702 w 1294711"/>
                <a:gd name="connsiteY7" fmla="*/ 609359 h 1091136"/>
                <a:gd name="connsiteX8" fmla="*/ 250627 w 1294711"/>
                <a:gd name="connsiteY8" fmla="*/ 387903 h 1091136"/>
                <a:gd name="connsiteX9" fmla="*/ 138708 w 1294711"/>
                <a:gd name="connsiteY9" fmla="*/ 385522 h 1091136"/>
                <a:gd name="connsiteX10" fmla="*/ 19645 w 1294711"/>
                <a:gd name="connsiteY10" fmla="*/ 523633 h 1091136"/>
                <a:gd name="connsiteX11" fmla="*/ 19645 w 1294711"/>
                <a:gd name="connsiteY11" fmla="*/ 618884 h 1091136"/>
                <a:gd name="connsiteX0" fmla="*/ 18763 w 1293829"/>
                <a:gd name="connsiteY0" fmla="*/ 618884 h 1091136"/>
                <a:gd name="connsiteX1" fmla="*/ 437863 w 1293829"/>
                <a:gd name="connsiteY1" fmla="*/ 1078465 h 1091136"/>
                <a:gd name="connsiteX2" fmla="*/ 540257 w 1293829"/>
                <a:gd name="connsiteY2" fmla="*/ 1068940 h 1091136"/>
                <a:gd name="connsiteX3" fmla="*/ 1266538 w 1293829"/>
                <a:gd name="connsiteY3" fmla="*/ 287890 h 1091136"/>
                <a:gd name="connsiteX4" fmla="*/ 1283207 w 1293829"/>
                <a:gd name="connsiteY4" fmla="*/ 192640 h 1091136"/>
                <a:gd name="connsiteX5" fmla="*/ 1157001 w 1293829"/>
                <a:gd name="connsiteY5" fmla="*/ 21191 h 1091136"/>
                <a:gd name="connsiteX6" fmla="*/ 1049845 w 1293829"/>
                <a:gd name="connsiteY6" fmla="*/ 16428 h 1091136"/>
                <a:gd name="connsiteX7" fmla="*/ 468820 w 1293829"/>
                <a:gd name="connsiteY7" fmla="*/ 609359 h 1091136"/>
                <a:gd name="connsiteX8" fmla="*/ 249745 w 1293829"/>
                <a:gd name="connsiteY8" fmla="*/ 387903 h 1091136"/>
                <a:gd name="connsiteX9" fmla="*/ 137826 w 1293829"/>
                <a:gd name="connsiteY9" fmla="*/ 385522 h 1091136"/>
                <a:gd name="connsiteX10" fmla="*/ 18763 w 1293829"/>
                <a:gd name="connsiteY10" fmla="*/ 523633 h 1091136"/>
                <a:gd name="connsiteX11" fmla="*/ 18763 w 1293829"/>
                <a:gd name="connsiteY11" fmla="*/ 618884 h 109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3829" h="1091136">
                  <a:moveTo>
                    <a:pt x="18763" y="618884"/>
                  </a:moveTo>
                  <a:lnTo>
                    <a:pt x="437863" y="1078465"/>
                  </a:lnTo>
                  <a:cubicBezTo>
                    <a:pt x="474375" y="1099102"/>
                    <a:pt x="498981" y="1093547"/>
                    <a:pt x="540257" y="1068940"/>
                  </a:cubicBezTo>
                  <a:cubicBezTo>
                    <a:pt x="782351" y="718103"/>
                    <a:pt x="1067307" y="429177"/>
                    <a:pt x="1266538" y="287890"/>
                  </a:cubicBezTo>
                  <a:cubicBezTo>
                    <a:pt x="1303050" y="251378"/>
                    <a:pt x="1296701" y="222009"/>
                    <a:pt x="1283207" y="192640"/>
                  </a:cubicBezTo>
                  <a:lnTo>
                    <a:pt x="1157001" y="21191"/>
                  </a:lnTo>
                  <a:cubicBezTo>
                    <a:pt x="1126045" y="-11354"/>
                    <a:pt x="1095089" y="-1034"/>
                    <a:pt x="1049845" y="16428"/>
                  </a:cubicBezTo>
                  <a:cubicBezTo>
                    <a:pt x="822833" y="161684"/>
                    <a:pt x="626776" y="366471"/>
                    <a:pt x="468820" y="609359"/>
                  </a:cubicBezTo>
                  <a:lnTo>
                    <a:pt x="249745" y="387903"/>
                  </a:lnTo>
                  <a:cubicBezTo>
                    <a:pt x="210058" y="356153"/>
                    <a:pt x="179894" y="360122"/>
                    <a:pt x="137826" y="385522"/>
                  </a:cubicBezTo>
                  <a:cubicBezTo>
                    <a:pt x="98138" y="431559"/>
                    <a:pt x="58451" y="458546"/>
                    <a:pt x="18763" y="523633"/>
                  </a:cubicBezTo>
                  <a:cubicBezTo>
                    <a:pt x="-5049" y="555383"/>
                    <a:pt x="-7430" y="594278"/>
                    <a:pt x="18763" y="61888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Frame 76"/>
            <p:cNvSpPr/>
            <p:nvPr/>
          </p:nvSpPr>
          <p:spPr bwMode="auto">
            <a:xfrm>
              <a:off x="6960469" y="2866587"/>
              <a:ext cx="153998" cy="148076"/>
            </a:xfrm>
            <a:prstGeom prst="frame">
              <a:avLst>
                <a:gd name="adj1" fmla="val 1322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rgbClr val="FFFFFF"/>
                </a:solidFill>
                <a:latin typeface="Segoe UI Light"/>
                <a:ea typeface="Segoe UI" pitchFamily="34" charset="0"/>
                <a:cs typeface="Segoe UI" pitchFamily="34" charset="0"/>
              </a:endParaRPr>
            </a:p>
          </p:txBody>
        </p:sp>
        <p:sp>
          <p:nvSpPr>
            <p:cNvPr id="78" name="Freeform 77"/>
            <p:cNvSpPr/>
            <p:nvPr/>
          </p:nvSpPr>
          <p:spPr>
            <a:xfrm>
              <a:off x="6994807" y="3091142"/>
              <a:ext cx="133533" cy="112613"/>
            </a:xfrm>
            <a:custGeom>
              <a:avLst/>
              <a:gdLst>
                <a:gd name="connsiteX0" fmla="*/ 7143 w 1271587"/>
                <a:gd name="connsiteY0" fmla="*/ 604837 h 1064418"/>
                <a:gd name="connsiteX1" fmla="*/ 426243 w 1271587"/>
                <a:gd name="connsiteY1" fmla="*/ 1064418 h 1064418"/>
                <a:gd name="connsiteX2" fmla="*/ 528637 w 1271587"/>
                <a:gd name="connsiteY2" fmla="*/ 1054893 h 1064418"/>
                <a:gd name="connsiteX3" fmla="*/ 1254918 w 1271587"/>
                <a:gd name="connsiteY3" fmla="*/ 273843 h 1064418"/>
                <a:gd name="connsiteX4" fmla="*/ 1271587 w 1271587"/>
                <a:gd name="connsiteY4" fmla="*/ 178593 h 1064418"/>
                <a:gd name="connsiteX5" fmla="*/ 1131093 w 1271587"/>
                <a:gd name="connsiteY5" fmla="*/ 0 h 1064418"/>
                <a:gd name="connsiteX6" fmla="*/ 1038225 w 1271587"/>
                <a:gd name="connsiteY6" fmla="*/ 2381 h 1064418"/>
                <a:gd name="connsiteX7" fmla="*/ 457200 w 1271587"/>
                <a:gd name="connsiteY7" fmla="*/ 595312 h 1064418"/>
                <a:gd name="connsiteX8" fmla="*/ 238125 w 1271587"/>
                <a:gd name="connsiteY8" fmla="*/ 373856 h 1064418"/>
                <a:gd name="connsiteX9" fmla="*/ 126206 w 1271587"/>
                <a:gd name="connsiteY9" fmla="*/ 371475 h 1064418"/>
                <a:gd name="connsiteX10" fmla="*/ 0 w 1271587"/>
                <a:gd name="connsiteY10" fmla="*/ 531018 h 1064418"/>
                <a:gd name="connsiteX11" fmla="*/ 7143 w 1271587"/>
                <a:gd name="connsiteY11" fmla="*/ 604837 h 1064418"/>
                <a:gd name="connsiteX0" fmla="*/ 7143 w 1271587"/>
                <a:gd name="connsiteY0" fmla="*/ 604837 h 1067977"/>
                <a:gd name="connsiteX1" fmla="*/ 426243 w 1271587"/>
                <a:gd name="connsiteY1" fmla="*/ 1064418 h 1067977"/>
                <a:gd name="connsiteX2" fmla="*/ 528637 w 1271587"/>
                <a:gd name="connsiteY2" fmla="*/ 1054893 h 1067977"/>
                <a:gd name="connsiteX3" fmla="*/ 1254918 w 1271587"/>
                <a:gd name="connsiteY3" fmla="*/ 273843 h 1067977"/>
                <a:gd name="connsiteX4" fmla="*/ 1271587 w 1271587"/>
                <a:gd name="connsiteY4" fmla="*/ 178593 h 1067977"/>
                <a:gd name="connsiteX5" fmla="*/ 1131093 w 1271587"/>
                <a:gd name="connsiteY5" fmla="*/ 0 h 1067977"/>
                <a:gd name="connsiteX6" fmla="*/ 1038225 w 1271587"/>
                <a:gd name="connsiteY6" fmla="*/ 2381 h 1067977"/>
                <a:gd name="connsiteX7" fmla="*/ 457200 w 1271587"/>
                <a:gd name="connsiteY7" fmla="*/ 595312 h 1067977"/>
                <a:gd name="connsiteX8" fmla="*/ 238125 w 1271587"/>
                <a:gd name="connsiteY8" fmla="*/ 373856 h 1067977"/>
                <a:gd name="connsiteX9" fmla="*/ 126206 w 1271587"/>
                <a:gd name="connsiteY9" fmla="*/ 371475 h 1067977"/>
                <a:gd name="connsiteX10" fmla="*/ 0 w 1271587"/>
                <a:gd name="connsiteY10" fmla="*/ 531018 h 1067977"/>
                <a:gd name="connsiteX11" fmla="*/ 7143 w 1271587"/>
                <a:gd name="connsiteY11" fmla="*/ 604837 h 1067977"/>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5066"/>
                <a:gd name="connsiteY0" fmla="*/ 604837 h 1077089"/>
                <a:gd name="connsiteX1" fmla="*/ 426243 w 1275066"/>
                <a:gd name="connsiteY1" fmla="*/ 1064418 h 1077089"/>
                <a:gd name="connsiteX2" fmla="*/ 528637 w 1275066"/>
                <a:gd name="connsiteY2" fmla="*/ 1054893 h 1077089"/>
                <a:gd name="connsiteX3" fmla="*/ 1254918 w 1275066"/>
                <a:gd name="connsiteY3" fmla="*/ 273843 h 1077089"/>
                <a:gd name="connsiteX4" fmla="*/ 1271587 w 1275066"/>
                <a:gd name="connsiteY4" fmla="*/ 178593 h 1077089"/>
                <a:gd name="connsiteX5" fmla="*/ 1131093 w 1275066"/>
                <a:gd name="connsiteY5" fmla="*/ 0 h 1077089"/>
                <a:gd name="connsiteX6" fmla="*/ 1038225 w 1275066"/>
                <a:gd name="connsiteY6" fmla="*/ 2381 h 1077089"/>
                <a:gd name="connsiteX7" fmla="*/ 457200 w 1275066"/>
                <a:gd name="connsiteY7" fmla="*/ 595312 h 1077089"/>
                <a:gd name="connsiteX8" fmla="*/ 238125 w 1275066"/>
                <a:gd name="connsiteY8" fmla="*/ 373856 h 1077089"/>
                <a:gd name="connsiteX9" fmla="*/ 126206 w 1275066"/>
                <a:gd name="connsiteY9" fmla="*/ 371475 h 1077089"/>
                <a:gd name="connsiteX10" fmla="*/ 0 w 1275066"/>
                <a:gd name="connsiteY10" fmla="*/ 531018 h 1077089"/>
                <a:gd name="connsiteX11" fmla="*/ 7143 w 1275066"/>
                <a:gd name="connsiteY11" fmla="*/ 604837 h 1077089"/>
                <a:gd name="connsiteX0" fmla="*/ 7143 w 1280284"/>
                <a:gd name="connsiteY0" fmla="*/ 604837 h 1077089"/>
                <a:gd name="connsiteX1" fmla="*/ 426243 w 1280284"/>
                <a:gd name="connsiteY1" fmla="*/ 1064418 h 1077089"/>
                <a:gd name="connsiteX2" fmla="*/ 528637 w 1280284"/>
                <a:gd name="connsiteY2" fmla="*/ 1054893 h 1077089"/>
                <a:gd name="connsiteX3" fmla="*/ 1254918 w 1280284"/>
                <a:gd name="connsiteY3" fmla="*/ 273843 h 1077089"/>
                <a:gd name="connsiteX4" fmla="*/ 1271587 w 1280284"/>
                <a:gd name="connsiteY4" fmla="*/ 178593 h 1077089"/>
                <a:gd name="connsiteX5" fmla="*/ 1131093 w 1280284"/>
                <a:gd name="connsiteY5" fmla="*/ 0 h 1077089"/>
                <a:gd name="connsiteX6" fmla="*/ 1038225 w 1280284"/>
                <a:gd name="connsiteY6" fmla="*/ 2381 h 1077089"/>
                <a:gd name="connsiteX7" fmla="*/ 457200 w 1280284"/>
                <a:gd name="connsiteY7" fmla="*/ 595312 h 1077089"/>
                <a:gd name="connsiteX8" fmla="*/ 238125 w 1280284"/>
                <a:gd name="connsiteY8" fmla="*/ 373856 h 1077089"/>
                <a:gd name="connsiteX9" fmla="*/ 126206 w 1280284"/>
                <a:gd name="connsiteY9" fmla="*/ 371475 h 1077089"/>
                <a:gd name="connsiteX10" fmla="*/ 0 w 1280284"/>
                <a:gd name="connsiteY10" fmla="*/ 531018 h 1077089"/>
                <a:gd name="connsiteX11" fmla="*/ 7143 w 1280284"/>
                <a:gd name="connsiteY11" fmla="*/ 604837 h 1077089"/>
                <a:gd name="connsiteX0" fmla="*/ 7143 w 1282209"/>
                <a:gd name="connsiteY0" fmla="*/ 604837 h 1077089"/>
                <a:gd name="connsiteX1" fmla="*/ 426243 w 1282209"/>
                <a:gd name="connsiteY1" fmla="*/ 1064418 h 1077089"/>
                <a:gd name="connsiteX2" fmla="*/ 528637 w 1282209"/>
                <a:gd name="connsiteY2" fmla="*/ 1054893 h 1077089"/>
                <a:gd name="connsiteX3" fmla="*/ 1254918 w 1282209"/>
                <a:gd name="connsiteY3" fmla="*/ 273843 h 1077089"/>
                <a:gd name="connsiteX4" fmla="*/ 1271587 w 1282209"/>
                <a:gd name="connsiteY4" fmla="*/ 178593 h 1077089"/>
                <a:gd name="connsiteX5" fmla="*/ 1131093 w 1282209"/>
                <a:gd name="connsiteY5" fmla="*/ 0 h 1077089"/>
                <a:gd name="connsiteX6" fmla="*/ 1038225 w 1282209"/>
                <a:gd name="connsiteY6" fmla="*/ 2381 h 1077089"/>
                <a:gd name="connsiteX7" fmla="*/ 457200 w 1282209"/>
                <a:gd name="connsiteY7" fmla="*/ 595312 h 1077089"/>
                <a:gd name="connsiteX8" fmla="*/ 238125 w 1282209"/>
                <a:gd name="connsiteY8" fmla="*/ 373856 h 1077089"/>
                <a:gd name="connsiteX9" fmla="*/ 126206 w 1282209"/>
                <a:gd name="connsiteY9" fmla="*/ 371475 h 1077089"/>
                <a:gd name="connsiteX10" fmla="*/ 0 w 1282209"/>
                <a:gd name="connsiteY10" fmla="*/ 531018 h 1077089"/>
                <a:gd name="connsiteX11" fmla="*/ 7143 w 1282209"/>
                <a:gd name="connsiteY11" fmla="*/ 604837 h 1077089"/>
                <a:gd name="connsiteX0" fmla="*/ 7143 w 1282209"/>
                <a:gd name="connsiteY0" fmla="*/ 602456 h 1074708"/>
                <a:gd name="connsiteX1" fmla="*/ 426243 w 1282209"/>
                <a:gd name="connsiteY1" fmla="*/ 1062037 h 1074708"/>
                <a:gd name="connsiteX2" fmla="*/ 528637 w 1282209"/>
                <a:gd name="connsiteY2" fmla="*/ 1052512 h 1074708"/>
                <a:gd name="connsiteX3" fmla="*/ 1254918 w 1282209"/>
                <a:gd name="connsiteY3" fmla="*/ 271462 h 1074708"/>
                <a:gd name="connsiteX4" fmla="*/ 1271587 w 1282209"/>
                <a:gd name="connsiteY4" fmla="*/ 176212 h 1074708"/>
                <a:gd name="connsiteX5" fmla="*/ 1145381 w 1282209"/>
                <a:gd name="connsiteY5" fmla="*/ 4763 h 1074708"/>
                <a:gd name="connsiteX6" fmla="*/ 1038225 w 1282209"/>
                <a:gd name="connsiteY6" fmla="*/ 0 h 1074708"/>
                <a:gd name="connsiteX7" fmla="*/ 457200 w 1282209"/>
                <a:gd name="connsiteY7" fmla="*/ 592931 h 1074708"/>
                <a:gd name="connsiteX8" fmla="*/ 238125 w 1282209"/>
                <a:gd name="connsiteY8" fmla="*/ 371475 h 1074708"/>
                <a:gd name="connsiteX9" fmla="*/ 126206 w 1282209"/>
                <a:gd name="connsiteY9" fmla="*/ 369094 h 1074708"/>
                <a:gd name="connsiteX10" fmla="*/ 0 w 1282209"/>
                <a:gd name="connsiteY10" fmla="*/ 528637 h 1074708"/>
                <a:gd name="connsiteX11" fmla="*/ 7143 w 1282209"/>
                <a:gd name="connsiteY11" fmla="*/ 602456 h 1074708"/>
                <a:gd name="connsiteX0" fmla="*/ 7143 w 1282209"/>
                <a:gd name="connsiteY0" fmla="*/ 613102 h 1085354"/>
                <a:gd name="connsiteX1" fmla="*/ 426243 w 1282209"/>
                <a:gd name="connsiteY1" fmla="*/ 1072683 h 1085354"/>
                <a:gd name="connsiteX2" fmla="*/ 528637 w 1282209"/>
                <a:gd name="connsiteY2" fmla="*/ 1063158 h 1085354"/>
                <a:gd name="connsiteX3" fmla="*/ 1254918 w 1282209"/>
                <a:gd name="connsiteY3" fmla="*/ 282108 h 1085354"/>
                <a:gd name="connsiteX4" fmla="*/ 1271587 w 1282209"/>
                <a:gd name="connsiteY4" fmla="*/ 186858 h 1085354"/>
                <a:gd name="connsiteX5" fmla="*/ 1145381 w 1282209"/>
                <a:gd name="connsiteY5" fmla="*/ 15409 h 1085354"/>
                <a:gd name="connsiteX6" fmla="*/ 1038225 w 1282209"/>
                <a:gd name="connsiteY6" fmla="*/ 10646 h 1085354"/>
                <a:gd name="connsiteX7" fmla="*/ 457200 w 1282209"/>
                <a:gd name="connsiteY7" fmla="*/ 603577 h 1085354"/>
                <a:gd name="connsiteX8" fmla="*/ 238125 w 1282209"/>
                <a:gd name="connsiteY8" fmla="*/ 382121 h 1085354"/>
                <a:gd name="connsiteX9" fmla="*/ 126206 w 1282209"/>
                <a:gd name="connsiteY9" fmla="*/ 379740 h 1085354"/>
                <a:gd name="connsiteX10" fmla="*/ 0 w 1282209"/>
                <a:gd name="connsiteY10" fmla="*/ 539283 h 1085354"/>
                <a:gd name="connsiteX11" fmla="*/ 7143 w 1282209"/>
                <a:gd name="connsiteY11" fmla="*/ 613102 h 1085354"/>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11641 w 1286707"/>
                <a:gd name="connsiteY0" fmla="*/ 618884 h 1091136"/>
                <a:gd name="connsiteX1" fmla="*/ 430741 w 1286707"/>
                <a:gd name="connsiteY1" fmla="*/ 1078465 h 1091136"/>
                <a:gd name="connsiteX2" fmla="*/ 533135 w 1286707"/>
                <a:gd name="connsiteY2" fmla="*/ 1068940 h 1091136"/>
                <a:gd name="connsiteX3" fmla="*/ 1259416 w 1286707"/>
                <a:gd name="connsiteY3" fmla="*/ 287890 h 1091136"/>
                <a:gd name="connsiteX4" fmla="*/ 1276085 w 1286707"/>
                <a:gd name="connsiteY4" fmla="*/ 192640 h 1091136"/>
                <a:gd name="connsiteX5" fmla="*/ 1149879 w 1286707"/>
                <a:gd name="connsiteY5" fmla="*/ 21191 h 1091136"/>
                <a:gd name="connsiteX6" fmla="*/ 1042723 w 1286707"/>
                <a:gd name="connsiteY6" fmla="*/ 16428 h 1091136"/>
                <a:gd name="connsiteX7" fmla="*/ 461698 w 1286707"/>
                <a:gd name="connsiteY7" fmla="*/ 609359 h 1091136"/>
                <a:gd name="connsiteX8" fmla="*/ 242623 w 1286707"/>
                <a:gd name="connsiteY8" fmla="*/ 387903 h 1091136"/>
                <a:gd name="connsiteX9" fmla="*/ 130704 w 1286707"/>
                <a:gd name="connsiteY9" fmla="*/ 385522 h 1091136"/>
                <a:gd name="connsiteX10" fmla="*/ 11641 w 1286707"/>
                <a:gd name="connsiteY10" fmla="*/ 523633 h 1091136"/>
                <a:gd name="connsiteX11" fmla="*/ 11641 w 1286707"/>
                <a:gd name="connsiteY11" fmla="*/ 618884 h 1091136"/>
                <a:gd name="connsiteX0" fmla="*/ 19645 w 1294711"/>
                <a:gd name="connsiteY0" fmla="*/ 618884 h 1091136"/>
                <a:gd name="connsiteX1" fmla="*/ 438745 w 1294711"/>
                <a:gd name="connsiteY1" fmla="*/ 1078465 h 1091136"/>
                <a:gd name="connsiteX2" fmla="*/ 541139 w 1294711"/>
                <a:gd name="connsiteY2" fmla="*/ 1068940 h 1091136"/>
                <a:gd name="connsiteX3" fmla="*/ 1267420 w 1294711"/>
                <a:gd name="connsiteY3" fmla="*/ 287890 h 1091136"/>
                <a:gd name="connsiteX4" fmla="*/ 1284089 w 1294711"/>
                <a:gd name="connsiteY4" fmla="*/ 192640 h 1091136"/>
                <a:gd name="connsiteX5" fmla="*/ 1157883 w 1294711"/>
                <a:gd name="connsiteY5" fmla="*/ 21191 h 1091136"/>
                <a:gd name="connsiteX6" fmla="*/ 1050727 w 1294711"/>
                <a:gd name="connsiteY6" fmla="*/ 16428 h 1091136"/>
                <a:gd name="connsiteX7" fmla="*/ 469702 w 1294711"/>
                <a:gd name="connsiteY7" fmla="*/ 609359 h 1091136"/>
                <a:gd name="connsiteX8" fmla="*/ 250627 w 1294711"/>
                <a:gd name="connsiteY8" fmla="*/ 387903 h 1091136"/>
                <a:gd name="connsiteX9" fmla="*/ 138708 w 1294711"/>
                <a:gd name="connsiteY9" fmla="*/ 385522 h 1091136"/>
                <a:gd name="connsiteX10" fmla="*/ 19645 w 1294711"/>
                <a:gd name="connsiteY10" fmla="*/ 523633 h 1091136"/>
                <a:gd name="connsiteX11" fmla="*/ 19645 w 1294711"/>
                <a:gd name="connsiteY11" fmla="*/ 618884 h 1091136"/>
                <a:gd name="connsiteX0" fmla="*/ 18763 w 1293829"/>
                <a:gd name="connsiteY0" fmla="*/ 618884 h 1091136"/>
                <a:gd name="connsiteX1" fmla="*/ 437863 w 1293829"/>
                <a:gd name="connsiteY1" fmla="*/ 1078465 h 1091136"/>
                <a:gd name="connsiteX2" fmla="*/ 540257 w 1293829"/>
                <a:gd name="connsiteY2" fmla="*/ 1068940 h 1091136"/>
                <a:gd name="connsiteX3" fmla="*/ 1266538 w 1293829"/>
                <a:gd name="connsiteY3" fmla="*/ 287890 h 1091136"/>
                <a:gd name="connsiteX4" fmla="*/ 1283207 w 1293829"/>
                <a:gd name="connsiteY4" fmla="*/ 192640 h 1091136"/>
                <a:gd name="connsiteX5" fmla="*/ 1157001 w 1293829"/>
                <a:gd name="connsiteY5" fmla="*/ 21191 h 1091136"/>
                <a:gd name="connsiteX6" fmla="*/ 1049845 w 1293829"/>
                <a:gd name="connsiteY6" fmla="*/ 16428 h 1091136"/>
                <a:gd name="connsiteX7" fmla="*/ 468820 w 1293829"/>
                <a:gd name="connsiteY7" fmla="*/ 609359 h 1091136"/>
                <a:gd name="connsiteX8" fmla="*/ 249745 w 1293829"/>
                <a:gd name="connsiteY8" fmla="*/ 387903 h 1091136"/>
                <a:gd name="connsiteX9" fmla="*/ 137826 w 1293829"/>
                <a:gd name="connsiteY9" fmla="*/ 385522 h 1091136"/>
                <a:gd name="connsiteX10" fmla="*/ 18763 w 1293829"/>
                <a:gd name="connsiteY10" fmla="*/ 523633 h 1091136"/>
                <a:gd name="connsiteX11" fmla="*/ 18763 w 1293829"/>
                <a:gd name="connsiteY11" fmla="*/ 618884 h 109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3829" h="1091136">
                  <a:moveTo>
                    <a:pt x="18763" y="618884"/>
                  </a:moveTo>
                  <a:lnTo>
                    <a:pt x="437863" y="1078465"/>
                  </a:lnTo>
                  <a:cubicBezTo>
                    <a:pt x="474375" y="1099102"/>
                    <a:pt x="498981" y="1093547"/>
                    <a:pt x="540257" y="1068940"/>
                  </a:cubicBezTo>
                  <a:cubicBezTo>
                    <a:pt x="782351" y="718103"/>
                    <a:pt x="1067307" y="429177"/>
                    <a:pt x="1266538" y="287890"/>
                  </a:cubicBezTo>
                  <a:cubicBezTo>
                    <a:pt x="1303050" y="251378"/>
                    <a:pt x="1296701" y="222009"/>
                    <a:pt x="1283207" y="192640"/>
                  </a:cubicBezTo>
                  <a:lnTo>
                    <a:pt x="1157001" y="21191"/>
                  </a:lnTo>
                  <a:cubicBezTo>
                    <a:pt x="1126045" y="-11354"/>
                    <a:pt x="1095089" y="-1034"/>
                    <a:pt x="1049845" y="16428"/>
                  </a:cubicBezTo>
                  <a:cubicBezTo>
                    <a:pt x="822833" y="161684"/>
                    <a:pt x="626776" y="366471"/>
                    <a:pt x="468820" y="609359"/>
                  </a:cubicBezTo>
                  <a:lnTo>
                    <a:pt x="249745" y="387903"/>
                  </a:lnTo>
                  <a:cubicBezTo>
                    <a:pt x="210058" y="356153"/>
                    <a:pt x="179894" y="360122"/>
                    <a:pt x="137826" y="385522"/>
                  </a:cubicBezTo>
                  <a:cubicBezTo>
                    <a:pt x="98138" y="431559"/>
                    <a:pt x="58451" y="458546"/>
                    <a:pt x="18763" y="523633"/>
                  </a:cubicBezTo>
                  <a:cubicBezTo>
                    <a:pt x="-5049" y="555383"/>
                    <a:pt x="-7430" y="594278"/>
                    <a:pt x="18763" y="61888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Frame 78"/>
            <p:cNvSpPr/>
            <p:nvPr/>
          </p:nvSpPr>
          <p:spPr bwMode="auto">
            <a:xfrm>
              <a:off x="6960469" y="3091142"/>
              <a:ext cx="153998" cy="148076"/>
            </a:xfrm>
            <a:prstGeom prst="frame">
              <a:avLst>
                <a:gd name="adj1" fmla="val 1322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rgbClr val="FFFFFF"/>
                </a:solidFill>
                <a:latin typeface="Segoe UI Light"/>
                <a:ea typeface="Segoe UI" pitchFamily="34" charset="0"/>
                <a:cs typeface="Segoe UI" pitchFamily="34" charset="0"/>
              </a:endParaRPr>
            </a:p>
          </p:txBody>
        </p:sp>
        <p:sp>
          <p:nvSpPr>
            <p:cNvPr id="80" name="Freeform 79"/>
            <p:cNvSpPr/>
            <p:nvPr/>
          </p:nvSpPr>
          <p:spPr>
            <a:xfrm>
              <a:off x="6994807" y="3319987"/>
              <a:ext cx="133533" cy="112613"/>
            </a:xfrm>
            <a:custGeom>
              <a:avLst/>
              <a:gdLst>
                <a:gd name="connsiteX0" fmla="*/ 7143 w 1271587"/>
                <a:gd name="connsiteY0" fmla="*/ 604837 h 1064418"/>
                <a:gd name="connsiteX1" fmla="*/ 426243 w 1271587"/>
                <a:gd name="connsiteY1" fmla="*/ 1064418 h 1064418"/>
                <a:gd name="connsiteX2" fmla="*/ 528637 w 1271587"/>
                <a:gd name="connsiteY2" fmla="*/ 1054893 h 1064418"/>
                <a:gd name="connsiteX3" fmla="*/ 1254918 w 1271587"/>
                <a:gd name="connsiteY3" fmla="*/ 273843 h 1064418"/>
                <a:gd name="connsiteX4" fmla="*/ 1271587 w 1271587"/>
                <a:gd name="connsiteY4" fmla="*/ 178593 h 1064418"/>
                <a:gd name="connsiteX5" fmla="*/ 1131093 w 1271587"/>
                <a:gd name="connsiteY5" fmla="*/ 0 h 1064418"/>
                <a:gd name="connsiteX6" fmla="*/ 1038225 w 1271587"/>
                <a:gd name="connsiteY6" fmla="*/ 2381 h 1064418"/>
                <a:gd name="connsiteX7" fmla="*/ 457200 w 1271587"/>
                <a:gd name="connsiteY7" fmla="*/ 595312 h 1064418"/>
                <a:gd name="connsiteX8" fmla="*/ 238125 w 1271587"/>
                <a:gd name="connsiteY8" fmla="*/ 373856 h 1064418"/>
                <a:gd name="connsiteX9" fmla="*/ 126206 w 1271587"/>
                <a:gd name="connsiteY9" fmla="*/ 371475 h 1064418"/>
                <a:gd name="connsiteX10" fmla="*/ 0 w 1271587"/>
                <a:gd name="connsiteY10" fmla="*/ 531018 h 1064418"/>
                <a:gd name="connsiteX11" fmla="*/ 7143 w 1271587"/>
                <a:gd name="connsiteY11" fmla="*/ 604837 h 1064418"/>
                <a:gd name="connsiteX0" fmla="*/ 7143 w 1271587"/>
                <a:gd name="connsiteY0" fmla="*/ 604837 h 1067977"/>
                <a:gd name="connsiteX1" fmla="*/ 426243 w 1271587"/>
                <a:gd name="connsiteY1" fmla="*/ 1064418 h 1067977"/>
                <a:gd name="connsiteX2" fmla="*/ 528637 w 1271587"/>
                <a:gd name="connsiteY2" fmla="*/ 1054893 h 1067977"/>
                <a:gd name="connsiteX3" fmla="*/ 1254918 w 1271587"/>
                <a:gd name="connsiteY3" fmla="*/ 273843 h 1067977"/>
                <a:gd name="connsiteX4" fmla="*/ 1271587 w 1271587"/>
                <a:gd name="connsiteY4" fmla="*/ 178593 h 1067977"/>
                <a:gd name="connsiteX5" fmla="*/ 1131093 w 1271587"/>
                <a:gd name="connsiteY5" fmla="*/ 0 h 1067977"/>
                <a:gd name="connsiteX6" fmla="*/ 1038225 w 1271587"/>
                <a:gd name="connsiteY6" fmla="*/ 2381 h 1067977"/>
                <a:gd name="connsiteX7" fmla="*/ 457200 w 1271587"/>
                <a:gd name="connsiteY7" fmla="*/ 595312 h 1067977"/>
                <a:gd name="connsiteX8" fmla="*/ 238125 w 1271587"/>
                <a:gd name="connsiteY8" fmla="*/ 373856 h 1067977"/>
                <a:gd name="connsiteX9" fmla="*/ 126206 w 1271587"/>
                <a:gd name="connsiteY9" fmla="*/ 371475 h 1067977"/>
                <a:gd name="connsiteX10" fmla="*/ 0 w 1271587"/>
                <a:gd name="connsiteY10" fmla="*/ 531018 h 1067977"/>
                <a:gd name="connsiteX11" fmla="*/ 7143 w 1271587"/>
                <a:gd name="connsiteY11" fmla="*/ 604837 h 1067977"/>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5066"/>
                <a:gd name="connsiteY0" fmla="*/ 604837 h 1077089"/>
                <a:gd name="connsiteX1" fmla="*/ 426243 w 1275066"/>
                <a:gd name="connsiteY1" fmla="*/ 1064418 h 1077089"/>
                <a:gd name="connsiteX2" fmla="*/ 528637 w 1275066"/>
                <a:gd name="connsiteY2" fmla="*/ 1054893 h 1077089"/>
                <a:gd name="connsiteX3" fmla="*/ 1254918 w 1275066"/>
                <a:gd name="connsiteY3" fmla="*/ 273843 h 1077089"/>
                <a:gd name="connsiteX4" fmla="*/ 1271587 w 1275066"/>
                <a:gd name="connsiteY4" fmla="*/ 178593 h 1077089"/>
                <a:gd name="connsiteX5" fmla="*/ 1131093 w 1275066"/>
                <a:gd name="connsiteY5" fmla="*/ 0 h 1077089"/>
                <a:gd name="connsiteX6" fmla="*/ 1038225 w 1275066"/>
                <a:gd name="connsiteY6" fmla="*/ 2381 h 1077089"/>
                <a:gd name="connsiteX7" fmla="*/ 457200 w 1275066"/>
                <a:gd name="connsiteY7" fmla="*/ 595312 h 1077089"/>
                <a:gd name="connsiteX8" fmla="*/ 238125 w 1275066"/>
                <a:gd name="connsiteY8" fmla="*/ 373856 h 1077089"/>
                <a:gd name="connsiteX9" fmla="*/ 126206 w 1275066"/>
                <a:gd name="connsiteY9" fmla="*/ 371475 h 1077089"/>
                <a:gd name="connsiteX10" fmla="*/ 0 w 1275066"/>
                <a:gd name="connsiteY10" fmla="*/ 531018 h 1077089"/>
                <a:gd name="connsiteX11" fmla="*/ 7143 w 1275066"/>
                <a:gd name="connsiteY11" fmla="*/ 604837 h 1077089"/>
                <a:gd name="connsiteX0" fmla="*/ 7143 w 1280284"/>
                <a:gd name="connsiteY0" fmla="*/ 604837 h 1077089"/>
                <a:gd name="connsiteX1" fmla="*/ 426243 w 1280284"/>
                <a:gd name="connsiteY1" fmla="*/ 1064418 h 1077089"/>
                <a:gd name="connsiteX2" fmla="*/ 528637 w 1280284"/>
                <a:gd name="connsiteY2" fmla="*/ 1054893 h 1077089"/>
                <a:gd name="connsiteX3" fmla="*/ 1254918 w 1280284"/>
                <a:gd name="connsiteY3" fmla="*/ 273843 h 1077089"/>
                <a:gd name="connsiteX4" fmla="*/ 1271587 w 1280284"/>
                <a:gd name="connsiteY4" fmla="*/ 178593 h 1077089"/>
                <a:gd name="connsiteX5" fmla="*/ 1131093 w 1280284"/>
                <a:gd name="connsiteY5" fmla="*/ 0 h 1077089"/>
                <a:gd name="connsiteX6" fmla="*/ 1038225 w 1280284"/>
                <a:gd name="connsiteY6" fmla="*/ 2381 h 1077089"/>
                <a:gd name="connsiteX7" fmla="*/ 457200 w 1280284"/>
                <a:gd name="connsiteY7" fmla="*/ 595312 h 1077089"/>
                <a:gd name="connsiteX8" fmla="*/ 238125 w 1280284"/>
                <a:gd name="connsiteY8" fmla="*/ 373856 h 1077089"/>
                <a:gd name="connsiteX9" fmla="*/ 126206 w 1280284"/>
                <a:gd name="connsiteY9" fmla="*/ 371475 h 1077089"/>
                <a:gd name="connsiteX10" fmla="*/ 0 w 1280284"/>
                <a:gd name="connsiteY10" fmla="*/ 531018 h 1077089"/>
                <a:gd name="connsiteX11" fmla="*/ 7143 w 1280284"/>
                <a:gd name="connsiteY11" fmla="*/ 604837 h 1077089"/>
                <a:gd name="connsiteX0" fmla="*/ 7143 w 1282209"/>
                <a:gd name="connsiteY0" fmla="*/ 604837 h 1077089"/>
                <a:gd name="connsiteX1" fmla="*/ 426243 w 1282209"/>
                <a:gd name="connsiteY1" fmla="*/ 1064418 h 1077089"/>
                <a:gd name="connsiteX2" fmla="*/ 528637 w 1282209"/>
                <a:gd name="connsiteY2" fmla="*/ 1054893 h 1077089"/>
                <a:gd name="connsiteX3" fmla="*/ 1254918 w 1282209"/>
                <a:gd name="connsiteY3" fmla="*/ 273843 h 1077089"/>
                <a:gd name="connsiteX4" fmla="*/ 1271587 w 1282209"/>
                <a:gd name="connsiteY4" fmla="*/ 178593 h 1077089"/>
                <a:gd name="connsiteX5" fmla="*/ 1131093 w 1282209"/>
                <a:gd name="connsiteY5" fmla="*/ 0 h 1077089"/>
                <a:gd name="connsiteX6" fmla="*/ 1038225 w 1282209"/>
                <a:gd name="connsiteY6" fmla="*/ 2381 h 1077089"/>
                <a:gd name="connsiteX7" fmla="*/ 457200 w 1282209"/>
                <a:gd name="connsiteY7" fmla="*/ 595312 h 1077089"/>
                <a:gd name="connsiteX8" fmla="*/ 238125 w 1282209"/>
                <a:gd name="connsiteY8" fmla="*/ 373856 h 1077089"/>
                <a:gd name="connsiteX9" fmla="*/ 126206 w 1282209"/>
                <a:gd name="connsiteY9" fmla="*/ 371475 h 1077089"/>
                <a:gd name="connsiteX10" fmla="*/ 0 w 1282209"/>
                <a:gd name="connsiteY10" fmla="*/ 531018 h 1077089"/>
                <a:gd name="connsiteX11" fmla="*/ 7143 w 1282209"/>
                <a:gd name="connsiteY11" fmla="*/ 604837 h 1077089"/>
                <a:gd name="connsiteX0" fmla="*/ 7143 w 1282209"/>
                <a:gd name="connsiteY0" fmla="*/ 602456 h 1074708"/>
                <a:gd name="connsiteX1" fmla="*/ 426243 w 1282209"/>
                <a:gd name="connsiteY1" fmla="*/ 1062037 h 1074708"/>
                <a:gd name="connsiteX2" fmla="*/ 528637 w 1282209"/>
                <a:gd name="connsiteY2" fmla="*/ 1052512 h 1074708"/>
                <a:gd name="connsiteX3" fmla="*/ 1254918 w 1282209"/>
                <a:gd name="connsiteY3" fmla="*/ 271462 h 1074708"/>
                <a:gd name="connsiteX4" fmla="*/ 1271587 w 1282209"/>
                <a:gd name="connsiteY4" fmla="*/ 176212 h 1074708"/>
                <a:gd name="connsiteX5" fmla="*/ 1145381 w 1282209"/>
                <a:gd name="connsiteY5" fmla="*/ 4763 h 1074708"/>
                <a:gd name="connsiteX6" fmla="*/ 1038225 w 1282209"/>
                <a:gd name="connsiteY6" fmla="*/ 0 h 1074708"/>
                <a:gd name="connsiteX7" fmla="*/ 457200 w 1282209"/>
                <a:gd name="connsiteY7" fmla="*/ 592931 h 1074708"/>
                <a:gd name="connsiteX8" fmla="*/ 238125 w 1282209"/>
                <a:gd name="connsiteY8" fmla="*/ 371475 h 1074708"/>
                <a:gd name="connsiteX9" fmla="*/ 126206 w 1282209"/>
                <a:gd name="connsiteY9" fmla="*/ 369094 h 1074708"/>
                <a:gd name="connsiteX10" fmla="*/ 0 w 1282209"/>
                <a:gd name="connsiteY10" fmla="*/ 528637 h 1074708"/>
                <a:gd name="connsiteX11" fmla="*/ 7143 w 1282209"/>
                <a:gd name="connsiteY11" fmla="*/ 602456 h 1074708"/>
                <a:gd name="connsiteX0" fmla="*/ 7143 w 1282209"/>
                <a:gd name="connsiteY0" fmla="*/ 613102 h 1085354"/>
                <a:gd name="connsiteX1" fmla="*/ 426243 w 1282209"/>
                <a:gd name="connsiteY1" fmla="*/ 1072683 h 1085354"/>
                <a:gd name="connsiteX2" fmla="*/ 528637 w 1282209"/>
                <a:gd name="connsiteY2" fmla="*/ 1063158 h 1085354"/>
                <a:gd name="connsiteX3" fmla="*/ 1254918 w 1282209"/>
                <a:gd name="connsiteY3" fmla="*/ 282108 h 1085354"/>
                <a:gd name="connsiteX4" fmla="*/ 1271587 w 1282209"/>
                <a:gd name="connsiteY4" fmla="*/ 186858 h 1085354"/>
                <a:gd name="connsiteX5" fmla="*/ 1145381 w 1282209"/>
                <a:gd name="connsiteY5" fmla="*/ 15409 h 1085354"/>
                <a:gd name="connsiteX6" fmla="*/ 1038225 w 1282209"/>
                <a:gd name="connsiteY6" fmla="*/ 10646 h 1085354"/>
                <a:gd name="connsiteX7" fmla="*/ 457200 w 1282209"/>
                <a:gd name="connsiteY7" fmla="*/ 603577 h 1085354"/>
                <a:gd name="connsiteX8" fmla="*/ 238125 w 1282209"/>
                <a:gd name="connsiteY8" fmla="*/ 382121 h 1085354"/>
                <a:gd name="connsiteX9" fmla="*/ 126206 w 1282209"/>
                <a:gd name="connsiteY9" fmla="*/ 379740 h 1085354"/>
                <a:gd name="connsiteX10" fmla="*/ 0 w 1282209"/>
                <a:gd name="connsiteY10" fmla="*/ 539283 h 1085354"/>
                <a:gd name="connsiteX11" fmla="*/ 7143 w 1282209"/>
                <a:gd name="connsiteY11" fmla="*/ 613102 h 1085354"/>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11641 w 1286707"/>
                <a:gd name="connsiteY0" fmla="*/ 618884 h 1091136"/>
                <a:gd name="connsiteX1" fmla="*/ 430741 w 1286707"/>
                <a:gd name="connsiteY1" fmla="*/ 1078465 h 1091136"/>
                <a:gd name="connsiteX2" fmla="*/ 533135 w 1286707"/>
                <a:gd name="connsiteY2" fmla="*/ 1068940 h 1091136"/>
                <a:gd name="connsiteX3" fmla="*/ 1259416 w 1286707"/>
                <a:gd name="connsiteY3" fmla="*/ 287890 h 1091136"/>
                <a:gd name="connsiteX4" fmla="*/ 1276085 w 1286707"/>
                <a:gd name="connsiteY4" fmla="*/ 192640 h 1091136"/>
                <a:gd name="connsiteX5" fmla="*/ 1149879 w 1286707"/>
                <a:gd name="connsiteY5" fmla="*/ 21191 h 1091136"/>
                <a:gd name="connsiteX6" fmla="*/ 1042723 w 1286707"/>
                <a:gd name="connsiteY6" fmla="*/ 16428 h 1091136"/>
                <a:gd name="connsiteX7" fmla="*/ 461698 w 1286707"/>
                <a:gd name="connsiteY7" fmla="*/ 609359 h 1091136"/>
                <a:gd name="connsiteX8" fmla="*/ 242623 w 1286707"/>
                <a:gd name="connsiteY8" fmla="*/ 387903 h 1091136"/>
                <a:gd name="connsiteX9" fmla="*/ 130704 w 1286707"/>
                <a:gd name="connsiteY9" fmla="*/ 385522 h 1091136"/>
                <a:gd name="connsiteX10" fmla="*/ 11641 w 1286707"/>
                <a:gd name="connsiteY10" fmla="*/ 523633 h 1091136"/>
                <a:gd name="connsiteX11" fmla="*/ 11641 w 1286707"/>
                <a:gd name="connsiteY11" fmla="*/ 618884 h 1091136"/>
                <a:gd name="connsiteX0" fmla="*/ 19645 w 1294711"/>
                <a:gd name="connsiteY0" fmla="*/ 618884 h 1091136"/>
                <a:gd name="connsiteX1" fmla="*/ 438745 w 1294711"/>
                <a:gd name="connsiteY1" fmla="*/ 1078465 h 1091136"/>
                <a:gd name="connsiteX2" fmla="*/ 541139 w 1294711"/>
                <a:gd name="connsiteY2" fmla="*/ 1068940 h 1091136"/>
                <a:gd name="connsiteX3" fmla="*/ 1267420 w 1294711"/>
                <a:gd name="connsiteY3" fmla="*/ 287890 h 1091136"/>
                <a:gd name="connsiteX4" fmla="*/ 1284089 w 1294711"/>
                <a:gd name="connsiteY4" fmla="*/ 192640 h 1091136"/>
                <a:gd name="connsiteX5" fmla="*/ 1157883 w 1294711"/>
                <a:gd name="connsiteY5" fmla="*/ 21191 h 1091136"/>
                <a:gd name="connsiteX6" fmla="*/ 1050727 w 1294711"/>
                <a:gd name="connsiteY6" fmla="*/ 16428 h 1091136"/>
                <a:gd name="connsiteX7" fmla="*/ 469702 w 1294711"/>
                <a:gd name="connsiteY7" fmla="*/ 609359 h 1091136"/>
                <a:gd name="connsiteX8" fmla="*/ 250627 w 1294711"/>
                <a:gd name="connsiteY8" fmla="*/ 387903 h 1091136"/>
                <a:gd name="connsiteX9" fmla="*/ 138708 w 1294711"/>
                <a:gd name="connsiteY9" fmla="*/ 385522 h 1091136"/>
                <a:gd name="connsiteX10" fmla="*/ 19645 w 1294711"/>
                <a:gd name="connsiteY10" fmla="*/ 523633 h 1091136"/>
                <a:gd name="connsiteX11" fmla="*/ 19645 w 1294711"/>
                <a:gd name="connsiteY11" fmla="*/ 618884 h 1091136"/>
                <a:gd name="connsiteX0" fmla="*/ 18763 w 1293829"/>
                <a:gd name="connsiteY0" fmla="*/ 618884 h 1091136"/>
                <a:gd name="connsiteX1" fmla="*/ 437863 w 1293829"/>
                <a:gd name="connsiteY1" fmla="*/ 1078465 h 1091136"/>
                <a:gd name="connsiteX2" fmla="*/ 540257 w 1293829"/>
                <a:gd name="connsiteY2" fmla="*/ 1068940 h 1091136"/>
                <a:gd name="connsiteX3" fmla="*/ 1266538 w 1293829"/>
                <a:gd name="connsiteY3" fmla="*/ 287890 h 1091136"/>
                <a:gd name="connsiteX4" fmla="*/ 1283207 w 1293829"/>
                <a:gd name="connsiteY4" fmla="*/ 192640 h 1091136"/>
                <a:gd name="connsiteX5" fmla="*/ 1157001 w 1293829"/>
                <a:gd name="connsiteY5" fmla="*/ 21191 h 1091136"/>
                <a:gd name="connsiteX6" fmla="*/ 1049845 w 1293829"/>
                <a:gd name="connsiteY6" fmla="*/ 16428 h 1091136"/>
                <a:gd name="connsiteX7" fmla="*/ 468820 w 1293829"/>
                <a:gd name="connsiteY7" fmla="*/ 609359 h 1091136"/>
                <a:gd name="connsiteX8" fmla="*/ 249745 w 1293829"/>
                <a:gd name="connsiteY8" fmla="*/ 387903 h 1091136"/>
                <a:gd name="connsiteX9" fmla="*/ 137826 w 1293829"/>
                <a:gd name="connsiteY9" fmla="*/ 385522 h 1091136"/>
                <a:gd name="connsiteX10" fmla="*/ 18763 w 1293829"/>
                <a:gd name="connsiteY10" fmla="*/ 523633 h 1091136"/>
                <a:gd name="connsiteX11" fmla="*/ 18763 w 1293829"/>
                <a:gd name="connsiteY11" fmla="*/ 618884 h 109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3829" h="1091136">
                  <a:moveTo>
                    <a:pt x="18763" y="618884"/>
                  </a:moveTo>
                  <a:lnTo>
                    <a:pt x="437863" y="1078465"/>
                  </a:lnTo>
                  <a:cubicBezTo>
                    <a:pt x="474375" y="1099102"/>
                    <a:pt x="498981" y="1093547"/>
                    <a:pt x="540257" y="1068940"/>
                  </a:cubicBezTo>
                  <a:cubicBezTo>
                    <a:pt x="782351" y="718103"/>
                    <a:pt x="1067307" y="429177"/>
                    <a:pt x="1266538" y="287890"/>
                  </a:cubicBezTo>
                  <a:cubicBezTo>
                    <a:pt x="1303050" y="251378"/>
                    <a:pt x="1296701" y="222009"/>
                    <a:pt x="1283207" y="192640"/>
                  </a:cubicBezTo>
                  <a:lnTo>
                    <a:pt x="1157001" y="21191"/>
                  </a:lnTo>
                  <a:cubicBezTo>
                    <a:pt x="1126045" y="-11354"/>
                    <a:pt x="1095089" y="-1034"/>
                    <a:pt x="1049845" y="16428"/>
                  </a:cubicBezTo>
                  <a:cubicBezTo>
                    <a:pt x="822833" y="161684"/>
                    <a:pt x="626776" y="366471"/>
                    <a:pt x="468820" y="609359"/>
                  </a:cubicBezTo>
                  <a:lnTo>
                    <a:pt x="249745" y="387903"/>
                  </a:lnTo>
                  <a:cubicBezTo>
                    <a:pt x="210058" y="356153"/>
                    <a:pt x="179894" y="360122"/>
                    <a:pt x="137826" y="385522"/>
                  </a:cubicBezTo>
                  <a:cubicBezTo>
                    <a:pt x="98138" y="431559"/>
                    <a:pt x="58451" y="458546"/>
                    <a:pt x="18763" y="523633"/>
                  </a:cubicBezTo>
                  <a:cubicBezTo>
                    <a:pt x="-5049" y="555383"/>
                    <a:pt x="-7430" y="594278"/>
                    <a:pt x="18763" y="61888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1" name="Frame 80"/>
            <p:cNvSpPr/>
            <p:nvPr/>
          </p:nvSpPr>
          <p:spPr bwMode="auto">
            <a:xfrm>
              <a:off x="6960469" y="3319987"/>
              <a:ext cx="153998" cy="148076"/>
            </a:xfrm>
            <a:prstGeom prst="frame">
              <a:avLst>
                <a:gd name="adj1" fmla="val 1322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rgbClr val="FFFFFF"/>
                </a:solidFill>
                <a:latin typeface="Segoe UI Light"/>
                <a:ea typeface="Segoe UI" pitchFamily="34" charset="0"/>
                <a:cs typeface="Segoe UI" pitchFamily="34" charset="0"/>
              </a:endParaRPr>
            </a:p>
          </p:txBody>
        </p:sp>
      </p:grpSp>
      <p:sp>
        <p:nvSpPr>
          <p:cNvPr id="4" name="Rectangle 3"/>
          <p:cNvSpPr/>
          <p:nvPr/>
        </p:nvSpPr>
        <p:spPr>
          <a:xfrm>
            <a:off x="469899" y="1857152"/>
            <a:ext cx="1765868" cy="646331"/>
          </a:xfrm>
          <a:prstGeom prst="rect">
            <a:avLst/>
          </a:prstGeom>
        </p:spPr>
        <p:txBody>
          <a:bodyPr wrap="none">
            <a:spAutoFit/>
          </a:bodyPr>
          <a:lstStyle/>
          <a:p>
            <a:pPr marL="0" lvl="1" defTabSz="932133" fontAlgn="base">
              <a:spcBef>
                <a:spcPts val="600"/>
              </a:spcBef>
              <a:buClr>
                <a:srgbClr val="505050"/>
              </a:buClr>
            </a:pPr>
            <a:r>
              <a:rPr lang="en-US" dirty="0">
                <a:solidFill>
                  <a:srgbClr val="FFFFFF"/>
                </a:solidFill>
                <a:ea typeface="Segoe UI" pitchFamily="34" charset="0"/>
                <a:cs typeface="Segoe UI" pitchFamily="34" charset="0"/>
              </a:rPr>
              <a:t>SDK is </a:t>
            </a:r>
            <a:r>
              <a:rPr lang="en-US" dirty="0" smtClean="0">
                <a:solidFill>
                  <a:srgbClr val="FFFFFF"/>
                </a:solidFill>
                <a:ea typeface="Segoe UI" pitchFamily="34" charset="0"/>
                <a:cs typeface="Segoe UI" pitchFamily="34" charset="0"/>
              </a:rPr>
              <a:t>available</a:t>
            </a:r>
            <a:br>
              <a:rPr lang="en-US" dirty="0" smtClean="0">
                <a:solidFill>
                  <a:srgbClr val="FFFFFF"/>
                </a:solidFill>
                <a:ea typeface="Segoe UI" pitchFamily="34" charset="0"/>
                <a:cs typeface="Segoe UI" pitchFamily="34" charset="0"/>
              </a:rPr>
            </a:br>
            <a:r>
              <a:rPr lang="en-US" dirty="0" smtClean="0">
                <a:solidFill>
                  <a:srgbClr val="FFFFFF"/>
                </a:solidFill>
                <a:ea typeface="Segoe UI" pitchFamily="34" charset="0"/>
                <a:cs typeface="Segoe UI" pitchFamily="34" charset="0"/>
              </a:rPr>
              <a:t>from </a:t>
            </a:r>
            <a:r>
              <a:rPr lang="en-US" dirty="0" err="1">
                <a:solidFill>
                  <a:srgbClr val="FFFFFF"/>
                </a:solidFill>
                <a:ea typeface="Segoe UI" pitchFamily="34" charset="0"/>
                <a:cs typeface="Segoe UI" pitchFamily="34" charset="0"/>
              </a:rPr>
              <a:t>NuGet</a:t>
            </a:r>
            <a:endParaRPr lang="en-US" dirty="0">
              <a:solidFill>
                <a:srgbClr val="FFFFFF"/>
              </a:solidFill>
              <a:ea typeface="Segoe UI" pitchFamily="34" charset="0"/>
              <a:cs typeface="Segoe UI" pitchFamily="34" charset="0"/>
            </a:endParaRPr>
          </a:p>
        </p:txBody>
      </p:sp>
      <p:sp>
        <p:nvSpPr>
          <p:cNvPr id="6" name="Rectangle 5"/>
          <p:cNvSpPr/>
          <p:nvPr/>
        </p:nvSpPr>
        <p:spPr>
          <a:xfrm>
            <a:off x="3371533" y="1857152"/>
            <a:ext cx="2834640" cy="1200329"/>
          </a:xfrm>
          <a:prstGeom prst="rect">
            <a:avLst/>
          </a:prstGeom>
        </p:spPr>
        <p:txBody>
          <a:bodyPr wrap="square">
            <a:spAutoFit/>
          </a:bodyPr>
          <a:lstStyle/>
          <a:p>
            <a:pPr marL="0" lvl="1" defTabSz="932133" fontAlgn="base">
              <a:spcBef>
                <a:spcPts val="600"/>
              </a:spcBef>
              <a:buClr>
                <a:srgbClr val="505050"/>
              </a:buClr>
            </a:pPr>
            <a:r>
              <a:rPr lang="en-US" dirty="0">
                <a:solidFill>
                  <a:srgbClr val="FFFFFF"/>
                </a:solidFill>
                <a:ea typeface="Segoe UI" pitchFamily="34" charset="0"/>
                <a:cs typeface="Segoe UI" pitchFamily="34" charset="0"/>
              </a:rPr>
              <a:t>Tools provided by the codec supplier, </a:t>
            </a:r>
            <a:r>
              <a:rPr lang="en-US" dirty="0" err="1">
                <a:solidFill>
                  <a:srgbClr val="FFFFFF"/>
                </a:solidFill>
                <a:ea typeface="Segoe UI" pitchFamily="34" charset="0"/>
                <a:cs typeface="Segoe UI" pitchFamily="34" charset="0"/>
              </a:rPr>
              <a:t>eg</a:t>
            </a:r>
            <a:r>
              <a:rPr lang="en-US" dirty="0">
                <a:solidFill>
                  <a:srgbClr val="FFFFFF"/>
                </a:solidFill>
                <a:ea typeface="Segoe UI" pitchFamily="34" charset="0"/>
                <a:cs typeface="Segoe UI" pitchFamily="34" charset="0"/>
              </a:rPr>
              <a:t>. </a:t>
            </a:r>
            <a:r>
              <a:rPr lang="en-US" dirty="0" err="1">
                <a:solidFill>
                  <a:srgbClr val="FFFFFF"/>
                </a:solidFill>
                <a:ea typeface="Segoe UI" pitchFamily="34" charset="0"/>
                <a:cs typeface="Segoe UI" pitchFamily="34" charset="0"/>
              </a:rPr>
              <a:t>GZip</a:t>
            </a:r>
            <a:r>
              <a:rPr lang="en-US" dirty="0">
                <a:solidFill>
                  <a:srgbClr val="FFFFFF"/>
                </a:solidFill>
                <a:ea typeface="Segoe UI" pitchFamily="34" charset="0"/>
                <a:cs typeface="Segoe UI" pitchFamily="34" charset="0"/>
              </a:rPr>
              <a:t> and BZip2 for compression</a:t>
            </a:r>
          </a:p>
        </p:txBody>
      </p:sp>
      <p:sp>
        <p:nvSpPr>
          <p:cNvPr id="7" name="Rectangle 6"/>
          <p:cNvSpPr/>
          <p:nvPr/>
        </p:nvSpPr>
        <p:spPr>
          <a:xfrm>
            <a:off x="6273166" y="1857152"/>
            <a:ext cx="2834640" cy="1477328"/>
          </a:xfrm>
          <a:prstGeom prst="rect">
            <a:avLst/>
          </a:prstGeom>
        </p:spPr>
        <p:txBody>
          <a:bodyPr wrap="square">
            <a:spAutoFit/>
          </a:bodyPr>
          <a:lstStyle/>
          <a:p>
            <a:pPr marL="0" lvl="1" defTabSz="932133" fontAlgn="base">
              <a:spcBef>
                <a:spcPts val="600"/>
              </a:spcBef>
              <a:buClr>
                <a:srgbClr val="505050"/>
              </a:buClr>
            </a:pPr>
            <a:r>
              <a:rPr lang="en-US" dirty="0">
                <a:solidFill>
                  <a:srgbClr val="FFFFFF"/>
                </a:solidFill>
                <a:ea typeface="Segoe UI" pitchFamily="34" charset="0"/>
                <a:cs typeface="Segoe UI" pitchFamily="34" charset="0"/>
              </a:rPr>
              <a:t>Use the classes in the NET Framework to perform </a:t>
            </a:r>
            <a:r>
              <a:rPr lang="en-US" dirty="0" err="1">
                <a:solidFill>
                  <a:srgbClr val="FFFFFF"/>
                </a:solidFill>
                <a:ea typeface="Segoe UI" pitchFamily="34" charset="0"/>
                <a:cs typeface="Segoe UI" pitchFamily="34" charset="0"/>
              </a:rPr>
              <a:t>GZip</a:t>
            </a:r>
            <a:r>
              <a:rPr lang="en-US" dirty="0">
                <a:solidFill>
                  <a:srgbClr val="FFFFFF"/>
                </a:solidFill>
                <a:ea typeface="Segoe UI" pitchFamily="34" charset="0"/>
                <a:cs typeface="Segoe UI" pitchFamily="34" charset="0"/>
              </a:rPr>
              <a:t> and DEFLATE compression on your source files</a:t>
            </a:r>
          </a:p>
        </p:txBody>
      </p:sp>
      <p:sp>
        <p:nvSpPr>
          <p:cNvPr id="8" name="Rectangle 7"/>
          <p:cNvSpPr/>
          <p:nvPr/>
        </p:nvSpPr>
        <p:spPr>
          <a:xfrm>
            <a:off x="9174798" y="1857152"/>
            <a:ext cx="2834640" cy="1477328"/>
          </a:xfrm>
          <a:prstGeom prst="rect">
            <a:avLst/>
          </a:prstGeom>
        </p:spPr>
        <p:txBody>
          <a:bodyPr wrap="square">
            <a:spAutoFit/>
          </a:bodyPr>
          <a:lstStyle/>
          <a:p>
            <a:pPr marL="0" lvl="1" defTabSz="932133" fontAlgn="base">
              <a:spcBef>
                <a:spcPts val="600"/>
              </a:spcBef>
              <a:buClr>
                <a:srgbClr val="505050"/>
              </a:buClr>
            </a:pPr>
            <a:r>
              <a:rPr lang="en-US" dirty="0">
                <a:solidFill>
                  <a:srgbClr val="FFFFFF"/>
                </a:solidFill>
                <a:ea typeface="Segoe UI" pitchFamily="34" charset="0"/>
                <a:cs typeface="Segoe UI" pitchFamily="34" charset="0"/>
              </a:rPr>
              <a:t>Create a query job that is configured to write output in compressed form using one of the built-in codecs</a:t>
            </a:r>
          </a:p>
        </p:txBody>
      </p:sp>
      <p:grpSp>
        <p:nvGrpSpPr>
          <p:cNvPr id="69" name="Group 68"/>
          <p:cNvGrpSpPr/>
          <p:nvPr/>
        </p:nvGrpSpPr>
        <p:grpSpPr>
          <a:xfrm>
            <a:off x="1167018" y="2146292"/>
            <a:ext cx="1440402" cy="1609519"/>
            <a:chOff x="805147" y="2779025"/>
            <a:chExt cx="717920" cy="802211"/>
          </a:xfrm>
        </p:grpSpPr>
        <p:sp>
          <p:nvSpPr>
            <p:cNvPr id="70" name="Oval 3"/>
            <p:cNvSpPr/>
            <p:nvPr/>
          </p:nvSpPr>
          <p:spPr>
            <a:xfrm>
              <a:off x="805147" y="2779025"/>
              <a:ext cx="698978" cy="710269"/>
            </a:xfrm>
            <a:custGeom>
              <a:avLst/>
              <a:gdLst/>
              <a:ahLst/>
              <a:cxnLst/>
              <a:rect l="l" t="t" r="r" b="b"/>
              <a:pathLst>
                <a:path w="3135080" h="3185726">
                  <a:moveTo>
                    <a:pt x="2701501" y="2552282"/>
                  </a:moveTo>
                  <a:cubicBezTo>
                    <a:pt x="2591342" y="2552282"/>
                    <a:pt x="2502040" y="2641585"/>
                    <a:pt x="2502041" y="2751743"/>
                  </a:cubicBezTo>
                  <a:cubicBezTo>
                    <a:pt x="2502040" y="2861903"/>
                    <a:pt x="2591343" y="2951204"/>
                    <a:pt x="2701501" y="2951204"/>
                  </a:cubicBezTo>
                  <a:cubicBezTo>
                    <a:pt x="2811660" y="2951204"/>
                    <a:pt x="2900962" y="2861902"/>
                    <a:pt x="2900962" y="2751744"/>
                  </a:cubicBezTo>
                  <a:cubicBezTo>
                    <a:pt x="2900963" y="2641584"/>
                    <a:pt x="2811660" y="2552283"/>
                    <a:pt x="2701501" y="2552282"/>
                  </a:cubicBezTo>
                  <a:close/>
                  <a:moveTo>
                    <a:pt x="752121" y="0"/>
                  </a:moveTo>
                  <a:cubicBezTo>
                    <a:pt x="1167506" y="0"/>
                    <a:pt x="1504242" y="336736"/>
                    <a:pt x="1504242" y="752121"/>
                  </a:cubicBezTo>
                  <a:cubicBezTo>
                    <a:pt x="1504242" y="812575"/>
                    <a:pt x="1497110" y="871364"/>
                    <a:pt x="1481661" y="927218"/>
                  </a:cubicBezTo>
                  <a:lnTo>
                    <a:pt x="2996658" y="2400787"/>
                  </a:lnTo>
                  <a:cubicBezTo>
                    <a:pt x="3177663" y="2576843"/>
                    <a:pt x="3181675" y="2866298"/>
                    <a:pt x="3005619" y="3047303"/>
                  </a:cubicBezTo>
                  <a:cubicBezTo>
                    <a:pt x="2829563" y="3228309"/>
                    <a:pt x="2540109" y="3232321"/>
                    <a:pt x="2359103" y="3056265"/>
                  </a:cubicBezTo>
                  <a:lnTo>
                    <a:pt x="762889" y="1503698"/>
                  </a:lnTo>
                  <a:cubicBezTo>
                    <a:pt x="759310" y="1504217"/>
                    <a:pt x="755719" y="1504242"/>
                    <a:pt x="752121" y="1504242"/>
                  </a:cubicBezTo>
                  <a:cubicBezTo>
                    <a:pt x="336736" y="1504242"/>
                    <a:pt x="0" y="1167506"/>
                    <a:pt x="0" y="752121"/>
                  </a:cubicBezTo>
                  <a:cubicBezTo>
                    <a:pt x="0" y="656205"/>
                    <a:pt x="17955" y="564482"/>
                    <a:pt x="52447" y="480814"/>
                  </a:cubicBezTo>
                  <a:lnTo>
                    <a:pt x="487026" y="920673"/>
                  </a:lnTo>
                  <a:cubicBezTo>
                    <a:pt x="554414" y="988880"/>
                    <a:pt x="664335" y="989544"/>
                    <a:pt x="732542" y="922156"/>
                  </a:cubicBezTo>
                  <a:lnTo>
                    <a:pt x="879355" y="777105"/>
                  </a:lnTo>
                  <a:cubicBezTo>
                    <a:pt x="947562" y="709717"/>
                    <a:pt x="948226" y="599796"/>
                    <a:pt x="880838" y="531589"/>
                  </a:cubicBezTo>
                  <a:lnTo>
                    <a:pt x="429851" y="75123"/>
                  </a:lnTo>
                  <a:cubicBezTo>
                    <a:pt x="526725" y="26148"/>
                    <a:pt x="636369" y="0"/>
                    <a:pt x="75212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dirty="0">
                <a:solidFill>
                  <a:srgbClr val="000000"/>
                </a:solidFill>
              </a:endParaRPr>
            </a:p>
          </p:txBody>
        </p:sp>
        <p:grpSp>
          <p:nvGrpSpPr>
            <p:cNvPr id="111" name="Group 110"/>
            <p:cNvGrpSpPr/>
            <p:nvPr/>
          </p:nvGrpSpPr>
          <p:grpSpPr>
            <a:xfrm>
              <a:off x="981286" y="2830673"/>
              <a:ext cx="541781" cy="750563"/>
              <a:chOff x="981286" y="2830673"/>
              <a:chExt cx="541781" cy="750563"/>
            </a:xfrm>
          </p:grpSpPr>
          <p:sp>
            <p:nvSpPr>
              <p:cNvPr id="114" name="Freeform 2016"/>
              <p:cNvSpPr>
                <a:spLocks/>
              </p:cNvSpPr>
              <p:nvPr/>
            </p:nvSpPr>
            <p:spPr bwMode="auto">
              <a:xfrm rot="13465931">
                <a:off x="1318096" y="2830673"/>
                <a:ext cx="204971" cy="332614"/>
              </a:xfrm>
              <a:custGeom>
                <a:avLst/>
                <a:gdLst>
                  <a:gd name="T0" fmla="*/ 190 w 198"/>
                  <a:gd name="T1" fmla="*/ 0 h 222"/>
                  <a:gd name="T2" fmla="*/ 8 w 198"/>
                  <a:gd name="T3" fmla="*/ 0 h 222"/>
                  <a:gd name="T4" fmla="*/ 6 w 198"/>
                  <a:gd name="T5" fmla="*/ 3 h 222"/>
                  <a:gd name="T6" fmla="*/ 6 w 198"/>
                  <a:gd name="T7" fmla="*/ 6 h 222"/>
                  <a:gd name="T8" fmla="*/ 3 w 198"/>
                  <a:gd name="T9" fmla="*/ 11 h 222"/>
                  <a:gd name="T10" fmla="*/ 1 w 198"/>
                  <a:gd name="T11" fmla="*/ 14 h 222"/>
                  <a:gd name="T12" fmla="*/ 0 w 198"/>
                  <a:gd name="T13" fmla="*/ 16 h 222"/>
                  <a:gd name="T14" fmla="*/ 0 w 198"/>
                  <a:gd name="T15" fmla="*/ 17 h 222"/>
                  <a:gd name="T16" fmla="*/ 0 w 198"/>
                  <a:gd name="T17" fmla="*/ 19 h 222"/>
                  <a:gd name="T18" fmla="*/ 0 w 198"/>
                  <a:gd name="T19" fmla="*/ 222 h 222"/>
                  <a:gd name="T20" fmla="*/ 198 w 198"/>
                  <a:gd name="T21" fmla="*/ 222 h 222"/>
                  <a:gd name="T22" fmla="*/ 198 w 198"/>
                  <a:gd name="T23" fmla="*/ 19 h 222"/>
                  <a:gd name="T24" fmla="*/ 198 w 198"/>
                  <a:gd name="T25" fmla="*/ 17 h 222"/>
                  <a:gd name="T26" fmla="*/ 196 w 198"/>
                  <a:gd name="T27" fmla="*/ 16 h 222"/>
                  <a:gd name="T28" fmla="*/ 196 w 198"/>
                  <a:gd name="T29" fmla="*/ 14 h 222"/>
                  <a:gd name="T30" fmla="*/ 195 w 198"/>
                  <a:gd name="T31" fmla="*/ 11 h 222"/>
                  <a:gd name="T32" fmla="*/ 192 w 198"/>
                  <a:gd name="T33" fmla="*/ 6 h 222"/>
                  <a:gd name="T34" fmla="*/ 190 w 198"/>
                  <a:gd name="T35" fmla="*/ 3 h 222"/>
                  <a:gd name="T36" fmla="*/ 190 w 198"/>
                  <a:gd name="T37" fmla="*/ 0 h 222"/>
                  <a:gd name="T38" fmla="*/ 190 w 198"/>
                  <a:gd name="T3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222">
                    <a:moveTo>
                      <a:pt x="190" y="0"/>
                    </a:moveTo>
                    <a:lnTo>
                      <a:pt x="8" y="0"/>
                    </a:lnTo>
                    <a:lnTo>
                      <a:pt x="6" y="3"/>
                    </a:lnTo>
                    <a:lnTo>
                      <a:pt x="6" y="6"/>
                    </a:lnTo>
                    <a:lnTo>
                      <a:pt x="3" y="11"/>
                    </a:lnTo>
                    <a:lnTo>
                      <a:pt x="1" y="14"/>
                    </a:lnTo>
                    <a:lnTo>
                      <a:pt x="0" y="16"/>
                    </a:lnTo>
                    <a:lnTo>
                      <a:pt x="0" y="17"/>
                    </a:lnTo>
                    <a:lnTo>
                      <a:pt x="0" y="19"/>
                    </a:lnTo>
                    <a:lnTo>
                      <a:pt x="0" y="222"/>
                    </a:lnTo>
                    <a:lnTo>
                      <a:pt x="198" y="222"/>
                    </a:lnTo>
                    <a:lnTo>
                      <a:pt x="198" y="19"/>
                    </a:lnTo>
                    <a:lnTo>
                      <a:pt x="198" y="17"/>
                    </a:lnTo>
                    <a:lnTo>
                      <a:pt x="196" y="16"/>
                    </a:lnTo>
                    <a:lnTo>
                      <a:pt x="196" y="14"/>
                    </a:lnTo>
                    <a:lnTo>
                      <a:pt x="195" y="11"/>
                    </a:lnTo>
                    <a:lnTo>
                      <a:pt x="192" y="6"/>
                    </a:lnTo>
                    <a:lnTo>
                      <a:pt x="190" y="3"/>
                    </a:lnTo>
                    <a:lnTo>
                      <a:pt x="190" y="0"/>
                    </a:lnTo>
                    <a:lnTo>
                      <a:pt x="190" y="0"/>
                    </a:lnTo>
                    <a:close/>
                  </a:path>
                </a:pathLst>
              </a:custGeom>
              <a:solidFill>
                <a:schemeClr val="bg1"/>
              </a:solidFill>
              <a:ln w="19050">
                <a:noFill/>
                <a:round/>
                <a:headEnd/>
                <a:tailEnd/>
              </a:ln>
              <a:extLst/>
            </p:spPr>
            <p:txBody>
              <a:bodyPr vert="horz" wrap="square" lIns="91416" tIns="45708" rIns="91416" bIns="45708" numCol="1" anchor="t" anchorCtr="0" compatLnSpc="1">
                <a:prstTxWarp prst="textNoShape">
                  <a:avLst/>
                </a:prstTxWarp>
              </a:bodyPr>
              <a:lstStyle/>
              <a:p>
                <a:pPr defTabSz="914126"/>
                <a:endParaRPr lang="en-US" sz="1799">
                  <a:solidFill>
                    <a:prstClr val="black"/>
                  </a:solidFill>
                </a:endParaRPr>
              </a:p>
            </p:txBody>
          </p:sp>
          <p:sp>
            <p:nvSpPr>
              <p:cNvPr id="115" name="Freeform 2018"/>
              <p:cNvSpPr>
                <a:spLocks/>
              </p:cNvSpPr>
              <p:nvPr/>
            </p:nvSpPr>
            <p:spPr bwMode="auto">
              <a:xfrm rot="13465931">
                <a:off x="981286" y="3071906"/>
                <a:ext cx="204971" cy="509330"/>
              </a:xfrm>
              <a:custGeom>
                <a:avLst/>
                <a:gdLst>
                  <a:gd name="T0" fmla="*/ 140 w 198"/>
                  <a:gd name="T1" fmla="*/ 153 h 492"/>
                  <a:gd name="T2" fmla="*/ 164 w 198"/>
                  <a:gd name="T3" fmla="*/ 153 h 492"/>
                  <a:gd name="T4" fmla="*/ 164 w 198"/>
                  <a:gd name="T5" fmla="*/ 129 h 492"/>
                  <a:gd name="T6" fmla="*/ 150 w 198"/>
                  <a:gd name="T7" fmla="*/ 129 h 492"/>
                  <a:gd name="T8" fmla="*/ 140 w 198"/>
                  <a:gd name="T9" fmla="*/ 0 h 492"/>
                  <a:gd name="T10" fmla="*/ 58 w 198"/>
                  <a:gd name="T11" fmla="*/ 0 h 492"/>
                  <a:gd name="T12" fmla="*/ 47 w 198"/>
                  <a:gd name="T13" fmla="*/ 129 h 492"/>
                  <a:gd name="T14" fmla="*/ 34 w 198"/>
                  <a:gd name="T15" fmla="*/ 129 h 492"/>
                  <a:gd name="T16" fmla="*/ 34 w 198"/>
                  <a:gd name="T17" fmla="*/ 153 h 492"/>
                  <a:gd name="T18" fmla="*/ 58 w 198"/>
                  <a:gd name="T19" fmla="*/ 153 h 492"/>
                  <a:gd name="T20" fmla="*/ 58 w 198"/>
                  <a:gd name="T21" fmla="*/ 421 h 492"/>
                  <a:gd name="T22" fmla="*/ 0 w 198"/>
                  <a:gd name="T23" fmla="*/ 421 h 492"/>
                  <a:gd name="T24" fmla="*/ 11 w 198"/>
                  <a:gd name="T25" fmla="*/ 468 h 492"/>
                  <a:gd name="T26" fmla="*/ 34 w 198"/>
                  <a:gd name="T27" fmla="*/ 468 h 492"/>
                  <a:gd name="T28" fmla="*/ 28 w 198"/>
                  <a:gd name="T29" fmla="*/ 473 h 492"/>
                  <a:gd name="T30" fmla="*/ 22 w 198"/>
                  <a:gd name="T31" fmla="*/ 479 h 492"/>
                  <a:gd name="T32" fmla="*/ 15 w 198"/>
                  <a:gd name="T33" fmla="*/ 485 h 492"/>
                  <a:gd name="T34" fmla="*/ 11 w 198"/>
                  <a:gd name="T35" fmla="*/ 492 h 492"/>
                  <a:gd name="T36" fmla="*/ 187 w 198"/>
                  <a:gd name="T37" fmla="*/ 492 h 492"/>
                  <a:gd name="T38" fmla="*/ 184 w 198"/>
                  <a:gd name="T39" fmla="*/ 488 h 492"/>
                  <a:gd name="T40" fmla="*/ 181 w 198"/>
                  <a:gd name="T41" fmla="*/ 485 h 492"/>
                  <a:gd name="T42" fmla="*/ 176 w 198"/>
                  <a:gd name="T43" fmla="*/ 479 h 492"/>
                  <a:gd name="T44" fmla="*/ 168 w 198"/>
                  <a:gd name="T45" fmla="*/ 473 h 492"/>
                  <a:gd name="T46" fmla="*/ 164 w 198"/>
                  <a:gd name="T47" fmla="*/ 468 h 492"/>
                  <a:gd name="T48" fmla="*/ 187 w 198"/>
                  <a:gd name="T49" fmla="*/ 468 h 492"/>
                  <a:gd name="T50" fmla="*/ 198 w 198"/>
                  <a:gd name="T51" fmla="*/ 421 h 492"/>
                  <a:gd name="T52" fmla="*/ 140 w 198"/>
                  <a:gd name="T53" fmla="*/ 421 h 492"/>
                  <a:gd name="T54" fmla="*/ 140 w 198"/>
                  <a:gd name="T55" fmla="*/ 153 h 492"/>
                  <a:gd name="T56" fmla="*/ 140 w 198"/>
                  <a:gd name="T57" fmla="*/ 153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8" h="492">
                    <a:moveTo>
                      <a:pt x="140" y="153"/>
                    </a:moveTo>
                    <a:lnTo>
                      <a:pt x="164" y="153"/>
                    </a:lnTo>
                    <a:lnTo>
                      <a:pt x="164" y="129"/>
                    </a:lnTo>
                    <a:lnTo>
                      <a:pt x="150" y="129"/>
                    </a:lnTo>
                    <a:lnTo>
                      <a:pt x="140" y="0"/>
                    </a:lnTo>
                    <a:lnTo>
                      <a:pt x="58" y="0"/>
                    </a:lnTo>
                    <a:lnTo>
                      <a:pt x="47" y="129"/>
                    </a:lnTo>
                    <a:lnTo>
                      <a:pt x="34" y="129"/>
                    </a:lnTo>
                    <a:lnTo>
                      <a:pt x="34" y="153"/>
                    </a:lnTo>
                    <a:lnTo>
                      <a:pt x="58" y="153"/>
                    </a:lnTo>
                    <a:lnTo>
                      <a:pt x="58" y="421"/>
                    </a:lnTo>
                    <a:lnTo>
                      <a:pt x="0" y="421"/>
                    </a:lnTo>
                    <a:lnTo>
                      <a:pt x="11" y="468"/>
                    </a:lnTo>
                    <a:lnTo>
                      <a:pt x="34" y="468"/>
                    </a:lnTo>
                    <a:lnTo>
                      <a:pt x="28" y="473"/>
                    </a:lnTo>
                    <a:lnTo>
                      <a:pt x="22" y="479"/>
                    </a:lnTo>
                    <a:lnTo>
                      <a:pt x="15" y="485"/>
                    </a:lnTo>
                    <a:lnTo>
                      <a:pt x="11" y="492"/>
                    </a:lnTo>
                    <a:lnTo>
                      <a:pt x="187" y="492"/>
                    </a:lnTo>
                    <a:lnTo>
                      <a:pt x="184" y="488"/>
                    </a:lnTo>
                    <a:lnTo>
                      <a:pt x="181" y="485"/>
                    </a:lnTo>
                    <a:lnTo>
                      <a:pt x="176" y="479"/>
                    </a:lnTo>
                    <a:lnTo>
                      <a:pt x="168" y="473"/>
                    </a:lnTo>
                    <a:lnTo>
                      <a:pt x="164" y="468"/>
                    </a:lnTo>
                    <a:lnTo>
                      <a:pt x="187" y="468"/>
                    </a:lnTo>
                    <a:lnTo>
                      <a:pt x="198" y="421"/>
                    </a:lnTo>
                    <a:lnTo>
                      <a:pt x="140" y="421"/>
                    </a:lnTo>
                    <a:lnTo>
                      <a:pt x="140" y="153"/>
                    </a:lnTo>
                    <a:lnTo>
                      <a:pt x="140" y="153"/>
                    </a:lnTo>
                    <a:close/>
                  </a:path>
                </a:pathLst>
              </a:custGeom>
              <a:solidFill>
                <a:schemeClr val="bg1"/>
              </a:solidFill>
              <a:ln w="19050">
                <a:solidFill>
                  <a:schemeClr val="accent3"/>
                </a:solidFill>
                <a:round/>
                <a:headEnd/>
                <a:tailEnd/>
              </a:ln>
              <a:extLst/>
            </p:spPr>
            <p:txBody>
              <a:bodyPr vert="horz" wrap="square" lIns="91416" tIns="45708" rIns="91416" bIns="45708" numCol="1" anchor="t" anchorCtr="0" compatLnSpc="1">
                <a:prstTxWarp prst="textNoShape">
                  <a:avLst/>
                </a:prstTxWarp>
              </a:bodyPr>
              <a:lstStyle/>
              <a:p>
                <a:pPr defTabSz="914126"/>
                <a:endParaRPr lang="en-US" sz="1799">
                  <a:solidFill>
                    <a:prstClr val="black"/>
                  </a:solidFill>
                </a:endParaRPr>
              </a:p>
            </p:txBody>
          </p:sp>
        </p:grpSp>
        <p:sp>
          <p:nvSpPr>
            <p:cNvPr id="112" name="TextBox 111"/>
            <p:cNvSpPr txBox="1"/>
            <p:nvPr/>
          </p:nvSpPr>
          <p:spPr>
            <a:xfrm rot="18855593">
              <a:off x="1266027" y="2932442"/>
              <a:ext cx="297328" cy="112129"/>
            </a:xfrm>
            <a:prstGeom prst="rect">
              <a:avLst/>
            </a:prstGeom>
            <a:noFill/>
          </p:spPr>
          <p:txBody>
            <a:bodyPr wrap="none" lIns="0" tIns="0" rIns="0" bIns="0" rtlCol="0" anchor="ctr">
              <a:noAutofit/>
            </a:bodyPr>
            <a:lstStyle/>
            <a:p>
              <a:pPr algn="ctr">
                <a:spcAft>
                  <a:spcPts val="600"/>
                </a:spcAft>
              </a:pPr>
              <a:r>
                <a:rPr lang="en-IN" sz="1600" b="1" dirty="0" smtClean="0">
                  <a:solidFill>
                    <a:srgbClr val="68217A"/>
                  </a:solidFill>
                </a:rPr>
                <a:t>Azure</a:t>
              </a:r>
            </a:p>
          </p:txBody>
        </p:sp>
        <p:sp>
          <p:nvSpPr>
            <p:cNvPr id="113" name="TextBox 112"/>
            <p:cNvSpPr txBox="1"/>
            <p:nvPr/>
          </p:nvSpPr>
          <p:spPr>
            <a:xfrm>
              <a:off x="1020114" y="3437459"/>
              <a:ext cx="297328" cy="112129"/>
            </a:xfrm>
            <a:prstGeom prst="rect">
              <a:avLst/>
            </a:prstGeom>
            <a:noFill/>
          </p:spPr>
          <p:txBody>
            <a:bodyPr wrap="none" lIns="0" tIns="0" rIns="0" bIns="0" rtlCol="0" anchor="ctr">
              <a:noAutofit/>
            </a:bodyPr>
            <a:lstStyle/>
            <a:p>
              <a:pPr algn="ctr">
                <a:spcAft>
                  <a:spcPts val="600"/>
                </a:spcAft>
              </a:pPr>
              <a:r>
                <a:rPr lang="en-IN" sz="2000" dirty="0" smtClean="0">
                  <a:solidFill>
                    <a:srgbClr val="FFFFFF"/>
                  </a:solidFill>
                  <a:latin typeface="Segoe UI Semibold" panose="020B0702040204020203" pitchFamily="34" charset="0"/>
                  <a:cs typeface="Segoe UI Semibold" panose="020B0702040204020203" pitchFamily="34" charset="0"/>
                </a:rPr>
                <a:t>SDK</a:t>
              </a:r>
            </a:p>
          </p:txBody>
        </p:sp>
      </p:grpSp>
      <p:grpSp>
        <p:nvGrpSpPr>
          <p:cNvPr id="116" name="Group 115"/>
          <p:cNvGrpSpPr/>
          <p:nvPr/>
        </p:nvGrpSpPr>
        <p:grpSpPr>
          <a:xfrm>
            <a:off x="4268706" y="2129053"/>
            <a:ext cx="1040295" cy="1643996"/>
            <a:chOff x="4788853" y="2855535"/>
            <a:chExt cx="581829" cy="919474"/>
          </a:xfrm>
        </p:grpSpPr>
        <p:sp>
          <p:nvSpPr>
            <p:cNvPr id="117" name="Freeform 2013"/>
            <p:cNvSpPr>
              <a:spLocks/>
            </p:cNvSpPr>
            <p:nvPr/>
          </p:nvSpPr>
          <p:spPr bwMode="auto">
            <a:xfrm>
              <a:off x="5043556" y="2855535"/>
              <a:ext cx="327126" cy="915125"/>
            </a:xfrm>
            <a:custGeom>
              <a:avLst/>
              <a:gdLst>
                <a:gd name="T0" fmla="*/ 315 w 317"/>
                <a:gd name="T1" fmla="*/ 139 h 886"/>
                <a:gd name="T2" fmla="*/ 310 w 317"/>
                <a:gd name="T3" fmla="*/ 113 h 886"/>
                <a:gd name="T4" fmla="*/ 302 w 317"/>
                <a:gd name="T5" fmla="*/ 88 h 886"/>
                <a:gd name="T6" fmla="*/ 290 w 317"/>
                <a:gd name="T7" fmla="*/ 66 h 886"/>
                <a:gd name="T8" fmla="*/ 274 w 317"/>
                <a:gd name="T9" fmla="*/ 45 h 886"/>
                <a:gd name="T10" fmla="*/ 256 w 317"/>
                <a:gd name="T11" fmla="*/ 28 h 886"/>
                <a:gd name="T12" fmla="*/ 235 w 317"/>
                <a:gd name="T13" fmla="*/ 14 h 886"/>
                <a:gd name="T14" fmla="*/ 212 w 317"/>
                <a:gd name="T15" fmla="*/ 3 h 886"/>
                <a:gd name="T16" fmla="*/ 200 w 317"/>
                <a:gd name="T17" fmla="*/ 141 h 886"/>
                <a:gd name="T18" fmla="*/ 140 w 317"/>
                <a:gd name="T19" fmla="*/ 164 h 886"/>
                <a:gd name="T20" fmla="*/ 117 w 317"/>
                <a:gd name="T21" fmla="*/ 0 h 886"/>
                <a:gd name="T22" fmla="*/ 92 w 317"/>
                <a:gd name="T23" fmla="*/ 10 h 886"/>
                <a:gd name="T24" fmla="*/ 70 w 317"/>
                <a:gd name="T25" fmla="*/ 20 h 886"/>
                <a:gd name="T26" fmla="*/ 50 w 317"/>
                <a:gd name="T27" fmla="*/ 38 h 886"/>
                <a:gd name="T28" fmla="*/ 33 w 317"/>
                <a:gd name="T29" fmla="*/ 55 h 886"/>
                <a:gd name="T30" fmla="*/ 19 w 317"/>
                <a:gd name="T31" fmla="*/ 77 h 886"/>
                <a:gd name="T32" fmla="*/ 9 w 317"/>
                <a:gd name="T33" fmla="*/ 100 h 886"/>
                <a:gd name="T34" fmla="*/ 1 w 317"/>
                <a:gd name="T35" fmla="*/ 125 h 886"/>
                <a:gd name="T36" fmla="*/ 0 w 317"/>
                <a:gd name="T37" fmla="*/ 153 h 886"/>
                <a:gd name="T38" fmla="*/ 0 w 317"/>
                <a:gd name="T39" fmla="*/ 155 h 886"/>
                <a:gd name="T40" fmla="*/ 0 w 317"/>
                <a:gd name="T41" fmla="*/ 169 h 886"/>
                <a:gd name="T42" fmla="*/ 4 w 317"/>
                <a:gd name="T43" fmla="*/ 191 h 886"/>
                <a:gd name="T44" fmla="*/ 11 w 317"/>
                <a:gd name="T45" fmla="*/ 213 h 886"/>
                <a:gd name="T46" fmla="*/ 20 w 317"/>
                <a:gd name="T47" fmla="*/ 233 h 886"/>
                <a:gd name="T48" fmla="*/ 33 w 317"/>
                <a:gd name="T49" fmla="*/ 250 h 886"/>
                <a:gd name="T50" fmla="*/ 48 w 317"/>
                <a:gd name="T51" fmla="*/ 267 h 886"/>
                <a:gd name="T52" fmla="*/ 64 w 317"/>
                <a:gd name="T53" fmla="*/ 281 h 886"/>
                <a:gd name="T54" fmla="*/ 84 w 317"/>
                <a:gd name="T55" fmla="*/ 292 h 886"/>
                <a:gd name="T56" fmla="*/ 93 w 317"/>
                <a:gd name="T57" fmla="*/ 825 h 886"/>
                <a:gd name="T58" fmla="*/ 95 w 317"/>
                <a:gd name="T59" fmla="*/ 837 h 886"/>
                <a:gd name="T60" fmla="*/ 98 w 317"/>
                <a:gd name="T61" fmla="*/ 848 h 886"/>
                <a:gd name="T62" fmla="*/ 104 w 317"/>
                <a:gd name="T63" fmla="*/ 859 h 886"/>
                <a:gd name="T64" fmla="*/ 114 w 317"/>
                <a:gd name="T65" fmla="*/ 868 h 886"/>
                <a:gd name="T66" fmla="*/ 123 w 317"/>
                <a:gd name="T67" fmla="*/ 875 h 886"/>
                <a:gd name="T68" fmla="*/ 134 w 317"/>
                <a:gd name="T69" fmla="*/ 881 h 886"/>
                <a:gd name="T70" fmla="*/ 145 w 317"/>
                <a:gd name="T71" fmla="*/ 884 h 886"/>
                <a:gd name="T72" fmla="*/ 159 w 317"/>
                <a:gd name="T73" fmla="*/ 886 h 886"/>
                <a:gd name="T74" fmla="*/ 170 w 317"/>
                <a:gd name="T75" fmla="*/ 884 h 886"/>
                <a:gd name="T76" fmla="*/ 182 w 317"/>
                <a:gd name="T77" fmla="*/ 881 h 886"/>
                <a:gd name="T78" fmla="*/ 193 w 317"/>
                <a:gd name="T79" fmla="*/ 875 h 886"/>
                <a:gd name="T80" fmla="*/ 203 w 317"/>
                <a:gd name="T81" fmla="*/ 868 h 886"/>
                <a:gd name="T82" fmla="*/ 210 w 317"/>
                <a:gd name="T83" fmla="*/ 859 h 886"/>
                <a:gd name="T84" fmla="*/ 217 w 317"/>
                <a:gd name="T85" fmla="*/ 848 h 886"/>
                <a:gd name="T86" fmla="*/ 221 w 317"/>
                <a:gd name="T87" fmla="*/ 837 h 886"/>
                <a:gd name="T88" fmla="*/ 223 w 317"/>
                <a:gd name="T89" fmla="*/ 825 h 886"/>
                <a:gd name="T90" fmla="*/ 232 w 317"/>
                <a:gd name="T91" fmla="*/ 292 h 886"/>
                <a:gd name="T92" fmla="*/ 251 w 317"/>
                <a:gd name="T93" fmla="*/ 281 h 886"/>
                <a:gd name="T94" fmla="*/ 268 w 317"/>
                <a:gd name="T95" fmla="*/ 267 h 886"/>
                <a:gd name="T96" fmla="*/ 282 w 317"/>
                <a:gd name="T97" fmla="*/ 250 h 886"/>
                <a:gd name="T98" fmla="*/ 295 w 317"/>
                <a:gd name="T99" fmla="*/ 233 h 886"/>
                <a:gd name="T100" fmla="*/ 306 w 317"/>
                <a:gd name="T101" fmla="*/ 213 h 886"/>
                <a:gd name="T102" fmla="*/ 312 w 317"/>
                <a:gd name="T103" fmla="*/ 191 h 886"/>
                <a:gd name="T104" fmla="*/ 315 w 317"/>
                <a:gd name="T105" fmla="*/ 169 h 886"/>
                <a:gd name="T106" fmla="*/ 317 w 317"/>
                <a:gd name="T107" fmla="*/ 155 h 886"/>
                <a:gd name="T108" fmla="*/ 317 w 317"/>
                <a:gd name="T109" fmla="*/ 153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7" h="886">
                  <a:moveTo>
                    <a:pt x="317" y="153"/>
                  </a:moveTo>
                  <a:lnTo>
                    <a:pt x="315" y="139"/>
                  </a:lnTo>
                  <a:lnTo>
                    <a:pt x="313" y="125"/>
                  </a:lnTo>
                  <a:lnTo>
                    <a:pt x="310" y="113"/>
                  </a:lnTo>
                  <a:lnTo>
                    <a:pt x="307" y="100"/>
                  </a:lnTo>
                  <a:lnTo>
                    <a:pt x="302" y="88"/>
                  </a:lnTo>
                  <a:lnTo>
                    <a:pt x="296" y="77"/>
                  </a:lnTo>
                  <a:lnTo>
                    <a:pt x="290" y="66"/>
                  </a:lnTo>
                  <a:lnTo>
                    <a:pt x="282" y="55"/>
                  </a:lnTo>
                  <a:lnTo>
                    <a:pt x="274" y="45"/>
                  </a:lnTo>
                  <a:lnTo>
                    <a:pt x="265" y="38"/>
                  </a:lnTo>
                  <a:lnTo>
                    <a:pt x="256" y="28"/>
                  </a:lnTo>
                  <a:lnTo>
                    <a:pt x="246" y="20"/>
                  </a:lnTo>
                  <a:lnTo>
                    <a:pt x="235" y="14"/>
                  </a:lnTo>
                  <a:lnTo>
                    <a:pt x="223" y="10"/>
                  </a:lnTo>
                  <a:lnTo>
                    <a:pt x="212" y="3"/>
                  </a:lnTo>
                  <a:lnTo>
                    <a:pt x="200" y="0"/>
                  </a:lnTo>
                  <a:lnTo>
                    <a:pt x="200" y="141"/>
                  </a:lnTo>
                  <a:lnTo>
                    <a:pt x="176" y="164"/>
                  </a:lnTo>
                  <a:lnTo>
                    <a:pt x="140" y="164"/>
                  </a:lnTo>
                  <a:lnTo>
                    <a:pt x="117" y="141"/>
                  </a:lnTo>
                  <a:lnTo>
                    <a:pt x="117" y="0"/>
                  </a:lnTo>
                  <a:lnTo>
                    <a:pt x="104" y="3"/>
                  </a:lnTo>
                  <a:lnTo>
                    <a:pt x="92" y="10"/>
                  </a:lnTo>
                  <a:lnTo>
                    <a:pt x="81" y="14"/>
                  </a:lnTo>
                  <a:lnTo>
                    <a:pt x="70" y="20"/>
                  </a:lnTo>
                  <a:lnTo>
                    <a:pt x="61" y="28"/>
                  </a:lnTo>
                  <a:lnTo>
                    <a:pt x="50" y="38"/>
                  </a:lnTo>
                  <a:lnTo>
                    <a:pt x="42" y="45"/>
                  </a:lnTo>
                  <a:lnTo>
                    <a:pt x="33" y="55"/>
                  </a:lnTo>
                  <a:lnTo>
                    <a:pt x="26" y="66"/>
                  </a:lnTo>
                  <a:lnTo>
                    <a:pt x="19" y="77"/>
                  </a:lnTo>
                  <a:lnTo>
                    <a:pt x="14" y="88"/>
                  </a:lnTo>
                  <a:lnTo>
                    <a:pt x="9" y="100"/>
                  </a:lnTo>
                  <a:lnTo>
                    <a:pt x="4" y="113"/>
                  </a:lnTo>
                  <a:lnTo>
                    <a:pt x="1" y="125"/>
                  </a:lnTo>
                  <a:lnTo>
                    <a:pt x="0" y="139"/>
                  </a:lnTo>
                  <a:lnTo>
                    <a:pt x="0" y="153"/>
                  </a:lnTo>
                  <a:lnTo>
                    <a:pt x="0" y="153"/>
                  </a:lnTo>
                  <a:lnTo>
                    <a:pt x="0" y="155"/>
                  </a:lnTo>
                  <a:lnTo>
                    <a:pt x="0" y="156"/>
                  </a:lnTo>
                  <a:lnTo>
                    <a:pt x="0" y="169"/>
                  </a:lnTo>
                  <a:lnTo>
                    <a:pt x="1" y="180"/>
                  </a:lnTo>
                  <a:lnTo>
                    <a:pt x="4" y="191"/>
                  </a:lnTo>
                  <a:lnTo>
                    <a:pt x="6" y="202"/>
                  </a:lnTo>
                  <a:lnTo>
                    <a:pt x="11" y="213"/>
                  </a:lnTo>
                  <a:lnTo>
                    <a:pt x="15" y="222"/>
                  </a:lnTo>
                  <a:lnTo>
                    <a:pt x="20" y="233"/>
                  </a:lnTo>
                  <a:lnTo>
                    <a:pt x="26" y="242"/>
                  </a:lnTo>
                  <a:lnTo>
                    <a:pt x="33" y="250"/>
                  </a:lnTo>
                  <a:lnTo>
                    <a:pt x="40" y="259"/>
                  </a:lnTo>
                  <a:lnTo>
                    <a:pt x="48" y="267"/>
                  </a:lnTo>
                  <a:lnTo>
                    <a:pt x="56" y="275"/>
                  </a:lnTo>
                  <a:lnTo>
                    <a:pt x="64" y="281"/>
                  </a:lnTo>
                  <a:lnTo>
                    <a:pt x="73" y="288"/>
                  </a:lnTo>
                  <a:lnTo>
                    <a:pt x="84" y="292"/>
                  </a:lnTo>
                  <a:lnTo>
                    <a:pt x="93" y="298"/>
                  </a:lnTo>
                  <a:lnTo>
                    <a:pt x="93" y="825"/>
                  </a:lnTo>
                  <a:lnTo>
                    <a:pt x="93" y="831"/>
                  </a:lnTo>
                  <a:lnTo>
                    <a:pt x="95" y="837"/>
                  </a:lnTo>
                  <a:lnTo>
                    <a:pt x="97" y="842"/>
                  </a:lnTo>
                  <a:lnTo>
                    <a:pt x="98" y="848"/>
                  </a:lnTo>
                  <a:lnTo>
                    <a:pt x="101" y="853"/>
                  </a:lnTo>
                  <a:lnTo>
                    <a:pt x="104" y="859"/>
                  </a:lnTo>
                  <a:lnTo>
                    <a:pt x="109" y="864"/>
                  </a:lnTo>
                  <a:lnTo>
                    <a:pt x="114" y="868"/>
                  </a:lnTo>
                  <a:lnTo>
                    <a:pt x="118" y="872"/>
                  </a:lnTo>
                  <a:lnTo>
                    <a:pt x="123" y="875"/>
                  </a:lnTo>
                  <a:lnTo>
                    <a:pt x="128" y="878"/>
                  </a:lnTo>
                  <a:lnTo>
                    <a:pt x="134" y="881"/>
                  </a:lnTo>
                  <a:lnTo>
                    <a:pt x="140" y="882"/>
                  </a:lnTo>
                  <a:lnTo>
                    <a:pt x="145" y="884"/>
                  </a:lnTo>
                  <a:lnTo>
                    <a:pt x="151" y="886"/>
                  </a:lnTo>
                  <a:lnTo>
                    <a:pt x="159" y="886"/>
                  </a:lnTo>
                  <a:lnTo>
                    <a:pt x="165" y="886"/>
                  </a:lnTo>
                  <a:lnTo>
                    <a:pt x="170" y="884"/>
                  </a:lnTo>
                  <a:lnTo>
                    <a:pt x="176" y="882"/>
                  </a:lnTo>
                  <a:lnTo>
                    <a:pt x="182" y="881"/>
                  </a:lnTo>
                  <a:lnTo>
                    <a:pt x="189" y="878"/>
                  </a:lnTo>
                  <a:lnTo>
                    <a:pt x="193" y="875"/>
                  </a:lnTo>
                  <a:lnTo>
                    <a:pt x="198" y="872"/>
                  </a:lnTo>
                  <a:lnTo>
                    <a:pt x="203" y="868"/>
                  </a:lnTo>
                  <a:lnTo>
                    <a:pt x="207" y="864"/>
                  </a:lnTo>
                  <a:lnTo>
                    <a:pt x="210" y="859"/>
                  </a:lnTo>
                  <a:lnTo>
                    <a:pt x="214" y="853"/>
                  </a:lnTo>
                  <a:lnTo>
                    <a:pt x="217" y="848"/>
                  </a:lnTo>
                  <a:lnTo>
                    <a:pt x="220" y="842"/>
                  </a:lnTo>
                  <a:lnTo>
                    <a:pt x="221" y="837"/>
                  </a:lnTo>
                  <a:lnTo>
                    <a:pt x="221" y="831"/>
                  </a:lnTo>
                  <a:lnTo>
                    <a:pt x="223" y="825"/>
                  </a:lnTo>
                  <a:lnTo>
                    <a:pt x="223" y="298"/>
                  </a:lnTo>
                  <a:lnTo>
                    <a:pt x="232" y="292"/>
                  </a:lnTo>
                  <a:lnTo>
                    <a:pt x="242" y="288"/>
                  </a:lnTo>
                  <a:lnTo>
                    <a:pt x="251" y="281"/>
                  </a:lnTo>
                  <a:lnTo>
                    <a:pt x="260" y="275"/>
                  </a:lnTo>
                  <a:lnTo>
                    <a:pt x="268" y="267"/>
                  </a:lnTo>
                  <a:lnTo>
                    <a:pt x="276" y="259"/>
                  </a:lnTo>
                  <a:lnTo>
                    <a:pt x="282" y="250"/>
                  </a:lnTo>
                  <a:lnTo>
                    <a:pt x="290" y="242"/>
                  </a:lnTo>
                  <a:lnTo>
                    <a:pt x="295" y="233"/>
                  </a:lnTo>
                  <a:lnTo>
                    <a:pt x="301" y="222"/>
                  </a:lnTo>
                  <a:lnTo>
                    <a:pt x="306" y="213"/>
                  </a:lnTo>
                  <a:lnTo>
                    <a:pt x="309" y="202"/>
                  </a:lnTo>
                  <a:lnTo>
                    <a:pt x="312" y="191"/>
                  </a:lnTo>
                  <a:lnTo>
                    <a:pt x="313" y="180"/>
                  </a:lnTo>
                  <a:lnTo>
                    <a:pt x="315" y="169"/>
                  </a:lnTo>
                  <a:lnTo>
                    <a:pt x="317" y="156"/>
                  </a:lnTo>
                  <a:lnTo>
                    <a:pt x="317" y="155"/>
                  </a:lnTo>
                  <a:lnTo>
                    <a:pt x="317" y="153"/>
                  </a:lnTo>
                  <a:lnTo>
                    <a:pt x="317" y="153"/>
                  </a:lnTo>
                  <a:lnTo>
                    <a:pt x="317" y="153"/>
                  </a:lnTo>
                  <a:close/>
                </a:path>
              </a:pathLst>
            </a:custGeom>
            <a:solidFill>
              <a:schemeClr val="bg1"/>
            </a:solidFill>
            <a:ln w="9525">
              <a:noFill/>
              <a:round/>
              <a:headEnd/>
              <a:tailEnd/>
            </a:ln>
            <a:extLst/>
          </p:spPr>
          <p:txBody>
            <a:bodyPr vert="horz" wrap="square" lIns="91416" tIns="45708" rIns="91416" bIns="45708" numCol="1" anchor="t" anchorCtr="0" compatLnSpc="1">
              <a:prstTxWarp prst="textNoShape">
                <a:avLst/>
              </a:prstTxWarp>
            </a:bodyPr>
            <a:lstStyle/>
            <a:p>
              <a:pPr defTabSz="914126"/>
              <a:endParaRPr lang="en-US" sz="1799">
                <a:solidFill>
                  <a:prstClr val="black"/>
                </a:solidFill>
              </a:endParaRPr>
            </a:p>
          </p:txBody>
        </p:sp>
        <p:grpSp>
          <p:nvGrpSpPr>
            <p:cNvPr id="118" name="Group 117"/>
            <p:cNvGrpSpPr/>
            <p:nvPr/>
          </p:nvGrpSpPr>
          <p:grpSpPr>
            <a:xfrm>
              <a:off x="4788853" y="2878506"/>
              <a:ext cx="204971" cy="896503"/>
              <a:chOff x="4788853" y="2878506"/>
              <a:chExt cx="204971" cy="896503"/>
            </a:xfrm>
          </p:grpSpPr>
          <p:sp>
            <p:nvSpPr>
              <p:cNvPr id="119" name="Freeform 2016"/>
              <p:cNvSpPr>
                <a:spLocks/>
              </p:cNvSpPr>
              <p:nvPr/>
            </p:nvSpPr>
            <p:spPr bwMode="auto">
              <a:xfrm>
                <a:off x="4788853" y="3412681"/>
                <a:ext cx="204971" cy="229820"/>
              </a:xfrm>
              <a:custGeom>
                <a:avLst/>
                <a:gdLst>
                  <a:gd name="T0" fmla="*/ 190 w 198"/>
                  <a:gd name="T1" fmla="*/ 0 h 222"/>
                  <a:gd name="T2" fmla="*/ 8 w 198"/>
                  <a:gd name="T3" fmla="*/ 0 h 222"/>
                  <a:gd name="T4" fmla="*/ 6 w 198"/>
                  <a:gd name="T5" fmla="*/ 3 h 222"/>
                  <a:gd name="T6" fmla="*/ 6 w 198"/>
                  <a:gd name="T7" fmla="*/ 6 h 222"/>
                  <a:gd name="T8" fmla="*/ 3 w 198"/>
                  <a:gd name="T9" fmla="*/ 11 h 222"/>
                  <a:gd name="T10" fmla="*/ 1 w 198"/>
                  <a:gd name="T11" fmla="*/ 14 h 222"/>
                  <a:gd name="T12" fmla="*/ 0 w 198"/>
                  <a:gd name="T13" fmla="*/ 16 h 222"/>
                  <a:gd name="T14" fmla="*/ 0 w 198"/>
                  <a:gd name="T15" fmla="*/ 17 h 222"/>
                  <a:gd name="T16" fmla="*/ 0 w 198"/>
                  <a:gd name="T17" fmla="*/ 19 h 222"/>
                  <a:gd name="T18" fmla="*/ 0 w 198"/>
                  <a:gd name="T19" fmla="*/ 222 h 222"/>
                  <a:gd name="T20" fmla="*/ 198 w 198"/>
                  <a:gd name="T21" fmla="*/ 222 h 222"/>
                  <a:gd name="T22" fmla="*/ 198 w 198"/>
                  <a:gd name="T23" fmla="*/ 19 h 222"/>
                  <a:gd name="T24" fmla="*/ 198 w 198"/>
                  <a:gd name="T25" fmla="*/ 17 h 222"/>
                  <a:gd name="T26" fmla="*/ 196 w 198"/>
                  <a:gd name="T27" fmla="*/ 16 h 222"/>
                  <a:gd name="T28" fmla="*/ 196 w 198"/>
                  <a:gd name="T29" fmla="*/ 14 h 222"/>
                  <a:gd name="T30" fmla="*/ 195 w 198"/>
                  <a:gd name="T31" fmla="*/ 11 h 222"/>
                  <a:gd name="T32" fmla="*/ 192 w 198"/>
                  <a:gd name="T33" fmla="*/ 6 h 222"/>
                  <a:gd name="T34" fmla="*/ 190 w 198"/>
                  <a:gd name="T35" fmla="*/ 3 h 222"/>
                  <a:gd name="T36" fmla="*/ 190 w 198"/>
                  <a:gd name="T37" fmla="*/ 0 h 222"/>
                  <a:gd name="T38" fmla="*/ 190 w 198"/>
                  <a:gd name="T3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222">
                    <a:moveTo>
                      <a:pt x="190" y="0"/>
                    </a:moveTo>
                    <a:lnTo>
                      <a:pt x="8" y="0"/>
                    </a:lnTo>
                    <a:lnTo>
                      <a:pt x="6" y="3"/>
                    </a:lnTo>
                    <a:lnTo>
                      <a:pt x="6" y="6"/>
                    </a:lnTo>
                    <a:lnTo>
                      <a:pt x="3" y="11"/>
                    </a:lnTo>
                    <a:lnTo>
                      <a:pt x="1" y="14"/>
                    </a:lnTo>
                    <a:lnTo>
                      <a:pt x="0" y="16"/>
                    </a:lnTo>
                    <a:lnTo>
                      <a:pt x="0" y="17"/>
                    </a:lnTo>
                    <a:lnTo>
                      <a:pt x="0" y="19"/>
                    </a:lnTo>
                    <a:lnTo>
                      <a:pt x="0" y="222"/>
                    </a:lnTo>
                    <a:lnTo>
                      <a:pt x="198" y="222"/>
                    </a:lnTo>
                    <a:lnTo>
                      <a:pt x="198" y="19"/>
                    </a:lnTo>
                    <a:lnTo>
                      <a:pt x="198" y="17"/>
                    </a:lnTo>
                    <a:lnTo>
                      <a:pt x="196" y="16"/>
                    </a:lnTo>
                    <a:lnTo>
                      <a:pt x="196" y="14"/>
                    </a:lnTo>
                    <a:lnTo>
                      <a:pt x="195" y="11"/>
                    </a:lnTo>
                    <a:lnTo>
                      <a:pt x="192" y="6"/>
                    </a:lnTo>
                    <a:lnTo>
                      <a:pt x="190" y="3"/>
                    </a:lnTo>
                    <a:lnTo>
                      <a:pt x="190" y="0"/>
                    </a:lnTo>
                    <a:lnTo>
                      <a:pt x="190" y="0"/>
                    </a:lnTo>
                    <a:close/>
                  </a:path>
                </a:pathLst>
              </a:custGeom>
              <a:solidFill>
                <a:schemeClr val="bg1"/>
              </a:solidFill>
              <a:ln w="9525">
                <a:noFill/>
                <a:round/>
                <a:headEnd/>
                <a:tailEnd/>
              </a:ln>
              <a:extLst/>
            </p:spPr>
            <p:txBody>
              <a:bodyPr vert="horz" wrap="square" lIns="91416" tIns="45708" rIns="91416" bIns="45708" numCol="1" anchor="t" anchorCtr="0" compatLnSpc="1">
                <a:prstTxWarp prst="textNoShape">
                  <a:avLst/>
                </a:prstTxWarp>
              </a:bodyPr>
              <a:lstStyle/>
              <a:p>
                <a:pPr defTabSz="914126"/>
                <a:endParaRPr lang="en-US" sz="1799">
                  <a:solidFill>
                    <a:prstClr val="black"/>
                  </a:solidFill>
                </a:endParaRPr>
              </a:p>
            </p:txBody>
          </p:sp>
          <p:sp>
            <p:nvSpPr>
              <p:cNvPr id="120" name="Freeform 2017"/>
              <p:cNvSpPr>
                <a:spLocks/>
              </p:cNvSpPr>
              <p:nvPr/>
            </p:nvSpPr>
            <p:spPr bwMode="auto">
              <a:xfrm>
                <a:off x="4788853" y="3669416"/>
                <a:ext cx="204971" cy="105593"/>
              </a:xfrm>
              <a:custGeom>
                <a:avLst/>
                <a:gdLst>
                  <a:gd name="T0" fmla="*/ 0 w 198"/>
                  <a:gd name="T1" fmla="*/ 10 h 102"/>
                  <a:gd name="T2" fmla="*/ 0 w 198"/>
                  <a:gd name="T3" fmla="*/ 28 h 102"/>
                  <a:gd name="T4" fmla="*/ 0 w 198"/>
                  <a:gd name="T5" fmla="*/ 38 h 102"/>
                  <a:gd name="T6" fmla="*/ 1 w 198"/>
                  <a:gd name="T7" fmla="*/ 46 h 102"/>
                  <a:gd name="T8" fmla="*/ 3 w 198"/>
                  <a:gd name="T9" fmla="*/ 53 h 102"/>
                  <a:gd name="T10" fmla="*/ 4 w 198"/>
                  <a:gd name="T11" fmla="*/ 61 h 102"/>
                  <a:gd name="T12" fmla="*/ 8 w 198"/>
                  <a:gd name="T13" fmla="*/ 69 h 102"/>
                  <a:gd name="T14" fmla="*/ 12 w 198"/>
                  <a:gd name="T15" fmla="*/ 75 h 102"/>
                  <a:gd name="T16" fmla="*/ 17 w 198"/>
                  <a:gd name="T17" fmla="*/ 81 h 102"/>
                  <a:gd name="T18" fmla="*/ 23 w 198"/>
                  <a:gd name="T19" fmla="*/ 86 h 102"/>
                  <a:gd name="T20" fmla="*/ 31 w 198"/>
                  <a:gd name="T21" fmla="*/ 91 h 102"/>
                  <a:gd name="T22" fmla="*/ 36 w 198"/>
                  <a:gd name="T23" fmla="*/ 92 h 102"/>
                  <a:gd name="T24" fmla="*/ 42 w 198"/>
                  <a:gd name="T25" fmla="*/ 94 h 102"/>
                  <a:gd name="T26" fmla="*/ 47 w 198"/>
                  <a:gd name="T27" fmla="*/ 95 h 102"/>
                  <a:gd name="T28" fmla="*/ 53 w 198"/>
                  <a:gd name="T29" fmla="*/ 97 h 102"/>
                  <a:gd name="T30" fmla="*/ 59 w 198"/>
                  <a:gd name="T31" fmla="*/ 99 h 102"/>
                  <a:gd name="T32" fmla="*/ 65 w 198"/>
                  <a:gd name="T33" fmla="*/ 100 h 102"/>
                  <a:gd name="T34" fmla="*/ 73 w 198"/>
                  <a:gd name="T35" fmla="*/ 100 h 102"/>
                  <a:gd name="T36" fmla="*/ 81 w 198"/>
                  <a:gd name="T37" fmla="*/ 102 h 102"/>
                  <a:gd name="T38" fmla="*/ 89 w 198"/>
                  <a:gd name="T39" fmla="*/ 102 h 102"/>
                  <a:gd name="T40" fmla="*/ 98 w 198"/>
                  <a:gd name="T41" fmla="*/ 102 h 102"/>
                  <a:gd name="T42" fmla="*/ 106 w 198"/>
                  <a:gd name="T43" fmla="*/ 102 h 102"/>
                  <a:gd name="T44" fmla="*/ 115 w 198"/>
                  <a:gd name="T45" fmla="*/ 102 h 102"/>
                  <a:gd name="T46" fmla="*/ 123 w 198"/>
                  <a:gd name="T47" fmla="*/ 100 h 102"/>
                  <a:gd name="T48" fmla="*/ 131 w 198"/>
                  <a:gd name="T49" fmla="*/ 100 h 102"/>
                  <a:gd name="T50" fmla="*/ 137 w 198"/>
                  <a:gd name="T51" fmla="*/ 99 h 102"/>
                  <a:gd name="T52" fmla="*/ 143 w 198"/>
                  <a:gd name="T53" fmla="*/ 97 h 102"/>
                  <a:gd name="T54" fmla="*/ 150 w 198"/>
                  <a:gd name="T55" fmla="*/ 95 h 102"/>
                  <a:gd name="T56" fmla="*/ 156 w 198"/>
                  <a:gd name="T57" fmla="*/ 94 h 102"/>
                  <a:gd name="T58" fmla="*/ 161 w 198"/>
                  <a:gd name="T59" fmla="*/ 92 h 102"/>
                  <a:gd name="T60" fmla="*/ 165 w 198"/>
                  <a:gd name="T61" fmla="*/ 91 h 102"/>
                  <a:gd name="T62" fmla="*/ 170 w 198"/>
                  <a:gd name="T63" fmla="*/ 89 h 102"/>
                  <a:gd name="T64" fmla="*/ 173 w 198"/>
                  <a:gd name="T65" fmla="*/ 86 h 102"/>
                  <a:gd name="T66" fmla="*/ 181 w 198"/>
                  <a:gd name="T67" fmla="*/ 81 h 102"/>
                  <a:gd name="T68" fmla="*/ 185 w 198"/>
                  <a:gd name="T69" fmla="*/ 75 h 102"/>
                  <a:gd name="T70" fmla="*/ 190 w 198"/>
                  <a:gd name="T71" fmla="*/ 69 h 102"/>
                  <a:gd name="T72" fmla="*/ 193 w 198"/>
                  <a:gd name="T73" fmla="*/ 61 h 102"/>
                  <a:gd name="T74" fmla="*/ 195 w 198"/>
                  <a:gd name="T75" fmla="*/ 53 h 102"/>
                  <a:gd name="T76" fmla="*/ 196 w 198"/>
                  <a:gd name="T77" fmla="*/ 46 h 102"/>
                  <a:gd name="T78" fmla="*/ 198 w 198"/>
                  <a:gd name="T79" fmla="*/ 38 h 102"/>
                  <a:gd name="T80" fmla="*/ 198 w 198"/>
                  <a:gd name="T81" fmla="*/ 28 h 102"/>
                  <a:gd name="T82" fmla="*/ 198 w 198"/>
                  <a:gd name="T83" fmla="*/ 10 h 102"/>
                  <a:gd name="T84" fmla="*/ 198 w 198"/>
                  <a:gd name="T85" fmla="*/ 10 h 102"/>
                  <a:gd name="T86" fmla="*/ 198 w 198"/>
                  <a:gd name="T87" fmla="*/ 0 h 102"/>
                  <a:gd name="T88" fmla="*/ 0 w 198"/>
                  <a:gd name="T89" fmla="*/ 0 h 102"/>
                  <a:gd name="T90" fmla="*/ 0 w 198"/>
                  <a:gd name="T91" fmla="*/ 10 h 102"/>
                  <a:gd name="T92" fmla="*/ 0 w 198"/>
                  <a:gd name="T93" fmla="*/ 1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8" h="102">
                    <a:moveTo>
                      <a:pt x="0" y="10"/>
                    </a:moveTo>
                    <a:lnTo>
                      <a:pt x="0" y="28"/>
                    </a:lnTo>
                    <a:lnTo>
                      <a:pt x="0" y="38"/>
                    </a:lnTo>
                    <a:lnTo>
                      <a:pt x="1" y="46"/>
                    </a:lnTo>
                    <a:lnTo>
                      <a:pt x="3" y="53"/>
                    </a:lnTo>
                    <a:lnTo>
                      <a:pt x="4" y="61"/>
                    </a:lnTo>
                    <a:lnTo>
                      <a:pt x="8" y="69"/>
                    </a:lnTo>
                    <a:lnTo>
                      <a:pt x="12" y="75"/>
                    </a:lnTo>
                    <a:lnTo>
                      <a:pt x="17" y="81"/>
                    </a:lnTo>
                    <a:lnTo>
                      <a:pt x="23" y="86"/>
                    </a:lnTo>
                    <a:lnTo>
                      <a:pt x="31" y="91"/>
                    </a:lnTo>
                    <a:lnTo>
                      <a:pt x="36" y="92"/>
                    </a:lnTo>
                    <a:lnTo>
                      <a:pt x="42" y="94"/>
                    </a:lnTo>
                    <a:lnTo>
                      <a:pt x="47" y="95"/>
                    </a:lnTo>
                    <a:lnTo>
                      <a:pt x="53" y="97"/>
                    </a:lnTo>
                    <a:lnTo>
                      <a:pt x="59" y="99"/>
                    </a:lnTo>
                    <a:lnTo>
                      <a:pt x="65" y="100"/>
                    </a:lnTo>
                    <a:lnTo>
                      <a:pt x="73" y="100"/>
                    </a:lnTo>
                    <a:lnTo>
                      <a:pt x="81" y="102"/>
                    </a:lnTo>
                    <a:lnTo>
                      <a:pt x="89" y="102"/>
                    </a:lnTo>
                    <a:lnTo>
                      <a:pt x="98" y="102"/>
                    </a:lnTo>
                    <a:lnTo>
                      <a:pt x="106" y="102"/>
                    </a:lnTo>
                    <a:lnTo>
                      <a:pt x="115" y="102"/>
                    </a:lnTo>
                    <a:lnTo>
                      <a:pt x="123" y="100"/>
                    </a:lnTo>
                    <a:lnTo>
                      <a:pt x="131" y="100"/>
                    </a:lnTo>
                    <a:lnTo>
                      <a:pt x="137" y="99"/>
                    </a:lnTo>
                    <a:lnTo>
                      <a:pt x="143" y="97"/>
                    </a:lnTo>
                    <a:lnTo>
                      <a:pt x="150" y="95"/>
                    </a:lnTo>
                    <a:lnTo>
                      <a:pt x="156" y="94"/>
                    </a:lnTo>
                    <a:lnTo>
                      <a:pt x="161" y="92"/>
                    </a:lnTo>
                    <a:lnTo>
                      <a:pt x="165" y="91"/>
                    </a:lnTo>
                    <a:lnTo>
                      <a:pt x="170" y="89"/>
                    </a:lnTo>
                    <a:lnTo>
                      <a:pt x="173" y="86"/>
                    </a:lnTo>
                    <a:lnTo>
                      <a:pt x="181" y="81"/>
                    </a:lnTo>
                    <a:lnTo>
                      <a:pt x="185" y="75"/>
                    </a:lnTo>
                    <a:lnTo>
                      <a:pt x="190" y="69"/>
                    </a:lnTo>
                    <a:lnTo>
                      <a:pt x="193" y="61"/>
                    </a:lnTo>
                    <a:lnTo>
                      <a:pt x="195" y="53"/>
                    </a:lnTo>
                    <a:lnTo>
                      <a:pt x="196" y="46"/>
                    </a:lnTo>
                    <a:lnTo>
                      <a:pt x="198" y="38"/>
                    </a:lnTo>
                    <a:lnTo>
                      <a:pt x="198" y="28"/>
                    </a:lnTo>
                    <a:lnTo>
                      <a:pt x="198" y="10"/>
                    </a:lnTo>
                    <a:lnTo>
                      <a:pt x="198" y="10"/>
                    </a:lnTo>
                    <a:lnTo>
                      <a:pt x="198" y="0"/>
                    </a:lnTo>
                    <a:lnTo>
                      <a:pt x="0" y="0"/>
                    </a:lnTo>
                    <a:lnTo>
                      <a:pt x="0" y="10"/>
                    </a:lnTo>
                    <a:lnTo>
                      <a:pt x="0" y="10"/>
                    </a:lnTo>
                    <a:close/>
                  </a:path>
                </a:pathLst>
              </a:custGeom>
              <a:solidFill>
                <a:schemeClr val="bg1"/>
              </a:solidFill>
              <a:ln w="9525">
                <a:noFill/>
                <a:round/>
                <a:headEnd/>
                <a:tailEnd/>
              </a:ln>
              <a:extLst/>
            </p:spPr>
            <p:txBody>
              <a:bodyPr vert="horz" wrap="square" lIns="91416" tIns="45708" rIns="91416" bIns="45708" numCol="1" anchor="t" anchorCtr="0" compatLnSpc="1">
                <a:prstTxWarp prst="textNoShape">
                  <a:avLst/>
                </a:prstTxWarp>
              </a:bodyPr>
              <a:lstStyle/>
              <a:p>
                <a:pPr defTabSz="914126"/>
                <a:endParaRPr lang="en-US" sz="1799">
                  <a:solidFill>
                    <a:prstClr val="black"/>
                  </a:solidFill>
                </a:endParaRPr>
              </a:p>
            </p:txBody>
          </p:sp>
          <p:sp>
            <p:nvSpPr>
              <p:cNvPr id="121" name="Freeform 2018"/>
              <p:cNvSpPr>
                <a:spLocks/>
              </p:cNvSpPr>
              <p:nvPr/>
            </p:nvSpPr>
            <p:spPr bwMode="auto">
              <a:xfrm>
                <a:off x="4788853" y="2878506"/>
                <a:ext cx="204971" cy="509330"/>
              </a:xfrm>
              <a:custGeom>
                <a:avLst/>
                <a:gdLst>
                  <a:gd name="T0" fmla="*/ 140 w 198"/>
                  <a:gd name="T1" fmla="*/ 153 h 492"/>
                  <a:gd name="T2" fmla="*/ 164 w 198"/>
                  <a:gd name="T3" fmla="*/ 153 h 492"/>
                  <a:gd name="T4" fmla="*/ 164 w 198"/>
                  <a:gd name="T5" fmla="*/ 129 h 492"/>
                  <a:gd name="T6" fmla="*/ 150 w 198"/>
                  <a:gd name="T7" fmla="*/ 129 h 492"/>
                  <a:gd name="T8" fmla="*/ 140 w 198"/>
                  <a:gd name="T9" fmla="*/ 0 h 492"/>
                  <a:gd name="T10" fmla="*/ 58 w 198"/>
                  <a:gd name="T11" fmla="*/ 0 h 492"/>
                  <a:gd name="T12" fmla="*/ 47 w 198"/>
                  <a:gd name="T13" fmla="*/ 129 h 492"/>
                  <a:gd name="T14" fmla="*/ 34 w 198"/>
                  <a:gd name="T15" fmla="*/ 129 h 492"/>
                  <a:gd name="T16" fmla="*/ 34 w 198"/>
                  <a:gd name="T17" fmla="*/ 153 h 492"/>
                  <a:gd name="T18" fmla="*/ 58 w 198"/>
                  <a:gd name="T19" fmla="*/ 153 h 492"/>
                  <a:gd name="T20" fmla="*/ 58 w 198"/>
                  <a:gd name="T21" fmla="*/ 421 h 492"/>
                  <a:gd name="T22" fmla="*/ 0 w 198"/>
                  <a:gd name="T23" fmla="*/ 421 h 492"/>
                  <a:gd name="T24" fmla="*/ 11 w 198"/>
                  <a:gd name="T25" fmla="*/ 468 h 492"/>
                  <a:gd name="T26" fmla="*/ 34 w 198"/>
                  <a:gd name="T27" fmla="*/ 468 h 492"/>
                  <a:gd name="T28" fmla="*/ 28 w 198"/>
                  <a:gd name="T29" fmla="*/ 473 h 492"/>
                  <a:gd name="T30" fmla="*/ 22 w 198"/>
                  <a:gd name="T31" fmla="*/ 479 h 492"/>
                  <a:gd name="T32" fmla="*/ 15 w 198"/>
                  <a:gd name="T33" fmla="*/ 485 h 492"/>
                  <a:gd name="T34" fmla="*/ 11 w 198"/>
                  <a:gd name="T35" fmla="*/ 492 h 492"/>
                  <a:gd name="T36" fmla="*/ 187 w 198"/>
                  <a:gd name="T37" fmla="*/ 492 h 492"/>
                  <a:gd name="T38" fmla="*/ 184 w 198"/>
                  <a:gd name="T39" fmla="*/ 488 h 492"/>
                  <a:gd name="T40" fmla="*/ 181 w 198"/>
                  <a:gd name="T41" fmla="*/ 485 h 492"/>
                  <a:gd name="T42" fmla="*/ 176 w 198"/>
                  <a:gd name="T43" fmla="*/ 479 h 492"/>
                  <a:gd name="T44" fmla="*/ 168 w 198"/>
                  <a:gd name="T45" fmla="*/ 473 h 492"/>
                  <a:gd name="T46" fmla="*/ 164 w 198"/>
                  <a:gd name="T47" fmla="*/ 468 h 492"/>
                  <a:gd name="T48" fmla="*/ 187 w 198"/>
                  <a:gd name="T49" fmla="*/ 468 h 492"/>
                  <a:gd name="T50" fmla="*/ 198 w 198"/>
                  <a:gd name="T51" fmla="*/ 421 h 492"/>
                  <a:gd name="T52" fmla="*/ 140 w 198"/>
                  <a:gd name="T53" fmla="*/ 421 h 492"/>
                  <a:gd name="T54" fmla="*/ 140 w 198"/>
                  <a:gd name="T55" fmla="*/ 153 h 492"/>
                  <a:gd name="T56" fmla="*/ 140 w 198"/>
                  <a:gd name="T57" fmla="*/ 153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8" h="492">
                    <a:moveTo>
                      <a:pt x="140" y="153"/>
                    </a:moveTo>
                    <a:lnTo>
                      <a:pt x="164" y="153"/>
                    </a:lnTo>
                    <a:lnTo>
                      <a:pt x="164" y="129"/>
                    </a:lnTo>
                    <a:lnTo>
                      <a:pt x="150" y="129"/>
                    </a:lnTo>
                    <a:lnTo>
                      <a:pt x="140" y="0"/>
                    </a:lnTo>
                    <a:lnTo>
                      <a:pt x="58" y="0"/>
                    </a:lnTo>
                    <a:lnTo>
                      <a:pt x="47" y="129"/>
                    </a:lnTo>
                    <a:lnTo>
                      <a:pt x="34" y="129"/>
                    </a:lnTo>
                    <a:lnTo>
                      <a:pt x="34" y="153"/>
                    </a:lnTo>
                    <a:lnTo>
                      <a:pt x="58" y="153"/>
                    </a:lnTo>
                    <a:lnTo>
                      <a:pt x="58" y="421"/>
                    </a:lnTo>
                    <a:lnTo>
                      <a:pt x="0" y="421"/>
                    </a:lnTo>
                    <a:lnTo>
                      <a:pt x="11" y="468"/>
                    </a:lnTo>
                    <a:lnTo>
                      <a:pt x="34" y="468"/>
                    </a:lnTo>
                    <a:lnTo>
                      <a:pt x="28" y="473"/>
                    </a:lnTo>
                    <a:lnTo>
                      <a:pt x="22" y="479"/>
                    </a:lnTo>
                    <a:lnTo>
                      <a:pt x="15" y="485"/>
                    </a:lnTo>
                    <a:lnTo>
                      <a:pt x="11" y="492"/>
                    </a:lnTo>
                    <a:lnTo>
                      <a:pt x="187" y="492"/>
                    </a:lnTo>
                    <a:lnTo>
                      <a:pt x="184" y="488"/>
                    </a:lnTo>
                    <a:lnTo>
                      <a:pt x="181" y="485"/>
                    </a:lnTo>
                    <a:lnTo>
                      <a:pt x="176" y="479"/>
                    </a:lnTo>
                    <a:lnTo>
                      <a:pt x="168" y="473"/>
                    </a:lnTo>
                    <a:lnTo>
                      <a:pt x="164" y="468"/>
                    </a:lnTo>
                    <a:lnTo>
                      <a:pt x="187" y="468"/>
                    </a:lnTo>
                    <a:lnTo>
                      <a:pt x="198" y="421"/>
                    </a:lnTo>
                    <a:lnTo>
                      <a:pt x="140" y="421"/>
                    </a:lnTo>
                    <a:lnTo>
                      <a:pt x="140" y="153"/>
                    </a:lnTo>
                    <a:lnTo>
                      <a:pt x="140" y="153"/>
                    </a:lnTo>
                    <a:close/>
                  </a:path>
                </a:pathLst>
              </a:custGeom>
              <a:solidFill>
                <a:schemeClr val="bg1"/>
              </a:solidFill>
              <a:ln w="9525">
                <a:noFill/>
                <a:round/>
                <a:headEnd/>
                <a:tailEnd/>
              </a:ln>
              <a:extLst/>
            </p:spPr>
            <p:txBody>
              <a:bodyPr vert="horz" wrap="square" lIns="91416" tIns="45708" rIns="91416" bIns="45708" numCol="1" anchor="t" anchorCtr="0" compatLnSpc="1">
                <a:prstTxWarp prst="textNoShape">
                  <a:avLst/>
                </a:prstTxWarp>
              </a:bodyPr>
              <a:lstStyle/>
              <a:p>
                <a:pPr defTabSz="914126"/>
                <a:endParaRPr lang="en-US" sz="1799">
                  <a:solidFill>
                    <a:prstClr val="black"/>
                  </a:solidFill>
                </a:endParaRPr>
              </a:p>
            </p:txBody>
          </p:sp>
        </p:grpSp>
      </p:grpSp>
      <p:sp>
        <p:nvSpPr>
          <p:cNvPr id="106" name="Round Diagonal Corner Rectangle 53"/>
          <p:cNvSpPr/>
          <p:nvPr/>
        </p:nvSpPr>
        <p:spPr bwMode="auto">
          <a:xfrm>
            <a:off x="7032777" y="2202409"/>
            <a:ext cx="1315418" cy="1497284"/>
          </a:xfrm>
          <a:custGeom>
            <a:avLst/>
            <a:gdLst/>
            <a:ahLst/>
            <a:cxnLst/>
            <a:rect l="l" t="t" r="r" b="b"/>
            <a:pathLst>
              <a:path w="1069848" h="1217762">
                <a:moveTo>
                  <a:pt x="859964" y="887952"/>
                </a:moveTo>
                <a:cubicBezTo>
                  <a:pt x="859964" y="887952"/>
                  <a:pt x="859964" y="887952"/>
                  <a:pt x="859964" y="887953"/>
                </a:cubicBezTo>
                <a:lnTo>
                  <a:pt x="859964" y="887953"/>
                </a:lnTo>
                <a:close/>
                <a:moveTo>
                  <a:pt x="823054" y="851043"/>
                </a:moveTo>
                <a:lnTo>
                  <a:pt x="246792" y="851043"/>
                </a:lnTo>
                <a:cubicBezTo>
                  <a:pt x="226407" y="851043"/>
                  <a:pt x="209882" y="867568"/>
                  <a:pt x="209882" y="887953"/>
                </a:cubicBezTo>
                <a:lnTo>
                  <a:pt x="209883" y="887953"/>
                </a:lnTo>
                <a:cubicBezTo>
                  <a:pt x="209883" y="908338"/>
                  <a:pt x="226408" y="924863"/>
                  <a:pt x="246793" y="924863"/>
                </a:cubicBezTo>
                <a:lnTo>
                  <a:pt x="823054" y="924862"/>
                </a:lnTo>
                <a:cubicBezTo>
                  <a:pt x="843439" y="924862"/>
                  <a:pt x="859964" y="908337"/>
                  <a:pt x="859964" y="887953"/>
                </a:cubicBezTo>
                <a:cubicBezTo>
                  <a:pt x="859964" y="867568"/>
                  <a:pt x="843439" y="851043"/>
                  <a:pt x="823054" y="851043"/>
                </a:cubicBezTo>
                <a:close/>
                <a:moveTo>
                  <a:pt x="859964" y="716502"/>
                </a:moveTo>
                <a:lnTo>
                  <a:pt x="859964" y="716503"/>
                </a:lnTo>
                <a:lnTo>
                  <a:pt x="859964" y="716503"/>
                </a:lnTo>
                <a:close/>
                <a:moveTo>
                  <a:pt x="823054" y="679593"/>
                </a:moveTo>
                <a:lnTo>
                  <a:pt x="246792" y="679593"/>
                </a:lnTo>
                <a:cubicBezTo>
                  <a:pt x="226407" y="679593"/>
                  <a:pt x="209882" y="696118"/>
                  <a:pt x="209882" y="716503"/>
                </a:cubicBezTo>
                <a:lnTo>
                  <a:pt x="209883" y="716503"/>
                </a:lnTo>
                <a:cubicBezTo>
                  <a:pt x="209883" y="736888"/>
                  <a:pt x="226408" y="753413"/>
                  <a:pt x="246793" y="753413"/>
                </a:cubicBezTo>
                <a:lnTo>
                  <a:pt x="823054" y="753412"/>
                </a:lnTo>
                <a:cubicBezTo>
                  <a:pt x="843439" y="753412"/>
                  <a:pt x="859964" y="736887"/>
                  <a:pt x="859964" y="716503"/>
                </a:cubicBezTo>
                <a:cubicBezTo>
                  <a:pt x="859964" y="696118"/>
                  <a:pt x="843439" y="679593"/>
                  <a:pt x="823054" y="679593"/>
                </a:cubicBezTo>
                <a:close/>
                <a:moveTo>
                  <a:pt x="859964" y="545051"/>
                </a:moveTo>
                <a:lnTo>
                  <a:pt x="859964" y="545052"/>
                </a:lnTo>
                <a:lnTo>
                  <a:pt x="859964" y="545052"/>
                </a:lnTo>
                <a:close/>
                <a:moveTo>
                  <a:pt x="823054" y="508142"/>
                </a:moveTo>
                <a:lnTo>
                  <a:pt x="246792" y="508142"/>
                </a:lnTo>
                <a:cubicBezTo>
                  <a:pt x="226407" y="508142"/>
                  <a:pt x="209882" y="524667"/>
                  <a:pt x="209882" y="545052"/>
                </a:cubicBezTo>
                <a:lnTo>
                  <a:pt x="209883" y="545052"/>
                </a:lnTo>
                <a:cubicBezTo>
                  <a:pt x="209883" y="565437"/>
                  <a:pt x="226408" y="581962"/>
                  <a:pt x="246793" y="581962"/>
                </a:cubicBezTo>
                <a:lnTo>
                  <a:pt x="823054" y="581961"/>
                </a:lnTo>
                <a:cubicBezTo>
                  <a:pt x="843439" y="581961"/>
                  <a:pt x="859964" y="565436"/>
                  <a:pt x="859964" y="545052"/>
                </a:cubicBezTo>
                <a:cubicBezTo>
                  <a:pt x="859964" y="524667"/>
                  <a:pt x="843439" y="508142"/>
                  <a:pt x="823054" y="508142"/>
                </a:cubicBezTo>
                <a:close/>
                <a:moveTo>
                  <a:pt x="607552" y="375982"/>
                </a:moveTo>
                <a:lnTo>
                  <a:pt x="607552" y="375983"/>
                </a:lnTo>
                <a:lnTo>
                  <a:pt x="607552" y="375983"/>
                </a:lnTo>
                <a:close/>
                <a:moveTo>
                  <a:pt x="570642" y="339073"/>
                </a:moveTo>
                <a:lnTo>
                  <a:pt x="246792" y="339073"/>
                </a:lnTo>
                <a:cubicBezTo>
                  <a:pt x="226407" y="339073"/>
                  <a:pt x="209882" y="355598"/>
                  <a:pt x="209882" y="375983"/>
                </a:cubicBezTo>
                <a:lnTo>
                  <a:pt x="209883" y="375983"/>
                </a:lnTo>
                <a:cubicBezTo>
                  <a:pt x="209883" y="396368"/>
                  <a:pt x="226408" y="412893"/>
                  <a:pt x="246793" y="412893"/>
                </a:cubicBezTo>
                <a:lnTo>
                  <a:pt x="570642" y="412892"/>
                </a:lnTo>
                <a:cubicBezTo>
                  <a:pt x="591027" y="412892"/>
                  <a:pt x="607552" y="396367"/>
                  <a:pt x="607552" y="375983"/>
                </a:cubicBezTo>
                <a:cubicBezTo>
                  <a:pt x="607552" y="355598"/>
                  <a:pt x="591027" y="339073"/>
                  <a:pt x="570642" y="339073"/>
                </a:cubicBezTo>
                <a:close/>
                <a:moveTo>
                  <a:pt x="679213" y="74747"/>
                </a:moveTo>
                <a:lnTo>
                  <a:pt x="679213" y="291168"/>
                </a:lnTo>
                <a:cubicBezTo>
                  <a:pt x="679213" y="325515"/>
                  <a:pt x="707057" y="353359"/>
                  <a:pt x="741404" y="353359"/>
                </a:cubicBezTo>
                <a:lnTo>
                  <a:pt x="992124" y="353359"/>
                </a:lnTo>
                <a:lnTo>
                  <a:pt x="992124" y="1044200"/>
                </a:lnTo>
                <a:cubicBezTo>
                  <a:pt x="992124" y="1097470"/>
                  <a:pt x="971294" y="1150179"/>
                  <a:pt x="897731" y="1140654"/>
                </a:cubicBezTo>
                <a:lnTo>
                  <a:pt x="77724" y="1140654"/>
                </a:lnTo>
                <a:lnTo>
                  <a:pt x="77724" y="173562"/>
                </a:lnTo>
                <a:cubicBezTo>
                  <a:pt x="80105" y="89336"/>
                  <a:pt x="119986" y="77108"/>
                  <a:pt x="172117" y="77108"/>
                </a:cubicBezTo>
                <a:close/>
                <a:moveTo>
                  <a:pt x="733418" y="0"/>
                </a:moveTo>
                <a:lnTo>
                  <a:pt x="110440" y="0"/>
                </a:lnTo>
                <a:cubicBezTo>
                  <a:pt x="49446" y="0"/>
                  <a:pt x="0" y="49446"/>
                  <a:pt x="0" y="110440"/>
                </a:cubicBezTo>
                <a:lnTo>
                  <a:pt x="0" y="1217762"/>
                </a:lnTo>
                <a:lnTo>
                  <a:pt x="959408" y="1217762"/>
                </a:lnTo>
                <a:cubicBezTo>
                  <a:pt x="1020402" y="1217762"/>
                  <a:pt x="1069848" y="1168316"/>
                  <a:pt x="1069848" y="1107322"/>
                </a:cubicBezTo>
                <a:lnTo>
                  <a:pt x="1069848" y="31055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6" name="Group 145"/>
          <p:cNvGrpSpPr/>
          <p:nvPr/>
        </p:nvGrpSpPr>
        <p:grpSpPr>
          <a:xfrm>
            <a:off x="9914045" y="2179230"/>
            <a:ext cx="1356146" cy="1543643"/>
            <a:chOff x="6837733" y="2174627"/>
            <a:chExt cx="1471848" cy="1675342"/>
          </a:xfrm>
          <a:solidFill>
            <a:schemeClr val="bg1"/>
          </a:solidFill>
        </p:grpSpPr>
        <p:sp>
          <p:nvSpPr>
            <p:cNvPr id="147" name="Round Diagonal Corner Rectangle 53"/>
            <p:cNvSpPr/>
            <p:nvPr/>
          </p:nvSpPr>
          <p:spPr bwMode="auto">
            <a:xfrm>
              <a:off x="6837733" y="2174627"/>
              <a:ext cx="1471848" cy="1675342"/>
            </a:xfrm>
            <a:custGeom>
              <a:avLst/>
              <a:gdLst/>
              <a:ahLst/>
              <a:cxnLst/>
              <a:rect l="l" t="t" r="r" b="b"/>
              <a:pathLst>
                <a:path w="1069848" h="1217762">
                  <a:moveTo>
                    <a:pt x="859964" y="887952"/>
                  </a:moveTo>
                  <a:cubicBezTo>
                    <a:pt x="859964" y="887952"/>
                    <a:pt x="859964" y="887952"/>
                    <a:pt x="859964" y="887953"/>
                  </a:cubicBezTo>
                  <a:lnTo>
                    <a:pt x="859964" y="887953"/>
                  </a:lnTo>
                  <a:close/>
                  <a:moveTo>
                    <a:pt x="823054" y="851043"/>
                  </a:moveTo>
                  <a:lnTo>
                    <a:pt x="246792" y="851043"/>
                  </a:lnTo>
                  <a:cubicBezTo>
                    <a:pt x="226407" y="851043"/>
                    <a:pt x="209882" y="867568"/>
                    <a:pt x="209882" y="887953"/>
                  </a:cubicBezTo>
                  <a:lnTo>
                    <a:pt x="209883" y="887953"/>
                  </a:lnTo>
                  <a:cubicBezTo>
                    <a:pt x="209883" y="908338"/>
                    <a:pt x="226408" y="924863"/>
                    <a:pt x="246793" y="924863"/>
                  </a:cubicBezTo>
                  <a:lnTo>
                    <a:pt x="823054" y="924862"/>
                  </a:lnTo>
                  <a:cubicBezTo>
                    <a:pt x="843439" y="924862"/>
                    <a:pt x="859964" y="908337"/>
                    <a:pt x="859964" y="887953"/>
                  </a:cubicBezTo>
                  <a:cubicBezTo>
                    <a:pt x="859964" y="867568"/>
                    <a:pt x="843439" y="851043"/>
                    <a:pt x="823054" y="851043"/>
                  </a:cubicBezTo>
                  <a:close/>
                  <a:moveTo>
                    <a:pt x="859964" y="716502"/>
                  </a:moveTo>
                  <a:lnTo>
                    <a:pt x="859964" y="716503"/>
                  </a:lnTo>
                  <a:lnTo>
                    <a:pt x="859964" y="716503"/>
                  </a:lnTo>
                  <a:close/>
                  <a:moveTo>
                    <a:pt x="823054" y="679593"/>
                  </a:moveTo>
                  <a:lnTo>
                    <a:pt x="246792" y="679593"/>
                  </a:lnTo>
                  <a:cubicBezTo>
                    <a:pt x="226407" y="679593"/>
                    <a:pt x="209882" y="696118"/>
                    <a:pt x="209882" y="716503"/>
                  </a:cubicBezTo>
                  <a:lnTo>
                    <a:pt x="209883" y="716503"/>
                  </a:lnTo>
                  <a:cubicBezTo>
                    <a:pt x="209883" y="736888"/>
                    <a:pt x="226408" y="753413"/>
                    <a:pt x="246793" y="753413"/>
                  </a:cubicBezTo>
                  <a:lnTo>
                    <a:pt x="823054" y="753412"/>
                  </a:lnTo>
                  <a:cubicBezTo>
                    <a:pt x="843439" y="753412"/>
                    <a:pt x="859964" y="736887"/>
                    <a:pt x="859964" y="716503"/>
                  </a:cubicBezTo>
                  <a:cubicBezTo>
                    <a:pt x="859964" y="696118"/>
                    <a:pt x="843439" y="679593"/>
                    <a:pt x="823054" y="679593"/>
                  </a:cubicBezTo>
                  <a:close/>
                  <a:moveTo>
                    <a:pt x="859964" y="545051"/>
                  </a:moveTo>
                  <a:lnTo>
                    <a:pt x="859964" y="545052"/>
                  </a:lnTo>
                  <a:lnTo>
                    <a:pt x="859964" y="545052"/>
                  </a:lnTo>
                  <a:close/>
                  <a:moveTo>
                    <a:pt x="823054" y="508142"/>
                  </a:moveTo>
                  <a:lnTo>
                    <a:pt x="246792" y="508142"/>
                  </a:lnTo>
                  <a:cubicBezTo>
                    <a:pt x="226407" y="508142"/>
                    <a:pt x="209882" y="524667"/>
                    <a:pt x="209882" y="545052"/>
                  </a:cubicBezTo>
                  <a:lnTo>
                    <a:pt x="209883" y="545052"/>
                  </a:lnTo>
                  <a:cubicBezTo>
                    <a:pt x="209883" y="565437"/>
                    <a:pt x="226408" y="581962"/>
                    <a:pt x="246793" y="581962"/>
                  </a:cubicBezTo>
                  <a:lnTo>
                    <a:pt x="823054" y="581961"/>
                  </a:lnTo>
                  <a:cubicBezTo>
                    <a:pt x="843439" y="581961"/>
                    <a:pt x="859964" y="565436"/>
                    <a:pt x="859964" y="545052"/>
                  </a:cubicBezTo>
                  <a:cubicBezTo>
                    <a:pt x="859964" y="524667"/>
                    <a:pt x="843439" y="508142"/>
                    <a:pt x="823054" y="508142"/>
                  </a:cubicBezTo>
                  <a:close/>
                  <a:moveTo>
                    <a:pt x="607552" y="375982"/>
                  </a:moveTo>
                  <a:lnTo>
                    <a:pt x="607552" y="375983"/>
                  </a:lnTo>
                  <a:lnTo>
                    <a:pt x="607552" y="375983"/>
                  </a:lnTo>
                  <a:close/>
                  <a:moveTo>
                    <a:pt x="570642" y="339073"/>
                  </a:moveTo>
                  <a:lnTo>
                    <a:pt x="246792" y="339073"/>
                  </a:lnTo>
                  <a:cubicBezTo>
                    <a:pt x="226407" y="339073"/>
                    <a:pt x="209882" y="355598"/>
                    <a:pt x="209882" y="375983"/>
                  </a:cubicBezTo>
                  <a:lnTo>
                    <a:pt x="209883" y="375983"/>
                  </a:lnTo>
                  <a:cubicBezTo>
                    <a:pt x="209883" y="396368"/>
                    <a:pt x="226408" y="412893"/>
                    <a:pt x="246793" y="412893"/>
                  </a:cubicBezTo>
                  <a:lnTo>
                    <a:pt x="570642" y="412892"/>
                  </a:lnTo>
                  <a:cubicBezTo>
                    <a:pt x="591027" y="412892"/>
                    <a:pt x="607552" y="396367"/>
                    <a:pt x="607552" y="375983"/>
                  </a:cubicBezTo>
                  <a:cubicBezTo>
                    <a:pt x="607552" y="355598"/>
                    <a:pt x="591027" y="339073"/>
                    <a:pt x="570642" y="339073"/>
                  </a:cubicBezTo>
                  <a:close/>
                  <a:moveTo>
                    <a:pt x="679213" y="74747"/>
                  </a:moveTo>
                  <a:lnTo>
                    <a:pt x="679213" y="291168"/>
                  </a:lnTo>
                  <a:cubicBezTo>
                    <a:pt x="679213" y="325515"/>
                    <a:pt x="707057" y="353359"/>
                    <a:pt x="741404" y="353359"/>
                  </a:cubicBezTo>
                  <a:lnTo>
                    <a:pt x="992124" y="353359"/>
                  </a:lnTo>
                  <a:lnTo>
                    <a:pt x="992124" y="1044200"/>
                  </a:lnTo>
                  <a:cubicBezTo>
                    <a:pt x="992124" y="1097470"/>
                    <a:pt x="971294" y="1150179"/>
                    <a:pt x="897731" y="1140654"/>
                  </a:cubicBezTo>
                  <a:lnTo>
                    <a:pt x="77724" y="1140654"/>
                  </a:lnTo>
                  <a:lnTo>
                    <a:pt x="77724" y="173562"/>
                  </a:lnTo>
                  <a:cubicBezTo>
                    <a:pt x="80105" y="89336"/>
                    <a:pt x="119986" y="77108"/>
                    <a:pt x="172117" y="77108"/>
                  </a:cubicBezTo>
                  <a:close/>
                  <a:moveTo>
                    <a:pt x="733418" y="0"/>
                  </a:moveTo>
                  <a:lnTo>
                    <a:pt x="110440" y="0"/>
                  </a:lnTo>
                  <a:cubicBezTo>
                    <a:pt x="49446" y="0"/>
                    <a:pt x="0" y="49446"/>
                    <a:pt x="0" y="110440"/>
                  </a:cubicBezTo>
                  <a:lnTo>
                    <a:pt x="0" y="1217762"/>
                  </a:lnTo>
                  <a:lnTo>
                    <a:pt x="959408" y="1217762"/>
                  </a:lnTo>
                  <a:cubicBezTo>
                    <a:pt x="1020402" y="1217762"/>
                    <a:pt x="1069848" y="1168316"/>
                    <a:pt x="1069848" y="1107322"/>
                  </a:cubicBezTo>
                  <a:lnTo>
                    <a:pt x="1069848" y="31055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148" name="Freeform 147"/>
            <p:cNvSpPr/>
            <p:nvPr/>
          </p:nvSpPr>
          <p:spPr>
            <a:xfrm>
              <a:off x="6994807" y="2866587"/>
              <a:ext cx="133533" cy="112613"/>
            </a:xfrm>
            <a:custGeom>
              <a:avLst/>
              <a:gdLst>
                <a:gd name="connsiteX0" fmla="*/ 7143 w 1271587"/>
                <a:gd name="connsiteY0" fmla="*/ 604837 h 1064418"/>
                <a:gd name="connsiteX1" fmla="*/ 426243 w 1271587"/>
                <a:gd name="connsiteY1" fmla="*/ 1064418 h 1064418"/>
                <a:gd name="connsiteX2" fmla="*/ 528637 w 1271587"/>
                <a:gd name="connsiteY2" fmla="*/ 1054893 h 1064418"/>
                <a:gd name="connsiteX3" fmla="*/ 1254918 w 1271587"/>
                <a:gd name="connsiteY3" fmla="*/ 273843 h 1064418"/>
                <a:gd name="connsiteX4" fmla="*/ 1271587 w 1271587"/>
                <a:gd name="connsiteY4" fmla="*/ 178593 h 1064418"/>
                <a:gd name="connsiteX5" fmla="*/ 1131093 w 1271587"/>
                <a:gd name="connsiteY5" fmla="*/ 0 h 1064418"/>
                <a:gd name="connsiteX6" fmla="*/ 1038225 w 1271587"/>
                <a:gd name="connsiteY6" fmla="*/ 2381 h 1064418"/>
                <a:gd name="connsiteX7" fmla="*/ 457200 w 1271587"/>
                <a:gd name="connsiteY7" fmla="*/ 595312 h 1064418"/>
                <a:gd name="connsiteX8" fmla="*/ 238125 w 1271587"/>
                <a:gd name="connsiteY8" fmla="*/ 373856 h 1064418"/>
                <a:gd name="connsiteX9" fmla="*/ 126206 w 1271587"/>
                <a:gd name="connsiteY9" fmla="*/ 371475 h 1064418"/>
                <a:gd name="connsiteX10" fmla="*/ 0 w 1271587"/>
                <a:gd name="connsiteY10" fmla="*/ 531018 h 1064418"/>
                <a:gd name="connsiteX11" fmla="*/ 7143 w 1271587"/>
                <a:gd name="connsiteY11" fmla="*/ 604837 h 1064418"/>
                <a:gd name="connsiteX0" fmla="*/ 7143 w 1271587"/>
                <a:gd name="connsiteY0" fmla="*/ 604837 h 1067977"/>
                <a:gd name="connsiteX1" fmla="*/ 426243 w 1271587"/>
                <a:gd name="connsiteY1" fmla="*/ 1064418 h 1067977"/>
                <a:gd name="connsiteX2" fmla="*/ 528637 w 1271587"/>
                <a:gd name="connsiteY2" fmla="*/ 1054893 h 1067977"/>
                <a:gd name="connsiteX3" fmla="*/ 1254918 w 1271587"/>
                <a:gd name="connsiteY3" fmla="*/ 273843 h 1067977"/>
                <a:gd name="connsiteX4" fmla="*/ 1271587 w 1271587"/>
                <a:gd name="connsiteY4" fmla="*/ 178593 h 1067977"/>
                <a:gd name="connsiteX5" fmla="*/ 1131093 w 1271587"/>
                <a:gd name="connsiteY5" fmla="*/ 0 h 1067977"/>
                <a:gd name="connsiteX6" fmla="*/ 1038225 w 1271587"/>
                <a:gd name="connsiteY6" fmla="*/ 2381 h 1067977"/>
                <a:gd name="connsiteX7" fmla="*/ 457200 w 1271587"/>
                <a:gd name="connsiteY7" fmla="*/ 595312 h 1067977"/>
                <a:gd name="connsiteX8" fmla="*/ 238125 w 1271587"/>
                <a:gd name="connsiteY8" fmla="*/ 373856 h 1067977"/>
                <a:gd name="connsiteX9" fmla="*/ 126206 w 1271587"/>
                <a:gd name="connsiteY9" fmla="*/ 371475 h 1067977"/>
                <a:gd name="connsiteX10" fmla="*/ 0 w 1271587"/>
                <a:gd name="connsiteY10" fmla="*/ 531018 h 1067977"/>
                <a:gd name="connsiteX11" fmla="*/ 7143 w 1271587"/>
                <a:gd name="connsiteY11" fmla="*/ 604837 h 1067977"/>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5066"/>
                <a:gd name="connsiteY0" fmla="*/ 604837 h 1077089"/>
                <a:gd name="connsiteX1" fmla="*/ 426243 w 1275066"/>
                <a:gd name="connsiteY1" fmla="*/ 1064418 h 1077089"/>
                <a:gd name="connsiteX2" fmla="*/ 528637 w 1275066"/>
                <a:gd name="connsiteY2" fmla="*/ 1054893 h 1077089"/>
                <a:gd name="connsiteX3" fmla="*/ 1254918 w 1275066"/>
                <a:gd name="connsiteY3" fmla="*/ 273843 h 1077089"/>
                <a:gd name="connsiteX4" fmla="*/ 1271587 w 1275066"/>
                <a:gd name="connsiteY4" fmla="*/ 178593 h 1077089"/>
                <a:gd name="connsiteX5" fmla="*/ 1131093 w 1275066"/>
                <a:gd name="connsiteY5" fmla="*/ 0 h 1077089"/>
                <a:gd name="connsiteX6" fmla="*/ 1038225 w 1275066"/>
                <a:gd name="connsiteY6" fmla="*/ 2381 h 1077089"/>
                <a:gd name="connsiteX7" fmla="*/ 457200 w 1275066"/>
                <a:gd name="connsiteY7" fmla="*/ 595312 h 1077089"/>
                <a:gd name="connsiteX8" fmla="*/ 238125 w 1275066"/>
                <a:gd name="connsiteY8" fmla="*/ 373856 h 1077089"/>
                <a:gd name="connsiteX9" fmla="*/ 126206 w 1275066"/>
                <a:gd name="connsiteY9" fmla="*/ 371475 h 1077089"/>
                <a:gd name="connsiteX10" fmla="*/ 0 w 1275066"/>
                <a:gd name="connsiteY10" fmla="*/ 531018 h 1077089"/>
                <a:gd name="connsiteX11" fmla="*/ 7143 w 1275066"/>
                <a:gd name="connsiteY11" fmla="*/ 604837 h 1077089"/>
                <a:gd name="connsiteX0" fmla="*/ 7143 w 1280284"/>
                <a:gd name="connsiteY0" fmla="*/ 604837 h 1077089"/>
                <a:gd name="connsiteX1" fmla="*/ 426243 w 1280284"/>
                <a:gd name="connsiteY1" fmla="*/ 1064418 h 1077089"/>
                <a:gd name="connsiteX2" fmla="*/ 528637 w 1280284"/>
                <a:gd name="connsiteY2" fmla="*/ 1054893 h 1077089"/>
                <a:gd name="connsiteX3" fmla="*/ 1254918 w 1280284"/>
                <a:gd name="connsiteY3" fmla="*/ 273843 h 1077089"/>
                <a:gd name="connsiteX4" fmla="*/ 1271587 w 1280284"/>
                <a:gd name="connsiteY4" fmla="*/ 178593 h 1077089"/>
                <a:gd name="connsiteX5" fmla="*/ 1131093 w 1280284"/>
                <a:gd name="connsiteY5" fmla="*/ 0 h 1077089"/>
                <a:gd name="connsiteX6" fmla="*/ 1038225 w 1280284"/>
                <a:gd name="connsiteY6" fmla="*/ 2381 h 1077089"/>
                <a:gd name="connsiteX7" fmla="*/ 457200 w 1280284"/>
                <a:gd name="connsiteY7" fmla="*/ 595312 h 1077089"/>
                <a:gd name="connsiteX8" fmla="*/ 238125 w 1280284"/>
                <a:gd name="connsiteY8" fmla="*/ 373856 h 1077089"/>
                <a:gd name="connsiteX9" fmla="*/ 126206 w 1280284"/>
                <a:gd name="connsiteY9" fmla="*/ 371475 h 1077089"/>
                <a:gd name="connsiteX10" fmla="*/ 0 w 1280284"/>
                <a:gd name="connsiteY10" fmla="*/ 531018 h 1077089"/>
                <a:gd name="connsiteX11" fmla="*/ 7143 w 1280284"/>
                <a:gd name="connsiteY11" fmla="*/ 604837 h 1077089"/>
                <a:gd name="connsiteX0" fmla="*/ 7143 w 1282209"/>
                <a:gd name="connsiteY0" fmla="*/ 604837 h 1077089"/>
                <a:gd name="connsiteX1" fmla="*/ 426243 w 1282209"/>
                <a:gd name="connsiteY1" fmla="*/ 1064418 h 1077089"/>
                <a:gd name="connsiteX2" fmla="*/ 528637 w 1282209"/>
                <a:gd name="connsiteY2" fmla="*/ 1054893 h 1077089"/>
                <a:gd name="connsiteX3" fmla="*/ 1254918 w 1282209"/>
                <a:gd name="connsiteY3" fmla="*/ 273843 h 1077089"/>
                <a:gd name="connsiteX4" fmla="*/ 1271587 w 1282209"/>
                <a:gd name="connsiteY4" fmla="*/ 178593 h 1077089"/>
                <a:gd name="connsiteX5" fmla="*/ 1131093 w 1282209"/>
                <a:gd name="connsiteY5" fmla="*/ 0 h 1077089"/>
                <a:gd name="connsiteX6" fmla="*/ 1038225 w 1282209"/>
                <a:gd name="connsiteY6" fmla="*/ 2381 h 1077089"/>
                <a:gd name="connsiteX7" fmla="*/ 457200 w 1282209"/>
                <a:gd name="connsiteY7" fmla="*/ 595312 h 1077089"/>
                <a:gd name="connsiteX8" fmla="*/ 238125 w 1282209"/>
                <a:gd name="connsiteY8" fmla="*/ 373856 h 1077089"/>
                <a:gd name="connsiteX9" fmla="*/ 126206 w 1282209"/>
                <a:gd name="connsiteY9" fmla="*/ 371475 h 1077089"/>
                <a:gd name="connsiteX10" fmla="*/ 0 w 1282209"/>
                <a:gd name="connsiteY10" fmla="*/ 531018 h 1077089"/>
                <a:gd name="connsiteX11" fmla="*/ 7143 w 1282209"/>
                <a:gd name="connsiteY11" fmla="*/ 604837 h 1077089"/>
                <a:gd name="connsiteX0" fmla="*/ 7143 w 1282209"/>
                <a:gd name="connsiteY0" fmla="*/ 602456 h 1074708"/>
                <a:gd name="connsiteX1" fmla="*/ 426243 w 1282209"/>
                <a:gd name="connsiteY1" fmla="*/ 1062037 h 1074708"/>
                <a:gd name="connsiteX2" fmla="*/ 528637 w 1282209"/>
                <a:gd name="connsiteY2" fmla="*/ 1052512 h 1074708"/>
                <a:gd name="connsiteX3" fmla="*/ 1254918 w 1282209"/>
                <a:gd name="connsiteY3" fmla="*/ 271462 h 1074708"/>
                <a:gd name="connsiteX4" fmla="*/ 1271587 w 1282209"/>
                <a:gd name="connsiteY4" fmla="*/ 176212 h 1074708"/>
                <a:gd name="connsiteX5" fmla="*/ 1145381 w 1282209"/>
                <a:gd name="connsiteY5" fmla="*/ 4763 h 1074708"/>
                <a:gd name="connsiteX6" fmla="*/ 1038225 w 1282209"/>
                <a:gd name="connsiteY6" fmla="*/ 0 h 1074708"/>
                <a:gd name="connsiteX7" fmla="*/ 457200 w 1282209"/>
                <a:gd name="connsiteY7" fmla="*/ 592931 h 1074708"/>
                <a:gd name="connsiteX8" fmla="*/ 238125 w 1282209"/>
                <a:gd name="connsiteY8" fmla="*/ 371475 h 1074708"/>
                <a:gd name="connsiteX9" fmla="*/ 126206 w 1282209"/>
                <a:gd name="connsiteY9" fmla="*/ 369094 h 1074708"/>
                <a:gd name="connsiteX10" fmla="*/ 0 w 1282209"/>
                <a:gd name="connsiteY10" fmla="*/ 528637 h 1074708"/>
                <a:gd name="connsiteX11" fmla="*/ 7143 w 1282209"/>
                <a:gd name="connsiteY11" fmla="*/ 602456 h 1074708"/>
                <a:gd name="connsiteX0" fmla="*/ 7143 w 1282209"/>
                <a:gd name="connsiteY0" fmla="*/ 613102 h 1085354"/>
                <a:gd name="connsiteX1" fmla="*/ 426243 w 1282209"/>
                <a:gd name="connsiteY1" fmla="*/ 1072683 h 1085354"/>
                <a:gd name="connsiteX2" fmla="*/ 528637 w 1282209"/>
                <a:gd name="connsiteY2" fmla="*/ 1063158 h 1085354"/>
                <a:gd name="connsiteX3" fmla="*/ 1254918 w 1282209"/>
                <a:gd name="connsiteY3" fmla="*/ 282108 h 1085354"/>
                <a:gd name="connsiteX4" fmla="*/ 1271587 w 1282209"/>
                <a:gd name="connsiteY4" fmla="*/ 186858 h 1085354"/>
                <a:gd name="connsiteX5" fmla="*/ 1145381 w 1282209"/>
                <a:gd name="connsiteY5" fmla="*/ 15409 h 1085354"/>
                <a:gd name="connsiteX6" fmla="*/ 1038225 w 1282209"/>
                <a:gd name="connsiteY6" fmla="*/ 10646 h 1085354"/>
                <a:gd name="connsiteX7" fmla="*/ 457200 w 1282209"/>
                <a:gd name="connsiteY7" fmla="*/ 603577 h 1085354"/>
                <a:gd name="connsiteX8" fmla="*/ 238125 w 1282209"/>
                <a:gd name="connsiteY8" fmla="*/ 382121 h 1085354"/>
                <a:gd name="connsiteX9" fmla="*/ 126206 w 1282209"/>
                <a:gd name="connsiteY9" fmla="*/ 379740 h 1085354"/>
                <a:gd name="connsiteX10" fmla="*/ 0 w 1282209"/>
                <a:gd name="connsiteY10" fmla="*/ 539283 h 1085354"/>
                <a:gd name="connsiteX11" fmla="*/ 7143 w 1282209"/>
                <a:gd name="connsiteY11" fmla="*/ 613102 h 1085354"/>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11641 w 1286707"/>
                <a:gd name="connsiteY0" fmla="*/ 618884 h 1091136"/>
                <a:gd name="connsiteX1" fmla="*/ 430741 w 1286707"/>
                <a:gd name="connsiteY1" fmla="*/ 1078465 h 1091136"/>
                <a:gd name="connsiteX2" fmla="*/ 533135 w 1286707"/>
                <a:gd name="connsiteY2" fmla="*/ 1068940 h 1091136"/>
                <a:gd name="connsiteX3" fmla="*/ 1259416 w 1286707"/>
                <a:gd name="connsiteY3" fmla="*/ 287890 h 1091136"/>
                <a:gd name="connsiteX4" fmla="*/ 1276085 w 1286707"/>
                <a:gd name="connsiteY4" fmla="*/ 192640 h 1091136"/>
                <a:gd name="connsiteX5" fmla="*/ 1149879 w 1286707"/>
                <a:gd name="connsiteY5" fmla="*/ 21191 h 1091136"/>
                <a:gd name="connsiteX6" fmla="*/ 1042723 w 1286707"/>
                <a:gd name="connsiteY6" fmla="*/ 16428 h 1091136"/>
                <a:gd name="connsiteX7" fmla="*/ 461698 w 1286707"/>
                <a:gd name="connsiteY7" fmla="*/ 609359 h 1091136"/>
                <a:gd name="connsiteX8" fmla="*/ 242623 w 1286707"/>
                <a:gd name="connsiteY8" fmla="*/ 387903 h 1091136"/>
                <a:gd name="connsiteX9" fmla="*/ 130704 w 1286707"/>
                <a:gd name="connsiteY9" fmla="*/ 385522 h 1091136"/>
                <a:gd name="connsiteX10" fmla="*/ 11641 w 1286707"/>
                <a:gd name="connsiteY10" fmla="*/ 523633 h 1091136"/>
                <a:gd name="connsiteX11" fmla="*/ 11641 w 1286707"/>
                <a:gd name="connsiteY11" fmla="*/ 618884 h 1091136"/>
                <a:gd name="connsiteX0" fmla="*/ 19645 w 1294711"/>
                <a:gd name="connsiteY0" fmla="*/ 618884 h 1091136"/>
                <a:gd name="connsiteX1" fmla="*/ 438745 w 1294711"/>
                <a:gd name="connsiteY1" fmla="*/ 1078465 h 1091136"/>
                <a:gd name="connsiteX2" fmla="*/ 541139 w 1294711"/>
                <a:gd name="connsiteY2" fmla="*/ 1068940 h 1091136"/>
                <a:gd name="connsiteX3" fmla="*/ 1267420 w 1294711"/>
                <a:gd name="connsiteY3" fmla="*/ 287890 h 1091136"/>
                <a:gd name="connsiteX4" fmla="*/ 1284089 w 1294711"/>
                <a:gd name="connsiteY4" fmla="*/ 192640 h 1091136"/>
                <a:gd name="connsiteX5" fmla="*/ 1157883 w 1294711"/>
                <a:gd name="connsiteY5" fmla="*/ 21191 h 1091136"/>
                <a:gd name="connsiteX6" fmla="*/ 1050727 w 1294711"/>
                <a:gd name="connsiteY6" fmla="*/ 16428 h 1091136"/>
                <a:gd name="connsiteX7" fmla="*/ 469702 w 1294711"/>
                <a:gd name="connsiteY7" fmla="*/ 609359 h 1091136"/>
                <a:gd name="connsiteX8" fmla="*/ 250627 w 1294711"/>
                <a:gd name="connsiteY8" fmla="*/ 387903 h 1091136"/>
                <a:gd name="connsiteX9" fmla="*/ 138708 w 1294711"/>
                <a:gd name="connsiteY9" fmla="*/ 385522 h 1091136"/>
                <a:gd name="connsiteX10" fmla="*/ 19645 w 1294711"/>
                <a:gd name="connsiteY10" fmla="*/ 523633 h 1091136"/>
                <a:gd name="connsiteX11" fmla="*/ 19645 w 1294711"/>
                <a:gd name="connsiteY11" fmla="*/ 618884 h 1091136"/>
                <a:gd name="connsiteX0" fmla="*/ 18763 w 1293829"/>
                <a:gd name="connsiteY0" fmla="*/ 618884 h 1091136"/>
                <a:gd name="connsiteX1" fmla="*/ 437863 w 1293829"/>
                <a:gd name="connsiteY1" fmla="*/ 1078465 h 1091136"/>
                <a:gd name="connsiteX2" fmla="*/ 540257 w 1293829"/>
                <a:gd name="connsiteY2" fmla="*/ 1068940 h 1091136"/>
                <a:gd name="connsiteX3" fmla="*/ 1266538 w 1293829"/>
                <a:gd name="connsiteY3" fmla="*/ 287890 h 1091136"/>
                <a:gd name="connsiteX4" fmla="*/ 1283207 w 1293829"/>
                <a:gd name="connsiteY4" fmla="*/ 192640 h 1091136"/>
                <a:gd name="connsiteX5" fmla="*/ 1157001 w 1293829"/>
                <a:gd name="connsiteY5" fmla="*/ 21191 h 1091136"/>
                <a:gd name="connsiteX6" fmla="*/ 1049845 w 1293829"/>
                <a:gd name="connsiteY6" fmla="*/ 16428 h 1091136"/>
                <a:gd name="connsiteX7" fmla="*/ 468820 w 1293829"/>
                <a:gd name="connsiteY7" fmla="*/ 609359 h 1091136"/>
                <a:gd name="connsiteX8" fmla="*/ 249745 w 1293829"/>
                <a:gd name="connsiteY8" fmla="*/ 387903 h 1091136"/>
                <a:gd name="connsiteX9" fmla="*/ 137826 w 1293829"/>
                <a:gd name="connsiteY9" fmla="*/ 385522 h 1091136"/>
                <a:gd name="connsiteX10" fmla="*/ 18763 w 1293829"/>
                <a:gd name="connsiteY10" fmla="*/ 523633 h 1091136"/>
                <a:gd name="connsiteX11" fmla="*/ 18763 w 1293829"/>
                <a:gd name="connsiteY11" fmla="*/ 618884 h 109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3829" h="1091136">
                  <a:moveTo>
                    <a:pt x="18763" y="618884"/>
                  </a:moveTo>
                  <a:lnTo>
                    <a:pt x="437863" y="1078465"/>
                  </a:lnTo>
                  <a:cubicBezTo>
                    <a:pt x="474375" y="1099102"/>
                    <a:pt x="498981" y="1093547"/>
                    <a:pt x="540257" y="1068940"/>
                  </a:cubicBezTo>
                  <a:cubicBezTo>
                    <a:pt x="782351" y="718103"/>
                    <a:pt x="1067307" y="429177"/>
                    <a:pt x="1266538" y="287890"/>
                  </a:cubicBezTo>
                  <a:cubicBezTo>
                    <a:pt x="1303050" y="251378"/>
                    <a:pt x="1296701" y="222009"/>
                    <a:pt x="1283207" y="192640"/>
                  </a:cubicBezTo>
                  <a:lnTo>
                    <a:pt x="1157001" y="21191"/>
                  </a:lnTo>
                  <a:cubicBezTo>
                    <a:pt x="1126045" y="-11354"/>
                    <a:pt x="1095089" y="-1034"/>
                    <a:pt x="1049845" y="16428"/>
                  </a:cubicBezTo>
                  <a:cubicBezTo>
                    <a:pt x="822833" y="161684"/>
                    <a:pt x="626776" y="366471"/>
                    <a:pt x="468820" y="609359"/>
                  </a:cubicBezTo>
                  <a:lnTo>
                    <a:pt x="249745" y="387903"/>
                  </a:lnTo>
                  <a:cubicBezTo>
                    <a:pt x="210058" y="356153"/>
                    <a:pt x="179894" y="360122"/>
                    <a:pt x="137826" y="385522"/>
                  </a:cubicBezTo>
                  <a:cubicBezTo>
                    <a:pt x="98138" y="431559"/>
                    <a:pt x="58451" y="458546"/>
                    <a:pt x="18763" y="523633"/>
                  </a:cubicBezTo>
                  <a:cubicBezTo>
                    <a:pt x="-5049" y="555383"/>
                    <a:pt x="-7430" y="594278"/>
                    <a:pt x="18763" y="61888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9" name="Frame 148"/>
            <p:cNvSpPr/>
            <p:nvPr/>
          </p:nvSpPr>
          <p:spPr bwMode="auto">
            <a:xfrm>
              <a:off x="6960469" y="2866587"/>
              <a:ext cx="153998" cy="148076"/>
            </a:xfrm>
            <a:prstGeom prst="frame">
              <a:avLst>
                <a:gd name="adj1" fmla="val 1322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rgbClr val="FFFFFF"/>
                </a:solidFill>
                <a:latin typeface="Segoe UI Light"/>
                <a:ea typeface="Segoe UI" pitchFamily="34" charset="0"/>
                <a:cs typeface="Segoe UI" pitchFamily="34" charset="0"/>
              </a:endParaRPr>
            </a:p>
          </p:txBody>
        </p:sp>
        <p:sp>
          <p:nvSpPr>
            <p:cNvPr id="150" name="Freeform 149"/>
            <p:cNvSpPr/>
            <p:nvPr/>
          </p:nvSpPr>
          <p:spPr>
            <a:xfrm>
              <a:off x="6994807" y="3091142"/>
              <a:ext cx="133533" cy="112613"/>
            </a:xfrm>
            <a:custGeom>
              <a:avLst/>
              <a:gdLst>
                <a:gd name="connsiteX0" fmla="*/ 7143 w 1271587"/>
                <a:gd name="connsiteY0" fmla="*/ 604837 h 1064418"/>
                <a:gd name="connsiteX1" fmla="*/ 426243 w 1271587"/>
                <a:gd name="connsiteY1" fmla="*/ 1064418 h 1064418"/>
                <a:gd name="connsiteX2" fmla="*/ 528637 w 1271587"/>
                <a:gd name="connsiteY2" fmla="*/ 1054893 h 1064418"/>
                <a:gd name="connsiteX3" fmla="*/ 1254918 w 1271587"/>
                <a:gd name="connsiteY3" fmla="*/ 273843 h 1064418"/>
                <a:gd name="connsiteX4" fmla="*/ 1271587 w 1271587"/>
                <a:gd name="connsiteY4" fmla="*/ 178593 h 1064418"/>
                <a:gd name="connsiteX5" fmla="*/ 1131093 w 1271587"/>
                <a:gd name="connsiteY5" fmla="*/ 0 h 1064418"/>
                <a:gd name="connsiteX6" fmla="*/ 1038225 w 1271587"/>
                <a:gd name="connsiteY6" fmla="*/ 2381 h 1064418"/>
                <a:gd name="connsiteX7" fmla="*/ 457200 w 1271587"/>
                <a:gd name="connsiteY7" fmla="*/ 595312 h 1064418"/>
                <a:gd name="connsiteX8" fmla="*/ 238125 w 1271587"/>
                <a:gd name="connsiteY8" fmla="*/ 373856 h 1064418"/>
                <a:gd name="connsiteX9" fmla="*/ 126206 w 1271587"/>
                <a:gd name="connsiteY9" fmla="*/ 371475 h 1064418"/>
                <a:gd name="connsiteX10" fmla="*/ 0 w 1271587"/>
                <a:gd name="connsiteY10" fmla="*/ 531018 h 1064418"/>
                <a:gd name="connsiteX11" fmla="*/ 7143 w 1271587"/>
                <a:gd name="connsiteY11" fmla="*/ 604837 h 1064418"/>
                <a:gd name="connsiteX0" fmla="*/ 7143 w 1271587"/>
                <a:gd name="connsiteY0" fmla="*/ 604837 h 1067977"/>
                <a:gd name="connsiteX1" fmla="*/ 426243 w 1271587"/>
                <a:gd name="connsiteY1" fmla="*/ 1064418 h 1067977"/>
                <a:gd name="connsiteX2" fmla="*/ 528637 w 1271587"/>
                <a:gd name="connsiteY2" fmla="*/ 1054893 h 1067977"/>
                <a:gd name="connsiteX3" fmla="*/ 1254918 w 1271587"/>
                <a:gd name="connsiteY3" fmla="*/ 273843 h 1067977"/>
                <a:gd name="connsiteX4" fmla="*/ 1271587 w 1271587"/>
                <a:gd name="connsiteY4" fmla="*/ 178593 h 1067977"/>
                <a:gd name="connsiteX5" fmla="*/ 1131093 w 1271587"/>
                <a:gd name="connsiteY5" fmla="*/ 0 h 1067977"/>
                <a:gd name="connsiteX6" fmla="*/ 1038225 w 1271587"/>
                <a:gd name="connsiteY6" fmla="*/ 2381 h 1067977"/>
                <a:gd name="connsiteX7" fmla="*/ 457200 w 1271587"/>
                <a:gd name="connsiteY7" fmla="*/ 595312 h 1067977"/>
                <a:gd name="connsiteX8" fmla="*/ 238125 w 1271587"/>
                <a:gd name="connsiteY8" fmla="*/ 373856 h 1067977"/>
                <a:gd name="connsiteX9" fmla="*/ 126206 w 1271587"/>
                <a:gd name="connsiteY9" fmla="*/ 371475 h 1067977"/>
                <a:gd name="connsiteX10" fmla="*/ 0 w 1271587"/>
                <a:gd name="connsiteY10" fmla="*/ 531018 h 1067977"/>
                <a:gd name="connsiteX11" fmla="*/ 7143 w 1271587"/>
                <a:gd name="connsiteY11" fmla="*/ 604837 h 1067977"/>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5066"/>
                <a:gd name="connsiteY0" fmla="*/ 604837 h 1077089"/>
                <a:gd name="connsiteX1" fmla="*/ 426243 w 1275066"/>
                <a:gd name="connsiteY1" fmla="*/ 1064418 h 1077089"/>
                <a:gd name="connsiteX2" fmla="*/ 528637 w 1275066"/>
                <a:gd name="connsiteY2" fmla="*/ 1054893 h 1077089"/>
                <a:gd name="connsiteX3" fmla="*/ 1254918 w 1275066"/>
                <a:gd name="connsiteY3" fmla="*/ 273843 h 1077089"/>
                <a:gd name="connsiteX4" fmla="*/ 1271587 w 1275066"/>
                <a:gd name="connsiteY4" fmla="*/ 178593 h 1077089"/>
                <a:gd name="connsiteX5" fmla="*/ 1131093 w 1275066"/>
                <a:gd name="connsiteY5" fmla="*/ 0 h 1077089"/>
                <a:gd name="connsiteX6" fmla="*/ 1038225 w 1275066"/>
                <a:gd name="connsiteY6" fmla="*/ 2381 h 1077089"/>
                <a:gd name="connsiteX7" fmla="*/ 457200 w 1275066"/>
                <a:gd name="connsiteY7" fmla="*/ 595312 h 1077089"/>
                <a:gd name="connsiteX8" fmla="*/ 238125 w 1275066"/>
                <a:gd name="connsiteY8" fmla="*/ 373856 h 1077089"/>
                <a:gd name="connsiteX9" fmla="*/ 126206 w 1275066"/>
                <a:gd name="connsiteY9" fmla="*/ 371475 h 1077089"/>
                <a:gd name="connsiteX10" fmla="*/ 0 w 1275066"/>
                <a:gd name="connsiteY10" fmla="*/ 531018 h 1077089"/>
                <a:gd name="connsiteX11" fmla="*/ 7143 w 1275066"/>
                <a:gd name="connsiteY11" fmla="*/ 604837 h 1077089"/>
                <a:gd name="connsiteX0" fmla="*/ 7143 w 1280284"/>
                <a:gd name="connsiteY0" fmla="*/ 604837 h 1077089"/>
                <a:gd name="connsiteX1" fmla="*/ 426243 w 1280284"/>
                <a:gd name="connsiteY1" fmla="*/ 1064418 h 1077089"/>
                <a:gd name="connsiteX2" fmla="*/ 528637 w 1280284"/>
                <a:gd name="connsiteY2" fmla="*/ 1054893 h 1077089"/>
                <a:gd name="connsiteX3" fmla="*/ 1254918 w 1280284"/>
                <a:gd name="connsiteY3" fmla="*/ 273843 h 1077089"/>
                <a:gd name="connsiteX4" fmla="*/ 1271587 w 1280284"/>
                <a:gd name="connsiteY4" fmla="*/ 178593 h 1077089"/>
                <a:gd name="connsiteX5" fmla="*/ 1131093 w 1280284"/>
                <a:gd name="connsiteY5" fmla="*/ 0 h 1077089"/>
                <a:gd name="connsiteX6" fmla="*/ 1038225 w 1280284"/>
                <a:gd name="connsiteY6" fmla="*/ 2381 h 1077089"/>
                <a:gd name="connsiteX7" fmla="*/ 457200 w 1280284"/>
                <a:gd name="connsiteY7" fmla="*/ 595312 h 1077089"/>
                <a:gd name="connsiteX8" fmla="*/ 238125 w 1280284"/>
                <a:gd name="connsiteY8" fmla="*/ 373856 h 1077089"/>
                <a:gd name="connsiteX9" fmla="*/ 126206 w 1280284"/>
                <a:gd name="connsiteY9" fmla="*/ 371475 h 1077089"/>
                <a:gd name="connsiteX10" fmla="*/ 0 w 1280284"/>
                <a:gd name="connsiteY10" fmla="*/ 531018 h 1077089"/>
                <a:gd name="connsiteX11" fmla="*/ 7143 w 1280284"/>
                <a:gd name="connsiteY11" fmla="*/ 604837 h 1077089"/>
                <a:gd name="connsiteX0" fmla="*/ 7143 w 1282209"/>
                <a:gd name="connsiteY0" fmla="*/ 604837 h 1077089"/>
                <a:gd name="connsiteX1" fmla="*/ 426243 w 1282209"/>
                <a:gd name="connsiteY1" fmla="*/ 1064418 h 1077089"/>
                <a:gd name="connsiteX2" fmla="*/ 528637 w 1282209"/>
                <a:gd name="connsiteY2" fmla="*/ 1054893 h 1077089"/>
                <a:gd name="connsiteX3" fmla="*/ 1254918 w 1282209"/>
                <a:gd name="connsiteY3" fmla="*/ 273843 h 1077089"/>
                <a:gd name="connsiteX4" fmla="*/ 1271587 w 1282209"/>
                <a:gd name="connsiteY4" fmla="*/ 178593 h 1077089"/>
                <a:gd name="connsiteX5" fmla="*/ 1131093 w 1282209"/>
                <a:gd name="connsiteY5" fmla="*/ 0 h 1077089"/>
                <a:gd name="connsiteX6" fmla="*/ 1038225 w 1282209"/>
                <a:gd name="connsiteY6" fmla="*/ 2381 h 1077089"/>
                <a:gd name="connsiteX7" fmla="*/ 457200 w 1282209"/>
                <a:gd name="connsiteY7" fmla="*/ 595312 h 1077089"/>
                <a:gd name="connsiteX8" fmla="*/ 238125 w 1282209"/>
                <a:gd name="connsiteY8" fmla="*/ 373856 h 1077089"/>
                <a:gd name="connsiteX9" fmla="*/ 126206 w 1282209"/>
                <a:gd name="connsiteY9" fmla="*/ 371475 h 1077089"/>
                <a:gd name="connsiteX10" fmla="*/ 0 w 1282209"/>
                <a:gd name="connsiteY10" fmla="*/ 531018 h 1077089"/>
                <a:gd name="connsiteX11" fmla="*/ 7143 w 1282209"/>
                <a:gd name="connsiteY11" fmla="*/ 604837 h 1077089"/>
                <a:gd name="connsiteX0" fmla="*/ 7143 w 1282209"/>
                <a:gd name="connsiteY0" fmla="*/ 602456 h 1074708"/>
                <a:gd name="connsiteX1" fmla="*/ 426243 w 1282209"/>
                <a:gd name="connsiteY1" fmla="*/ 1062037 h 1074708"/>
                <a:gd name="connsiteX2" fmla="*/ 528637 w 1282209"/>
                <a:gd name="connsiteY2" fmla="*/ 1052512 h 1074708"/>
                <a:gd name="connsiteX3" fmla="*/ 1254918 w 1282209"/>
                <a:gd name="connsiteY3" fmla="*/ 271462 h 1074708"/>
                <a:gd name="connsiteX4" fmla="*/ 1271587 w 1282209"/>
                <a:gd name="connsiteY4" fmla="*/ 176212 h 1074708"/>
                <a:gd name="connsiteX5" fmla="*/ 1145381 w 1282209"/>
                <a:gd name="connsiteY5" fmla="*/ 4763 h 1074708"/>
                <a:gd name="connsiteX6" fmla="*/ 1038225 w 1282209"/>
                <a:gd name="connsiteY6" fmla="*/ 0 h 1074708"/>
                <a:gd name="connsiteX7" fmla="*/ 457200 w 1282209"/>
                <a:gd name="connsiteY7" fmla="*/ 592931 h 1074708"/>
                <a:gd name="connsiteX8" fmla="*/ 238125 w 1282209"/>
                <a:gd name="connsiteY8" fmla="*/ 371475 h 1074708"/>
                <a:gd name="connsiteX9" fmla="*/ 126206 w 1282209"/>
                <a:gd name="connsiteY9" fmla="*/ 369094 h 1074708"/>
                <a:gd name="connsiteX10" fmla="*/ 0 w 1282209"/>
                <a:gd name="connsiteY10" fmla="*/ 528637 h 1074708"/>
                <a:gd name="connsiteX11" fmla="*/ 7143 w 1282209"/>
                <a:gd name="connsiteY11" fmla="*/ 602456 h 1074708"/>
                <a:gd name="connsiteX0" fmla="*/ 7143 w 1282209"/>
                <a:gd name="connsiteY0" fmla="*/ 613102 h 1085354"/>
                <a:gd name="connsiteX1" fmla="*/ 426243 w 1282209"/>
                <a:gd name="connsiteY1" fmla="*/ 1072683 h 1085354"/>
                <a:gd name="connsiteX2" fmla="*/ 528637 w 1282209"/>
                <a:gd name="connsiteY2" fmla="*/ 1063158 h 1085354"/>
                <a:gd name="connsiteX3" fmla="*/ 1254918 w 1282209"/>
                <a:gd name="connsiteY3" fmla="*/ 282108 h 1085354"/>
                <a:gd name="connsiteX4" fmla="*/ 1271587 w 1282209"/>
                <a:gd name="connsiteY4" fmla="*/ 186858 h 1085354"/>
                <a:gd name="connsiteX5" fmla="*/ 1145381 w 1282209"/>
                <a:gd name="connsiteY5" fmla="*/ 15409 h 1085354"/>
                <a:gd name="connsiteX6" fmla="*/ 1038225 w 1282209"/>
                <a:gd name="connsiteY6" fmla="*/ 10646 h 1085354"/>
                <a:gd name="connsiteX7" fmla="*/ 457200 w 1282209"/>
                <a:gd name="connsiteY7" fmla="*/ 603577 h 1085354"/>
                <a:gd name="connsiteX8" fmla="*/ 238125 w 1282209"/>
                <a:gd name="connsiteY8" fmla="*/ 382121 h 1085354"/>
                <a:gd name="connsiteX9" fmla="*/ 126206 w 1282209"/>
                <a:gd name="connsiteY9" fmla="*/ 379740 h 1085354"/>
                <a:gd name="connsiteX10" fmla="*/ 0 w 1282209"/>
                <a:gd name="connsiteY10" fmla="*/ 539283 h 1085354"/>
                <a:gd name="connsiteX11" fmla="*/ 7143 w 1282209"/>
                <a:gd name="connsiteY11" fmla="*/ 613102 h 1085354"/>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11641 w 1286707"/>
                <a:gd name="connsiteY0" fmla="*/ 618884 h 1091136"/>
                <a:gd name="connsiteX1" fmla="*/ 430741 w 1286707"/>
                <a:gd name="connsiteY1" fmla="*/ 1078465 h 1091136"/>
                <a:gd name="connsiteX2" fmla="*/ 533135 w 1286707"/>
                <a:gd name="connsiteY2" fmla="*/ 1068940 h 1091136"/>
                <a:gd name="connsiteX3" fmla="*/ 1259416 w 1286707"/>
                <a:gd name="connsiteY3" fmla="*/ 287890 h 1091136"/>
                <a:gd name="connsiteX4" fmla="*/ 1276085 w 1286707"/>
                <a:gd name="connsiteY4" fmla="*/ 192640 h 1091136"/>
                <a:gd name="connsiteX5" fmla="*/ 1149879 w 1286707"/>
                <a:gd name="connsiteY5" fmla="*/ 21191 h 1091136"/>
                <a:gd name="connsiteX6" fmla="*/ 1042723 w 1286707"/>
                <a:gd name="connsiteY6" fmla="*/ 16428 h 1091136"/>
                <a:gd name="connsiteX7" fmla="*/ 461698 w 1286707"/>
                <a:gd name="connsiteY7" fmla="*/ 609359 h 1091136"/>
                <a:gd name="connsiteX8" fmla="*/ 242623 w 1286707"/>
                <a:gd name="connsiteY8" fmla="*/ 387903 h 1091136"/>
                <a:gd name="connsiteX9" fmla="*/ 130704 w 1286707"/>
                <a:gd name="connsiteY9" fmla="*/ 385522 h 1091136"/>
                <a:gd name="connsiteX10" fmla="*/ 11641 w 1286707"/>
                <a:gd name="connsiteY10" fmla="*/ 523633 h 1091136"/>
                <a:gd name="connsiteX11" fmla="*/ 11641 w 1286707"/>
                <a:gd name="connsiteY11" fmla="*/ 618884 h 1091136"/>
                <a:gd name="connsiteX0" fmla="*/ 19645 w 1294711"/>
                <a:gd name="connsiteY0" fmla="*/ 618884 h 1091136"/>
                <a:gd name="connsiteX1" fmla="*/ 438745 w 1294711"/>
                <a:gd name="connsiteY1" fmla="*/ 1078465 h 1091136"/>
                <a:gd name="connsiteX2" fmla="*/ 541139 w 1294711"/>
                <a:gd name="connsiteY2" fmla="*/ 1068940 h 1091136"/>
                <a:gd name="connsiteX3" fmla="*/ 1267420 w 1294711"/>
                <a:gd name="connsiteY3" fmla="*/ 287890 h 1091136"/>
                <a:gd name="connsiteX4" fmla="*/ 1284089 w 1294711"/>
                <a:gd name="connsiteY4" fmla="*/ 192640 h 1091136"/>
                <a:gd name="connsiteX5" fmla="*/ 1157883 w 1294711"/>
                <a:gd name="connsiteY5" fmla="*/ 21191 h 1091136"/>
                <a:gd name="connsiteX6" fmla="*/ 1050727 w 1294711"/>
                <a:gd name="connsiteY6" fmla="*/ 16428 h 1091136"/>
                <a:gd name="connsiteX7" fmla="*/ 469702 w 1294711"/>
                <a:gd name="connsiteY7" fmla="*/ 609359 h 1091136"/>
                <a:gd name="connsiteX8" fmla="*/ 250627 w 1294711"/>
                <a:gd name="connsiteY8" fmla="*/ 387903 h 1091136"/>
                <a:gd name="connsiteX9" fmla="*/ 138708 w 1294711"/>
                <a:gd name="connsiteY9" fmla="*/ 385522 h 1091136"/>
                <a:gd name="connsiteX10" fmla="*/ 19645 w 1294711"/>
                <a:gd name="connsiteY10" fmla="*/ 523633 h 1091136"/>
                <a:gd name="connsiteX11" fmla="*/ 19645 w 1294711"/>
                <a:gd name="connsiteY11" fmla="*/ 618884 h 1091136"/>
                <a:gd name="connsiteX0" fmla="*/ 18763 w 1293829"/>
                <a:gd name="connsiteY0" fmla="*/ 618884 h 1091136"/>
                <a:gd name="connsiteX1" fmla="*/ 437863 w 1293829"/>
                <a:gd name="connsiteY1" fmla="*/ 1078465 h 1091136"/>
                <a:gd name="connsiteX2" fmla="*/ 540257 w 1293829"/>
                <a:gd name="connsiteY2" fmla="*/ 1068940 h 1091136"/>
                <a:gd name="connsiteX3" fmla="*/ 1266538 w 1293829"/>
                <a:gd name="connsiteY3" fmla="*/ 287890 h 1091136"/>
                <a:gd name="connsiteX4" fmla="*/ 1283207 w 1293829"/>
                <a:gd name="connsiteY4" fmla="*/ 192640 h 1091136"/>
                <a:gd name="connsiteX5" fmla="*/ 1157001 w 1293829"/>
                <a:gd name="connsiteY5" fmla="*/ 21191 h 1091136"/>
                <a:gd name="connsiteX6" fmla="*/ 1049845 w 1293829"/>
                <a:gd name="connsiteY6" fmla="*/ 16428 h 1091136"/>
                <a:gd name="connsiteX7" fmla="*/ 468820 w 1293829"/>
                <a:gd name="connsiteY7" fmla="*/ 609359 h 1091136"/>
                <a:gd name="connsiteX8" fmla="*/ 249745 w 1293829"/>
                <a:gd name="connsiteY8" fmla="*/ 387903 h 1091136"/>
                <a:gd name="connsiteX9" fmla="*/ 137826 w 1293829"/>
                <a:gd name="connsiteY9" fmla="*/ 385522 h 1091136"/>
                <a:gd name="connsiteX10" fmla="*/ 18763 w 1293829"/>
                <a:gd name="connsiteY10" fmla="*/ 523633 h 1091136"/>
                <a:gd name="connsiteX11" fmla="*/ 18763 w 1293829"/>
                <a:gd name="connsiteY11" fmla="*/ 618884 h 109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3829" h="1091136">
                  <a:moveTo>
                    <a:pt x="18763" y="618884"/>
                  </a:moveTo>
                  <a:lnTo>
                    <a:pt x="437863" y="1078465"/>
                  </a:lnTo>
                  <a:cubicBezTo>
                    <a:pt x="474375" y="1099102"/>
                    <a:pt x="498981" y="1093547"/>
                    <a:pt x="540257" y="1068940"/>
                  </a:cubicBezTo>
                  <a:cubicBezTo>
                    <a:pt x="782351" y="718103"/>
                    <a:pt x="1067307" y="429177"/>
                    <a:pt x="1266538" y="287890"/>
                  </a:cubicBezTo>
                  <a:cubicBezTo>
                    <a:pt x="1303050" y="251378"/>
                    <a:pt x="1296701" y="222009"/>
                    <a:pt x="1283207" y="192640"/>
                  </a:cubicBezTo>
                  <a:lnTo>
                    <a:pt x="1157001" y="21191"/>
                  </a:lnTo>
                  <a:cubicBezTo>
                    <a:pt x="1126045" y="-11354"/>
                    <a:pt x="1095089" y="-1034"/>
                    <a:pt x="1049845" y="16428"/>
                  </a:cubicBezTo>
                  <a:cubicBezTo>
                    <a:pt x="822833" y="161684"/>
                    <a:pt x="626776" y="366471"/>
                    <a:pt x="468820" y="609359"/>
                  </a:cubicBezTo>
                  <a:lnTo>
                    <a:pt x="249745" y="387903"/>
                  </a:lnTo>
                  <a:cubicBezTo>
                    <a:pt x="210058" y="356153"/>
                    <a:pt x="179894" y="360122"/>
                    <a:pt x="137826" y="385522"/>
                  </a:cubicBezTo>
                  <a:cubicBezTo>
                    <a:pt x="98138" y="431559"/>
                    <a:pt x="58451" y="458546"/>
                    <a:pt x="18763" y="523633"/>
                  </a:cubicBezTo>
                  <a:cubicBezTo>
                    <a:pt x="-5049" y="555383"/>
                    <a:pt x="-7430" y="594278"/>
                    <a:pt x="18763" y="61888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1" name="Frame 150"/>
            <p:cNvSpPr/>
            <p:nvPr/>
          </p:nvSpPr>
          <p:spPr bwMode="auto">
            <a:xfrm>
              <a:off x="6960469" y="3091142"/>
              <a:ext cx="153998" cy="148076"/>
            </a:xfrm>
            <a:prstGeom prst="frame">
              <a:avLst>
                <a:gd name="adj1" fmla="val 1322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rgbClr val="FFFFFF"/>
                </a:solidFill>
                <a:latin typeface="Segoe UI Light"/>
                <a:ea typeface="Segoe UI" pitchFamily="34" charset="0"/>
                <a:cs typeface="Segoe UI" pitchFamily="34" charset="0"/>
              </a:endParaRPr>
            </a:p>
          </p:txBody>
        </p:sp>
        <p:sp>
          <p:nvSpPr>
            <p:cNvPr id="152" name="Freeform 151"/>
            <p:cNvSpPr/>
            <p:nvPr/>
          </p:nvSpPr>
          <p:spPr>
            <a:xfrm>
              <a:off x="6994807" y="3319987"/>
              <a:ext cx="133533" cy="112613"/>
            </a:xfrm>
            <a:custGeom>
              <a:avLst/>
              <a:gdLst>
                <a:gd name="connsiteX0" fmla="*/ 7143 w 1271587"/>
                <a:gd name="connsiteY0" fmla="*/ 604837 h 1064418"/>
                <a:gd name="connsiteX1" fmla="*/ 426243 w 1271587"/>
                <a:gd name="connsiteY1" fmla="*/ 1064418 h 1064418"/>
                <a:gd name="connsiteX2" fmla="*/ 528637 w 1271587"/>
                <a:gd name="connsiteY2" fmla="*/ 1054893 h 1064418"/>
                <a:gd name="connsiteX3" fmla="*/ 1254918 w 1271587"/>
                <a:gd name="connsiteY3" fmla="*/ 273843 h 1064418"/>
                <a:gd name="connsiteX4" fmla="*/ 1271587 w 1271587"/>
                <a:gd name="connsiteY4" fmla="*/ 178593 h 1064418"/>
                <a:gd name="connsiteX5" fmla="*/ 1131093 w 1271587"/>
                <a:gd name="connsiteY5" fmla="*/ 0 h 1064418"/>
                <a:gd name="connsiteX6" fmla="*/ 1038225 w 1271587"/>
                <a:gd name="connsiteY6" fmla="*/ 2381 h 1064418"/>
                <a:gd name="connsiteX7" fmla="*/ 457200 w 1271587"/>
                <a:gd name="connsiteY7" fmla="*/ 595312 h 1064418"/>
                <a:gd name="connsiteX8" fmla="*/ 238125 w 1271587"/>
                <a:gd name="connsiteY8" fmla="*/ 373856 h 1064418"/>
                <a:gd name="connsiteX9" fmla="*/ 126206 w 1271587"/>
                <a:gd name="connsiteY9" fmla="*/ 371475 h 1064418"/>
                <a:gd name="connsiteX10" fmla="*/ 0 w 1271587"/>
                <a:gd name="connsiteY10" fmla="*/ 531018 h 1064418"/>
                <a:gd name="connsiteX11" fmla="*/ 7143 w 1271587"/>
                <a:gd name="connsiteY11" fmla="*/ 604837 h 1064418"/>
                <a:gd name="connsiteX0" fmla="*/ 7143 w 1271587"/>
                <a:gd name="connsiteY0" fmla="*/ 604837 h 1067977"/>
                <a:gd name="connsiteX1" fmla="*/ 426243 w 1271587"/>
                <a:gd name="connsiteY1" fmla="*/ 1064418 h 1067977"/>
                <a:gd name="connsiteX2" fmla="*/ 528637 w 1271587"/>
                <a:gd name="connsiteY2" fmla="*/ 1054893 h 1067977"/>
                <a:gd name="connsiteX3" fmla="*/ 1254918 w 1271587"/>
                <a:gd name="connsiteY3" fmla="*/ 273843 h 1067977"/>
                <a:gd name="connsiteX4" fmla="*/ 1271587 w 1271587"/>
                <a:gd name="connsiteY4" fmla="*/ 178593 h 1067977"/>
                <a:gd name="connsiteX5" fmla="*/ 1131093 w 1271587"/>
                <a:gd name="connsiteY5" fmla="*/ 0 h 1067977"/>
                <a:gd name="connsiteX6" fmla="*/ 1038225 w 1271587"/>
                <a:gd name="connsiteY6" fmla="*/ 2381 h 1067977"/>
                <a:gd name="connsiteX7" fmla="*/ 457200 w 1271587"/>
                <a:gd name="connsiteY7" fmla="*/ 595312 h 1067977"/>
                <a:gd name="connsiteX8" fmla="*/ 238125 w 1271587"/>
                <a:gd name="connsiteY8" fmla="*/ 373856 h 1067977"/>
                <a:gd name="connsiteX9" fmla="*/ 126206 w 1271587"/>
                <a:gd name="connsiteY9" fmla="*/ 371475 h 1067977"/>
                <a:gd name="connsiteX10" fmla="*/ 0 w 1271587"/>
                <a:gd name="connsiteY10" fmla="*/ 531018 h 1067977"/>
                <a:gd name="connsiteX11" fmla="*/ 7143 w 1271587"/>
                <a:gd name="connsiteY11" fmla="*/ 604837 h 1067977"/>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5066"/>
                <a:gd name="connsiteY0" fmla="*/ 604837 h 1077089"/>
                <a:gd name="connsiteX1" fmla="*/ 426243 w 1275066"/>
                <a:gd name="connsiteY1" fmla="*/ 1064418 h 1077089"/>
                <a:gd name="connsiteX2" fmla="*/ 528637 w 1275066"/>
                <a:gd name="connsiteY2" fmla="*/ 1054893 h 1077089"/>
                <a:gd name="connsiteX3" fmla="*/ 1254918 w 1275066"/>
                <a:gd name="connsiteY3" fmla="*/ 273843 h 1077089"/>
                <a:gd name="connsiteX4" fmla="*/ 1271587 w 1275066"/>
                <a:gd name="connsiteY4" fmla="*/ 178593 h 1077089"/>
                <a:gd name="connsiteX5" fmla="*/ 1131093 w 1275066"/>
                <a:gd name="connsiteY5" fmla="*/ 0 h 1077089"/>
                <a:gd name="connsiteX6" fmla="*/ 1038225 w 1275066"/>
                <a:gd name="connsiteY6" fmla="*/ 2381 h 1077089"/>
                <a:gd name="connsiteX7" fmla="*/ 457200 w 1275066"/>
                <a:gd name="connsiteY7" fmla="*/ 595312 h 1077089"/>
                <a:gd name="connsiteX8" fmla="*/ 238125 w 1275066"/>
                <a:gd name="connsiteY8" fmla="*/ 373856 h 1077089"/>
                <a:gd name="connsiteX9" fmla="*/ 126206 w 1275066"/>
                <a:gd name="connsiteY9" fmla="*/ 371475 h 1077089"/>
                <a:gd name="connsiteX10" fmla="*/ 0 w 1275066"/>
                <a:gd name="connsiteY10" fmla="*/ 531018 h 1077089"/>
                <a:gd name="connsiteX11" fmla="*/ 7143 w 1275066"/>
                <a:gd name="connsiteY11" fmla="*/ 604837 h 1077089"/>
                <a:gd name="connsiteX0" fmla="*/ 7143 w 1280284"/>
                <a:gd name="connsiteY0" fmla="*/ 604837 h 1077089"/>
                <a:gd name="connsiteX1" fmla="*/ 426243 w 1280284"/>
                <a:gd name="connsiteY1" fmla="*/ 1064418 h 1077089"/>
                <a:gd name="connsiteX2" fmla="*/ 528637 w 1280284"/>
                <a:gd name="connsiteY2" fmla="*/ 1054893 h 1077089"/>
                <a:gd name="connsiteX3" fmla="*/ 1254918 w 1280284"/>
                <a:gd name="connsiteY3" fmla="*/ 273843 h 1077089"/>
                <a:gd name="connsiteX4" fmla="*/ 1271587 w 1280284"/>
                <a:gd name="connsiteY4" fmla="*/ 178593 h 1077089"/>
                <a:gd name="connsiteX5" fmla="*/ 1131093 w 1280284"/>
                <a:gd name="connsiteY5" fmla="*/ 0 h 1077089"/>
                <a:gd name="connsiteX6" fmla="*/ 1038225 w 1280284"/>
                <a:gd name="connsiteY6" fmla="*/ 2381 h 1077089"/>
                <a:gd name="connsiteX7" fmla="*/ 457200 w 1280284"/>
                <a:gd name="connsiteY7" fmla="*/ 595312 h 1077089"/>
                <a:gd name="connsiteX8" fmla="*/ 238125 w 1280284"/>
                <a:gd name="connsiteY8" fmla="*/ 373856 h 1077089"/>
                <a:gd name="connsiteX9" fmla="*/ 126206 w 1280284"/>
                <a:gd name="connsiteY9" fmla="*/ 371475 h 1077089"/>
                <a:gd name="connsiteX10" fmla="*/ 0 w 1280284"/>
                <a:gd name="connsiteY10" fmla="*/ 531018 h 1077089"/>
                <a:gd name="connsiteX11" fmla="*/ 7143 w 1280284"/>
                <a:gd name="connsiteY11" fmla="*/ 604837 h 1077089"/>
                <a:gd name="connsiteX0" fmla="*/ 7143 w 1282209"/>
                <a:gd name="connsiteY0" fmla="*/ 604837 h 1077089"/>
                <a:gd name="connsiteX1" fmla="*/ 426243 w 1282209"/>
                <a:gd name="connsiteY1" fmla="*/ 1064418 h 1077089"/>
                <a:gd name="connsiteX2" fmla="*/ 528637 w 1282209"/>
                <a:gd name="connsiteY2" fmla="*/ 1054893 h 1077089"/>
                <a:gd name="connsiteX3" fmla="*/ 1254918 w 1282209"/>
                <a:gd name="connsiteY3" fmla="*/ 273843 h 1077089"/>
                <a:gd name="connsiteX4" fmla="*/ 1271587 w 1282209"/>
                <a:gd name="connsiteY4" fmla="*/ 178593 h 1077089"/>
                <a:gd name="connsiteX5" fmla="*/ 1131093 w 1282209"/>
                <a:gd name="connsiteY5" fmla="*/ 0 h 1077089"/>
                <a:gd name="connsiteX6" fmla="*/ 1038225 w 1282209"/>
                <a:gd name="connsiteY6" fmla="*/ 2381 h 1077089"/>
                <a:gd name="connsiteX7" fmla="*/ 457200 w 1282209"/>
                <a:gd name="connsiteY7" fmla="*/ 595312 h 1077089"/>
                <a:gd name="connsiteX8" fmla="*/ 238125 w 1282209"/>
                <a:gd name="connsiteY8" fmla="*/ 373856 h 1077089"/>
                <a:gd name="connsiteX9" fmla="*/ 126206 w 1282209"/>
                <a:gd name="connsiteY9" fmla="*/ 371475 h 1077089"/>
                <a:gd name="connsiteX10" fmla="*/ 0 w 1282209"/>
                <a:gd name="connsiteY10" fmla="*/ 531018 h 1077089"/>
                <a:gd name="connsiteX11" fmla="*/ 7143 w 1282209"/>
                <a:gd name="connsiteY11" fmla="*/ 604837 h 1077089"/>
                <a:gd name="connsiteX0" fmla="*/ 7143 w 1282209"/>
                <a:gd name="connsiteY0" fmla="*/ 602456 h 1074708"/>
                <a:gd name="connsiteX1" fmla="*/ 426243 w 1282209"/>
                <a:gd name="connsiteY1" fmla="*/ 1062037 h 1074708"/>
                <a:gd name="connsiteX2" fmla="*/ 528637 w 1282209"/>
                <a:gd name="connsiteY2" fmla="*/ 1052512 h 1074708"/>
                <a:gd name="connsiteX3" fmla="*/ 1254918 w 1282209"/>
                <a:gd name="connsiteY3" fmla="*/ 271462 h 1074708"/>
                <a:gd name="connsiteX4" fmla="*/ 1271587 w 1282209"/>
                <a:gd name="connsiteY4" fmla="*/ 176212 h 1074708"/>
                <a:gd name="connsiteX5" fmla="*/ 1145381 w 1282209"/>
                <a:gd name="connsiteY5" fmla="*/ 4763 h 1074708"/>
                <a:gd name="connsiteX6" fmla="*/ 1038225 w 1282209"/>
                <a:gd name="connsiteY6" fmla="*/ 0 h 1074708"/>
                <a:gd name="connsiteX7" fmla="*/ 457200 w 1282209"/>
                <a:gd name="connsiteY7" fmla="*/ 592931 h 1074708"/>
                <a:gd name="connsiteX8" fmla="*/ 238125 w 1282209"/>
                <a:gd name="connsiteY8" fmla="*/ 371475 h 1074708"/>
                <a:gd name="connsiteX9" fmla="*/ 126206 w 1282209"/>
                <a:gd name="connsiteY9" fmla="*/ 369094 h 1074708"/>
                <a:gd name="connsiteX10" fmla="*/ 0 w 1282209"/>
                <a:gd name="connsiteY10" fmla="*/ 528637 h 1074708"/>
                <a:gd name="connsiteX11" fmla="*/ 7143 w 1282209"/>
                <a:gd name="connsiteY11" fmla="*/ 602456 h 1074708"/>
                <a:gd name="connsiteX0" fmla="*/ 7143 w 1282209"/>
                <a:gd name="connsiteY0" fmla="*/ 613102 h 1085354"/>
                <a:gd name="connsiteX1" fmla="*/ 426243 w 1282209"/>
                <a:gd name="connsiteY1" fmla="*/ 1072683 h 1085354"/>
                <a:gd name="connsiteX2" fmla="*/ 528637 w 1282209"/>
                <a:gd name="connsiteY2" fmla="*/ 1063158 h 1085354"/>
                <a:gd name="connsiteX3" fmla="*/ 1254918 w 1282209"/>
                <a:gd name="connsiteY3" fmla="*/ 282108 h 1085354"/>
                <a:gd name="connsiteX4" fmla="*/ 1271587 w 1282209"/>
                <a:gd name="connsiteY4" fmla="*/ 186858 h 1085354"/>
                <a:gd name="connsiteX5" fmla="*/ 1145381 w 1282209"/>
                <a:gd name="connsiteY5" fmla="*/ 15409 h 1085354"/>
                <a:gd name="connsiteX6" fmla="*/ 1038225 w 1282209"/>
                <a:gd name="connsiteY6" fmla="*/ 10646 h 1085354"/>
                <a:gd name="connsiteX7" fmla="*/ 457200 w 1282209"/>
                <a:gd name="connsiteY7" fmla="*/ 603577 h 1085354"/>
                <a:gd name="connsiteX8" fmla="*/ 238125 w 1282209"/>
                <a:gd name="connsiteY8" fmla="*/ 382121 h 1085354"/>
                <a:gd name="connsiteX9" fmla="*/ 126206 w 1282209"/>
                <a:gd name="connsiteY9" fmla="*/ 379740 h 1085354"/>
                <a:gd name="connsiteX10" fmla="*/ 0 w 1282209"/>
                <a:gd name="connsiteY10" fmla="*/ 539283 h 1085354"/>
                <a:gd name="connsiteX11" fmla="*/ 7143 w 1282209"/>
                <a:gd name="connsiteY11" fmla="*/ 613102 h 1085354"/>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11641 w 1286707"/>
                <a:gd name="connsiteY0" fmla="*/ 618884 h 1091136"/>
                <a:gd name="connsiteX1" fmla="*/ 430741 w 1286707"/>
                <a:gd name="connsiteY1" fmla="*/ 1078465 h 1091136"/>
                <a:gd name="connsiteX2" fmla="*/ 533135 w 1286707"/>
                <a:gd name="connsiteY2" fmla="*/ 1068940 h 1091136"/>
                <a:gd name="connsiteX3" fmla="*/ 1259416 w 1286707"/>
                <a:gd name="connsiteY3" fmla="*/ 287890 h 1091136"/>
                <a:gd name="connsiteX4" fmla="*/ 1276085 w 1286707"/>
                <a:gd name="connsiteY4" fmla="*/ 192640 h 1091136"/>
                <a:gd name="connsiteX5" fmla="*/ 1149879 w 1286707"/>
                <a:gd name="connsiteY5" fmla="*/ 21191 h 1091136"/>
                <a:gd name="connsiteX6" fmla="*/ 1042723 w 1286707"/>
                <a:gd name="connsiteY6" fmla="*/ 16428 h 1091136"/>
                <a:gd name="connsiteX7" fmla="*/ 461698 w 1286707"/>
                <a:gd name="connsiteY7" fmla="*/ 609359 h 1091136"/>
                <a:gd name="connsiteX8" fmla="*/ 242623 w 1286707"/>
                <a:gd name="connsiteY8" fmla="*/ 387903 h 1091136"/>
                <a:gd name="connsiteX9" fmla="*/ 130704 w 1286707"/>
                <a:gd name="connsiteY9" fmla="*/ 385522 h 1091136"/>
                <a:gd name="connsiteX10" fmla="*/ 11641 w 1286707"/>
                <a:gd name="connsiteY10" fmla="*/ 523633 h 1091136"/>
                <a:gd name="connsiteX11" fmla="*/ 11641 w 1286707"/>
                <a:gd name="connsiteY11" fmla="*/ 618884 h 1091136"/>
                <a:gd name="connsiteX0" fmla="*/ 19645 w 1294711"/>
                <a:gd name="connsiteY0" fmla="*/ 618884 h 1091136"/>
                <a:gd name="connsiteX1" fmla="*/ 438745 w 1294711"/>
                <a:gd name="connsiteY1" fmla="*/ 1078465 h 1091136"/>
                <a:gd name="connsiteX2" fmla="*/ 541139 w 1294711"/>
                <a:gd name="connsiteY2" fmla="*/ 1068940 h 1091136"/>
                <a:gd name="connsiteX3" fmla="*/ 1267420 w 1294711"/>
                <a:gd name="connsiteY3" fmla="*/ 287890 h 1091136"/>
                <a:gd name="connsiteX4" fmla="*/ 1284089 w 1294711"/>
                <a:gd name="connsiteY4" fmla="*/ 192640 h 1091136"/>
                <a:gd name="connsiteX5" fmla="*/ 1157883 w 1294711"/>
                <a:gd name="connsiteY5" fmla="*/ 21191 h 1091136"/>
                <a:gd name="connsiteX6" fmla="*/ 1050727 w 1294711"/>
                <a:gd name="connsiteY6" fmla="*/ 16428 h 1091136"/>
                <a:gd name="connsiteX7" fmla="*/ 469702 w 1294711"/>
                <a:gd name="connsiteY7" fmla="*/ 609359 h 1091136"/>
                <a:gd name="connsiteX8" fmla="*/ 250627 w 1294711"/>
                <a:gd name="connsiteY8" fmla="*/ 387903 h 1091136"/>
                <a:gd name="connsiteX9" fmla="*/ 138708 w 1294711"/>
                <a:gd name="connsiteY9" fmla="*/ 385522 h 1091136"/>
                <a:gd name="connsiteX10" fmla="*/ 19645 w 1294711"/>
                <a:gd name="connsiteY10" fmla="*/ 523633 h 1091136"/>
                <a:gd name="connsiteX11" fmla="*/ 19645 w 1294711"/>
                <a:gd name="connsiteY11" fmla="*/ 618884 h 1091136"/>
                <a:gd name="connsiteX0" fmla="*/ 18763 w 1293829"/>
                <a:gd name="connsiteY0" fmla="*/ 618884 h 1091136"/>
                <a:gd name="connsiteX1" fmla="*/ 437863 w 1293829"/>
                <a:gd name="connsiteY1" fmla="*/ 1078465 h 1091136"/>
                <a:gd name="connsiteX2" fmla="*/ 540257 w 1293829"/>
                <a:gd name="connsiteY2" fmla="*/ 1068940 h 1091136"/>
                <a:gd name="connsiteX3" fmla="*/ 1266538 w 1293829"/>
                <a:gd name="connsiteY3" fmla="*/ 287890 h 1091136"/>
                <a:gd name="connsiteX4" fmla="*/ 1283207 w 1293829"/>
                <a:gd name="connsiteY4" fmla="*/ 192640 h 1091136"/>
                <a:gd name="connsiteX5" fmla="*/ 1157001 w 1293829"/>
                <a:gd name="connsiteY5" fmla="*/ 21191 h 1091136"/>
                <a:gd name="connsiteX6" fmla="*/ 1049845 w 1293829"/>
                <a:gd name="connsiteY6" fmla="*/ 16428 h 1091136"/>
                <a:gd name="connsiteX7" fmla="*/ 468820 w 1293829"/>
                <a:gd name="connsiteY7" fmla="*/ 609359 h 1091136"/>
                <a:gd name="connsiteX8" fmla="*/ 249745 w 1293829"/>
                <a:gd name="connsiteY8" fmla="*/ 387903 h 1091136"/>
                <a:gd name="connsiteX9" fmla="*/ 137826 w 1293829"/>
                <a:gd name="connsiteY9" fmla="*/ 385522 h 1091136"/>
                <a:gd name="connsiteX10" fmla="*/ 18763 w 1293829"/>
                <a:gd name="connsiteY10" fmla="*/ 523633 h 1091136"/>
                <a:gd name="connsiteX11" fmla="*/ 18763 w 1293829"/>
                <a:gd name="connsiteY11" fmla="*/ 618884 h 109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3829" h="1091136">
                  <a:moveTo>
                    <a:pt x="18763" y="618884"/>
                  </a:moveTo>
                  <a:lnTo>
                    <a:pt x="437863" y="1078465"/>
                  </a:lnTo>
                  <a:cubicBezTo>
                    <a:pt x="474375" y="1099102"/>
                    <a:pt x="498981" y="1093547"/>
                    <a:pt x="540257" y="1068940"/>
                  </a:cubicBezTo>
                  <a:cubicBezTo>
                    <a:pt x="782351" y="718103"/>
                    <a:pt x="1067307" y="429177"/>
                    <a:pt x="1266538" y="287890"/>
                  </a:cubicBezTo>
                  <a:cubicBezTo>
                    <a:pt x="1303050" y="251378"/>
                    <a:pt x="1296701" y="222009"/>
                    <a:pt x="1283207" y="192640"/>
                  </a:cubicBezTo>
                  <a:lnTo>
                    <a:pt x="1157001" y="21191"/>
                  </a:lnTo>
                  <a:cubicBezTo>
                    <a:pt x="1126045" y="-11354"/>
                    <a:pt x="1095089" y="-1034"/>
                    <a:pt x="1049845" y="16428"/>
                  </a:cubicBezTo>
                  <a:cubicBezTo>
                    <a:pt x="822833" y="161684"/>
                    <a:pt x="626776" y="366471"/>
                    <a:pt x="468820" y="609359"/>
                  </a:cubicBezTo>
                  <a:lnTo>
                    <a:pt x="249745" y="387903"/>
                  </a:lnTo>
                  <a:cubicBezTo>
                    <a:pt x="210058" y="356153"/>
                    <a:pt x="179894" y="360122"/>
                    <a:pt x="137826" y="385522"/>
                  </a:cubicBezTo>
                  <a:cubicBezTo>
                    <a:pt x="98138" y="431559"/>
                    <a:pt x="58451" y="458546"/>
                    <a:pt x="18763" y="523633"/>
                  </a:cubicBezTo>
                  <a:cubicBezTo>
                    <a:pt x="-5049" y="555383"/>
                    <a:pt x="-7430" y="594278"/>
                    <a:pt x="18763" y="61888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3" name="Frame 152"/>
            <p:cNvSpPr/>
            <p:nvPr/>
          </p:nvSpPr>
          <p:spPr bwMode="auto">
            <a:xfrm>
              <a:off x="6960469" y="3319987"/>
              <a:ext cx="153998" cy="148076"/>
            </a:xfrm>
            <a:prstGeom prst="frame">
              <a:avLst>
                <a:gd name="adj1" fmla="val 1322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rgbClr val="FFFFFF"/>
                </a:solidFill>
                <a:latin typeface="Segoe UI Light"/>
                <a:ea typeface="Segoe UI" pitchFamily="34" charset="0"/>
                <a:cs typeface="Segoe UI" pitchFamily="34" charset="0"/>
              </a:endParaRPr>
            </a:p>
          </p:txBody>
        </p:sp>
      </p:grpSp>
      <p:sp>
        <p:nvSpPr>
          <p:cNvPr id="3" name="Slide Number Placeholder 2"/>
          <p:cNvSpPr>
            <a:spLocks noGrp="1"/>
          </p:cNvSpPr>
          <p:nvPr>
            <p:ph type="sldNum" sz="quarter" idx="11"/>
          </p:nvPr>
        </p:nvSpPr>
        <p:spPr/>
        <p:txBody>
          <a:bodyPr/>
          <a:lstStyle/>
          <a:p>
            <a:pPr>
              <a:defRPr/>
            </a:pPr>
            <a:fld id="{F8A0AC42-AA1D-4944-8D96-660DE70C7E1B}" type="slidenum">
              <a:rPr lang="en-IN" smtClean="0"/>
              <a:pPr>
                <a:defRPr/>
              </a:pPr>
              <a:t>10</a:t>
            </a:fld>
            <a:endParaRPr lang="en-IN" dirty="0"/>
          </a:p>
        </p:txBody>
      </p:sp>
    </p:spTree>
    <p:extLst>
      <p:ext uri="{BB962C8B-B14F-4D97-AF65-F5344CB8AC3E}">
        <p14:creationId xmlns:p14="http://schemas.microsoft.com/office/powerpoint/2010/main" val="2598364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650" fill="hold"/>
                                        <p:tgtEl>
                                          <p:spTgt spid="99"/>
                                        </p:tgtEl>
                                      </p:cBhvr>
                                      <p:by x="25000" y="25000"/>
                                    </p:animScale>
                                  </p:childTnLst>
                                </p:cTn>
                              </p:par>
                              <p:par>
                                <p:cTn id="7" presetID="42" presetClass="path" presetSubtype="0" accel="50000" decel="50000" fill="hold" nodeType="withEffect">
                                  <p:stCondLst>
                                    <p:cond delay="250"/>
                                  </p:stCondLst>
                                  <p:childTnLst>
                                    <p:animMotion origin="layout" path="M 0.0014 -0.0034 L 0.06523 0.08194 " pathEditMode="relative" rAng="0" ptsTypes="AA">
                                      <p:cBhvr>
                                        <p:cTn id="8" dur="700" fill="hold"/>
                                        <p:tgtEl>
                                          <p:spTgt spid="99"/>
                                        </p:tgtEl>
                                        <p:attrNameLst>
                                          <p:attrName>ppt_x</p:attrName>
                                          <p:attrName>ppt_y</p:attrName>
                                        </p:attrNameLst>
                                      </p:cBhvr>
                                      <p:rCtr x="3191" y="4267"/>
                                    </p:animMotion>
                                  </p:childTnLst>
                                </p:cTn>
                              </p:par>
                            </p:childTnLst>
                          </p:cTn>
                        </p:par>
                        <p:par>
                          <p:cTn id="9" fill="hold">
                            <p:stCondLst>
                              <p:cond delay="950"/>
                            </p:stCondLst>
                            <p:childTnLst>
                              <p:par>
                                <p:cTn id="10" presetID="10" presetClass="entr" presetSubtype="0" fill="hold" grpId="0" nodeType="after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35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4"/>
                                        </p:tgtEl>
                                      </p:cBhvr>
                                    </p:animEffect>
                                    <p:set>
                                      <p:cBhvr>
                                        <p:cTn id="17" dur="1" fill="hold">
                                          <p:stCondLst>
                                            <p:cond delay="499"/>
                                          </p:stCondLst>
                                        </p:cTn>
                                        <p:tgtEl>
                                          <p:spTgt spid="4"/>
                                        </p:tgtEl>
                                        <p:attrNameLst>
                                          <p:attrName>style.visibility</p:attrName>
                                        </p:attrNameLst>
                                      </p:cBhvr>
                                      <p:to>
                                        <p:strVal val="hidden"/>
                                      </p:to>
                                    </p:set>
                                  </p:childTnLst>
                                </p:cTn>
                              </p:par>
                            </p:childTnLst>
                          </p:cTn>
                        </p:par>
                        <p:par>
                          <p:cTn id="18" fill="hold">
                            <p:stCondLst>
                              <p:cond delay="500"/>
                            </p:stCondLst>
                            <p:childTnLst>
                              <p:par>
                                <p:cTn id="19" presetID="42" presetClass="path" presetSubtype="0" accel="50000" decel="50000" fill="hold" nodeType="afterEffect">
                                  <p:stCondLst>
                                    <p:cond delay="0"/>
                                  </p:stCondLst>
                                  <p:childTnLst>
                                    <p:animMotion origin="layout" path="M 0.06523 0.08194 L 0.0014 -0.0034 " pathEditMode="relative" rAng="0" ptsTypes="AA">
                                      <p:cBhvr>
                                        <p:cTn id="20" dur="700" fill="hold"/>
                                        <p:tgtEl>
                                          <p:spTgt spid="99"/>
                                        </p:tgtEl>
                                        <p:attrNameLst>
                                          <p:attrName>ppt_x</p:attrName>
                                          <p:attrName>ppt_y</p:attrName>
                                        </p:attrNameLst>
                                      </p:cBhvr>
                                      <p:rCtr x="-3191" y="-4267"/>
                                    </p:animMotion>
                                  </p:childTnLst>
                                </p:cTn>
                              </p:par>
                            </p:childTnLst>
                          </p:cTn>
                        </p:par>
                        <p:par>
                          <p:cTn id="21" fill="hold">
                            <p:stCondLst>
                              <p:cond delay="1200"/>
                            </p:stCondLst>
                            <p:childTnLst>
                              <p:par>
                                <p:cTn id="22" presetID="10" presetClass="exit" presetSubtype="0" fill="hold" nodeType="afterEffect">
                                  <p:stCondLst>
                                    <p:cond delay="0"/>
                                  </p:stCondLst>
                                  <p:childTnLst>
                                    <p:animEffect transition="out" filter="fade">
                                      <p:cBhvr>
                                        <p:cTn id="23" dur="500"/>
                                        <p:tgtEl>
                                          <p:spTgt spid="99"/>
                                        </p:tgtEl>
                                      </p:cBhvr>
                                    </p:animEffect>
                                    <p:set>
                                      <p:cBhvr>
                                        <p:cTn id="24" dur="1" fill="hold">
                                          <p:stCondLst>
                                            <p:cond delay="499"/>
                                          </p:stCondLst>
                                        </p:cTn>
                                        <p:tgtEl>
                                          <p:spTgt spid="99"/>
                                        </p:tgtEl>
                                        <p:attrNameLst>
                                          <p:attrName>style.visibility</p:attrName>
                                        </p:attrNameLst>
                                      </p:cBhvr>
                                      <p:to>
                                        <p:strVal val="hidden"/>
                                      </p:to>
                                    </p:set>
                                  </p:childTnLst>
                                </p:cTn>
                              </p:par>
                              <p:par>
                                <p:cTn id="25" presetID="31" presetClass="entr" presetSubtype="0" fill="hold" nodeType="withEffect">
                                  <p:stCondLst>
                                    <p:cond delay="0"/>
                                  </p:stCondLst>
                                  <p:childTnLst>
                                    <p:set>
                                      <p:cBhvr>
                                        <p:cTn id="26" dur="1" fill="hold">
                                          <p:stCondLst>
                                            <p:cond delay="0"/>
                                          </p:stCondLst>
                                        </p:cTn>
                                        <p:tgtEl>
                                          <p:spTgt spid="69"/>
                                        </p:tgtEl>
                                        <p:attrNameLst>
                                          <p:attrName>style.visibility</p:attrName>
                                        </p:attrNameLst>
                                      </p:cBhvr>
                                      <p:to>
                                        <p:strVal val="visible"/>
                                      </p:to>
                                    </p:set>
                                    <p:anim calcmode="lin" valueType="num">
                                      <p:cBhvr>
                                        <p:cTn id="27" dur="500" fill="hold"/>
                                        <p:tgtEl>
                                          <p:spTgt spid="69"/>
                                        </p:tgtEl>
                                        <p:attrNameLst>
                                          <p:attrName>ppt_w</p:attrName>
                                        </p:attrNameLst>
                                      </p:cBhvr>
                                      <p:tavLst>
                                        <p:tav tm="0">
                                          <p:val>
                                            <p:fltVal val="0"/>
                                          </p:val>
                                        </p:tav>
                                        <p:tav tm="100000">
                                          <p:val>
                                            <p:strVal val="#ppt_w"/>
                                          </p:val>
                                        </p:tav>
                                      </p:tavLst>
                                    </p:anim>
                                    <p:anim calcmode="lin" valueType="num">
                                      <p:cBhvr>
                                        <p:cTn id="28" dur="500" fill="hold"/>
                                        <p:tgtEl>
                                          <p:spTgt spid="69"/>
                                        </p:tgtEl>
                                        <p:attrNameLst>
                                          <p:attrName>ppt_h</p:attrName>
                                        </p:attrNameLst>
                                      </p:cBhvr>
                                      <p:tavLst>
                                        <p:tav tm="0">
                                          <p:val>
                                            <p:fltVal val="0"/>
                                          </p:val>
                                        </p:tav>
                                        <p:tav tm="100000">
                                          <p:val>
                                            <p:strVal val="#ppt_h"/>
                                          </p:val>
                                        </p:tav>
                                      </p:tavLst>
                                    </p:anim>
                                    <p:anim calcmode="lin" valueType="num">
                                      <p:cBhvr>
                                        <p:cTn id="29" dur="500" fill="hold"/>
                                        <p:tgtEl>
                                          <p:spTgt spid="69"/>
                                        </p:tgtEl>
                                        <p:attrNameLst>
                                          <p:attrName>style.rotation</p:attrName>
                                        </p:attrNameLst>
                                      </p:cBhvr>
                                      <p:tavLst>
                                        <p:tav tm="0">
                                          <p:val>
                                            <p:fltVal val="90"/>
                                          </p:val>
                                        </p:tav>
                                        <p:tav tm="100000">
                                          <p:val>
                                            <p:fltVal val="0"/>
                                          </p:val>
                                        </p:tav>
                                      </p:tavLst>
                                    </p:anim>
                                    <p:animEffect transition="in" filter="fade">
                                      <p:cBhvr>
                                        <p:cTn id="30" dur="500"/>
                                        <p:tgtEl>
                                          <p:spTgt spid="69"/>
                                        </p:tgtEl>
                                      </p:cBhvr>
                                    </p:animEffect>
                                  </p:childTnLst>
                                </p:cTn>
                              </p:par>
                              <p:par>
                                <p:cTn id="31" presetID="6" presetClass="emph" presetSubtype="0" fill="hold" nodeType="withEffect">
                                  <p:stCondLst>
                                    <p:cond delay="0"/>
                                  </p:stCondLst>
                                  <p:childTnLst>
                                    <p:animScale>
                                      <p:cBhvr>
                                        <p:cTn id="32" dur="650" fill="hold"/>
                                        <p:tgtEl>
                                          <p:spTgt spid="93"/>
                                        </p:tgtEl>
                                      </p:cBhvr>
                                      <p:by x="25000" y="25000"/>
                                    </p:animScale>
                                  </p:childTnLst>
                                </p:cTn>
                              </p:par>
                              <p:par>
                                <p:cTn id="33" presetID="42" presetClass="path" presetSubtype="0" accel="50000" decel="50000" fill="hold" nodeType="withEffect">
                                  <p:stCondLst>
                                    <p:cond delay="250"/>
                                  </p:stCondLst>
                                  <p:childTnLst>
                                    <p:animMotion origin="layout" path="M 0.0014 -0.0034 L 0.06523 0.08194 " pathEditMode="relative" rAng="0" ptsTypes="AA">
                                      <p:cBhvr>
                                        <p:cTn id="34" dur="700" fill="hold"/>
                                        <p:tgtEl>
                                          <p:spTgt spid="93"/>
                                        </p:tgtEl>
                                        <p:attrNameLst>
                                          <p:attrName>ppt_x</p:attrName>
                                          <p:attrName>ppt_y</p:attrName>
                                        </p:attrNameLst>
                                      </p:cBhvr>
                                      <p:rCtr x="3191" y="4267"/>
                                    </p:animMotion>
                                  </p:childTnLst>
                                </p:cTn>
                              </p:par>
                            </p:childTnLst>
                          </p:cTn>
                        </p:par>
                        <p:par>
                          <p:cTn id="35" fill="hold">
                            <p:stCondLst>
                              <p:cond delay="2150"/>
                            </p:stCondLst>
                            <p:childTnLst>
                              <p:par>
                                <p:cTn id="36" presetID="10" presetClass="entr" presetSubtype="0" fill="hold" grpId="0" nodeType="afterEffect">
                                  <p:stCondLst>
                                    <p:cond delay="0"/>
                                  </p:stCondLst>
                                  <p:childTnLst>
                                    <p:set>
                                      <p:cBhvr>
                                        <p:cTn id="37" dur="1" fill="hold">
                                          <p:stCondLst>
                                            <p:cond delay="0"/>
                                          </p:stCondLst>
                                        </p:cTn>
                                        <p:tgtEl>
                                          <p:spTgt spid="6"/>
                                        </p:tgtEl>
                                        <p:attrNameLst>
                                          <p:attrName>style.visibility</p:attrName>
                                        </p:attrNameLst>
                                      </p:cBhvr>
                                      <p:to>
                                        <p:strVal val="visible"/>
                                      </p:to>
                                    </p:set>
                                    <p:animEffect transition="in" filter="fade">
                                      <p:cBhvr>
                                        <p:cTn id="38" dur="350"/>
                                        <p:tgtEl>
                                          <p:spTgt spid="6"/>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xit" presetSubtype="0" fill="hold" grpId="1" nodeType="clickEffect">
                                  <p:stCondLst>
                                    <p:cond delay="0"/>
                                  </p:stCondLst>
                                  <p:childTnLst>
                                    <p:animEffect transition="out" filter="fade">
                                      <p:cBhvr>
                                        <p:cTn id="42" dur="500"/>
                                        <p:tgtEl>
                                          <p:spTgt spid="6"/>
                                        </p:tgtEl>
                                      </p:cBhvr>
                                    </p:animEffect>
                                    <p:set>
                                      <p:cBhvr>
                                        <p:cTn id="43" dur="1" fill="hold">
                                          <p:stCondLst>
                                            <p:cond delay="499"/>
                                          </p:stCondLst>
                                        </p:cTn>
                                        <p:tgtEl>
                                          <p:spTgt spid="6"/>
                                        </p:tgtEl>
                                        <p:attrNameLst>
                                          <p:attrName>style.visibility</p:attrName>
                                        </p:attrNameLst>
                                      </p:cBhvr>
                                      <p:to>
                                        <p:strVal val="hidden"/>
                                      </p:to>
                                    </p:set>
                                  </p:childTnLst>
                                </p:cTn>
                              </p:par>
                            </p:childTnLst>
                          </p:cTn>
                        </p:par>
                        <p:par>
                          <p:cTn id="44" fill="hold">
                            <p:stCondLst>
                              <p:cond delay="500"/>
                            </p:stCondLst>
                            <p:childTnLst>
                              <p:par>
                                <p:cTn id="45" presetID="42" presetClass="path" presetSubtype="0" accel="50000" decel="50000" fill="hold" nodeType="afterEffect">
                                  <p:stCondLst>
                                    <p:cond delay="0"/>
                                  </p:stCondLst>
                                  <p:childTnLst>
                                    <p:animMotion origin="layout" path="M 0.06523 0.08194 L 0.0014 -0.0034 " pathEditMode="relative" rAng="0" ptsTypes="AA">
                                      <p:cBhvr>
                                        <p:cTn id="46" dur="700" fill="hold"/>
                                        <p:tgtEl>
                                          <p:spTgt spid="93"/>
                                        </p:tgtEl>
                                        <p:attrNameLst>
                                          <p:attrName>ppt_x</p:attrName>
                                          <p:attrName>ppt_y</p:attrName>
                                        </p:attrNameLst>
                                      </p:cBhvr>
                                      <p:rCtr x="-3191" y="-4267"/>
                                    </p:animMotion>
                                  </p:childTnLst>
                                </p:cTn>
                              </p:par>
                            </p:childTnLst>
                          </p:cTn>
                        </p:par>
                        <p:par>
                          <p:cTn id="47" fill="hold">
                            <p:stCondLst>
                              <p:cond delay="1200"/>
                            </p:stCondLst>
                            <p:childTnLst>
                              <p:par>
                                <p:cTn id="48" presetID="10" presetClass="exit" presetSubtype="0" fill="hold" nodeType="afterEffect">
                                  <p:stCondLst>
                                    <p:cond delay="0"/>
                                  </p:stCondLst>
                                  <p:childTnLst>
                                    <p:animEffect transition="out" filter="fade">
                                      <p:cBhvr>
                                        <p:cTn id="49" dur="500"/>
                                        <p:tgtEl>
                                          <p:spTgt spid="93"/>
                                        </p:tgtEl>
                                      </p:cBhvr>
                                    </p:animEffect>
                                    <p:set>
                                      <p:cBhvr>
                                        <p:cTn id="50" dur="1" fill="hold">
                                          <p:stCondLst>
                                            <p:cond delay="499"/>
                                          </p:stCondLst>
                                        </p:cTn>
                                        <p:tgtEl>
                                          <p:spTgt spid="93"/>
                                        </p:tgtEl>
                                        <p:attrNameLst>
                                          <p:attrName>style.visibility</p:attrName>
                                        </p:attrNameLst>
                                      </p:cBhvr>
                                      <p:to>
                                        <p:strVal val="hidden"/>
                                      </p:to>
                                    </p:set>
                                  </p:childTnLst>
                                </p:cTn>
                              </p:par>
                              <p:par>
                                <p:cTn id="51" presetID="31" presetClass="entr" presetSubtype="0" fill="hold" nodeType="withEffect">
                                  <p:stCondLst>
                                    <p:cond delay="0"/>
                                  </p:stCondLst>
                                  <p:childTnLst>
                                    <p:set>
                                      <p:cBhvr>
                                        <p:cTn id="52" dur="1" fill="hold">
                                          <p:stCondLst>
                                            <p:cond delay="0"/>
                                          </p:stCondLst>
                                        </p:cTn>
                                        <p:tgtEl>
                                          <p:spTgt spid="116"/>
                                        </p:tgtEl>
                                        <p:attrNameLst>
                                          <p:attrName>style.visibility</p:attrName>
                                        </p:attrNameLst>
                                      </p:cBhvr>
                                      <p:to>
                                        <p:strVal val="visible"/>
                                      </p:to>
                                    </p:set>
                                    <p:anim calcmode="lin" valueType="num">
                                      <p:cBhvr>
                                        <p:cTn id="53" dur="500" fill="hold"/>
                                        <p:tgtEl>
                                          <p:spTgt spid="116"/>
                                        </p:tgtEl>
                                        <p:attrNameLst>
                                          <p:attrName>ppt_w</p:attrName>
                                        </p:attrNameLst>
                                      </p:cBhvr>
                                      <p:tavLst>
                                        <p:tav tm="0">
                                          <p:val>
                                            <p:fltVal val="0"/>
                                          </p:val>
                                        </p:tav>
                                        <p:tav tm="100000">
                                          <p:val>
                                            <p:strVal val="#ppt_w"/>
                                          </p:val>
                                        </p:tav>
                                      </p:tavLst>
                                    </p:anim>
                                    <p:anim calcmode="lin" valueType="num">
                                      <p:cBhvr>
                                        <p:cTn id="54" dur="500" fill="hold"/>
                                        <p:tgtEl>
                                          <p:spTgt spid="116"/>
                                        </p:tgtEl>
                                        <p:attrNameLst>
                                          <p:attrName>ppt_h</p:attrName>
                                        </p:attrNameLst>
                                      </p:cBhvr>
                                      <p:tavLst>
                                        <p:tav tm="0">
                                          <p:val>
                                            <p:fltVal val="0"/>
                                          </p:val>
                                        </p:tav>
                                        <p:tav tm="100000">
                                          <p:val>
                                            <p:strVal val="#ppt_h"/>
                                          </p:val>
                                        </p:tav>
                                      </p:tavLst>
                                    </p:anim>
                                    <p:anim calcmode="lin" valueType="num">
                                      <p:cBhvr>
                                        <p:cTn id="55" dur="500" fill="hold"/>
                                        <p:tgtEl>
                                          <p:spTgt spid="116"/>
                                        </p:tgtEl>
                                        <p:attrNameLst>
                                          <p:attrName>style.rotation</p:attrName>
                                        </p:attrNameLst>
                                      </p:cBhvr>
                                      <p:tavLst>
                                        <p:tav tm="0">
                                          <p:val>
                                            <p:fltVal val="90"/>
                                          </p:val>
                                        </p:tav>
                                        <p:tav tm="100000">
                                          <p:val>
                                            <p:fltVal val="0"/>
                                          </p:val>
                                        </p:tav>
                                      </p:tavLst>
                                    </p:anim>
                                    <p:animEffect transition="in" filter="fade">
                                      <p:cBhvr>
                                        <p:cTn id="56" dur="500"/>
                                        <p:tgtEl>
                                          <p:spTgt spid="116"/>
                                        </p:tgtEl>
                                      </p:cBhvr>
                                    </p:animEffect>
                                  </p:childTnLst>
                                </p:cTn>
                              </p:par>
                              <p:par>
                                <p:cTn id="57" presetID="6" presetClass="emph" presetSubtype="0" fill="hold" grpId="0" nodeType="withEffect">
                                  <p:stCondLst>
                                    <p:cond delay="0"/>
                                  </p:stCondLst>
                                  <p:childTnLst>
                                    <p:animScale>
                                      <p:cBhvr>
                                        <p:cTn id="58" dur="650" fill="hold"/>
                                        <p:tgtEl>
                                          <p:spTgt spid="92"/>
                                        </p:tgtEl>
                                      </p:cBhvr>
                                      <p:by x="25000" y="25000"/>
                                    </p:animScale>
                                  </p:childTnLst>
                                </p:cTn>
                              </p:par>
                              <p:par>
                                <p:cTn id="59" presetID="42" presetClass="path" presetSubtype="0" accel="50000" decel="50000" fill="hold" grpId="1" nodeType="withEffect">
                                  <p:stCondLst>
                                    <p:cond delay="250"/>
                                  </p:stCondLst>
                                  <p:childTnLst>
                                    <p:animMotion origin="layout" path="M 0.0014 -0.0034 L 0.06523 0.08194 " pathEditMode="relative" rAng="0" ptsTypes="AA">
                                      <p:cBhvr>
                                        <p:cTn id="60" dur="700" fill="hold"/>
                                        <p:tgtEl>
                                          <p:spTgt spid="92"/>
                                        </p:tgtEl>
                                        <p:attrNameLst>
                                          <p:attrName>ppt_x</p:attrName>
                                          <p:attrName>ppt_y</p:attrName>
                                        </p:attrNameLst>
                                      </p:cBhvr>
                                      <p:rCtr x="3191" y="4267"/>
                                    </p:animMotion>
                                  </p:childTnLst>
                                </p:cTn>
                              </p:par>
                            </p:childTnLst>
                          </p:cTn>
                        </p:par>
                        <p:par>
                          <p:cTn id="61" fill="hold">
                            <p:stCondLst>
                              <p:cond delay="2150"/>
                            </p:stCondLst>
                            <p:childTnLst>
                              <p:par>
                                <p:cTn id="62" presetID="10" presetClass="entr" presetSubtype="0" fill="hold" grpId="0" nodeType="afterEffect">
                                  <p:stCondLst>
                                    <p:cond delay="0"/>
                                  </p:stCondLst>
                                  <p:childTnLst>
                                    <p:set>
                                      <p:cBhvr>
                                        <p:cTn id="63" dur="1" fill="hold">
                                          <p:stCondLst>
                                            <p:cond delay="0"/>
                                          </p:stCondLst>
                                        </p:cTn>
                                        <p:tgtEl>
                                          <p:spTgt spid="7"/>
                                        </p:tgtEl>
                                        <p:attrNameLst>
                                          <p:attrName>style.visibility</p:attrName>
                                        </p:attrNameLst>
                                      </p:cBhvr>
                                      <p:to>
                                        <p:strVal val="visible"/>
                                      </p:to>
                                    </p:set>
                                    <p:animEffect transition="in" filter="fade">
                                      <p:cBhvr>
                                        <p:cTn id="64" dur="350"/>
                                        <p:tgtEl>
                                          <p:spTgt spid="7"/>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xit" presetSubtype="0" fill="hold" grpId="1" nodeType="clickEffect">
                                  <p:stCondLst>
                                    <p:cond delay="0"/>
                                  </p:stCondLst>
                                  <p:childTnLst>
                                    <p:animEffect transition="out" filter="fade">
                                      <p:cBhvr>
                                        <p:cTn id="68" dur="500"/>
                                        <p:tgtEl>
                                          <p:spTgt spid="7"/>
                                        </p:tgtEl>
                                      </p:cBhvr>
                                    </p:animEffect>
                                    <p:set>
                                      <p:cBhvr>
                                        <p:cTn id="69" dur="1" fill="hold">
                                          <p:stCondLst>
                                            <p:cond delay="499"/>
                                          </p:stCondLst>
                                        </p:cTn>
                                        <p:tgtEl>
                                          <p:spTgt spid="7"/>
                                        </p:tgtEl>
                                        <p:attrNameLst>
                                          <p:attrName>style.visibility</p:attrName>
                                        </p:attrNameLst>
                                      </p:cBhvr>
                                      <p:to>
                                        <p:strVal val="hidden"/>
                                      </p:to>
                                    </p:set>
                                  </p:childTnLst>
                                </p:cTn>
                              </p:par>
                            </p:childTnLst>
                          </p:cTn>
                        </p:par>
                        <p:par>
                          <p:cTn id="70" fill="hold">
                            <p:stCondLst>
                              <p:cond delay="500"/>
                            </p:stCondLst>
                            <p:childTnLst>
                              <p:par>
                                <p:cTn id="71" presetID="42" presetClass="path" presetSubtype="0" accel="50000" decel="50000" fill="hold" grpId="2" nodeType="afterEffect">
                                  <p:stCondLst>
                                    <p:cond delay="0"/>
                                  </p:stCondLst>
                                  <p:childTnLst>
                                    <p:animMotion origin="layout" path="M 0.06523 0.08194 L 0.0014 -0.0034 " pathEditMode="relative" rAng="0" ptsTypes="AA">
                                      <p:cBhvr>
                                        <p:cTn id="72" dur="700" fill="hold"/>
                                        <p:tgtEl>
                                          <p:spTgt spid="92"/>
                                        </p:tgtEl>
                                        <p:attrNameLst>
                                          <p:attrName>ppt_x</p:attrName>
                                          <p:attrName>ppt_y</p:attrName>
                                        </p:attrNameLst>
                                      </p:cBhvr>
                                      <p:rCtr x="-3191" y="-4267"/>
                                    </p:animMotion>
                                  </p:childTnLst>
                                </p:cTn>
                              </p:par>
                            </p:childTnLst>
                          </p:cTn>
                        </p:par>
                        <p:par>
                          <p:cTn id="73" fill="hold">
                            <p:stCondLst>
                              <p:cond delay="1200"/>
                            </p:stCondLst>
                            <p:childTnLst>
                              <p:par>
                                <p:cTn id="74" presetID="10" presetClass="exit" presetSubtype="0" fill="hold" grpId="3" nodeType="afterEffect">
                                  <p:stCondLst>
                                    <p:cond delay="0"/>
                                  </p:stCondLst>
                                  <p:childTnLst>
                                    <p:animEffect transition="out" filter="fade">
                                      <p:cBhvr>
                                        <p:cTn id="75" dur="500"/>
                                        <p:tgtEl>
                                          <p:spTgt spid="92"/>
                                        </p:tgtEl>
                                      </p:cBhvr>
                                    </p:animEffect>
                                    <p:set>
                                      <p:cBhvr>
                                        <p:cTn id="76" dur="1" fill="hold">
                                          <p:stCondLst>
                                            <p:cond delay="499"/>
                                          </p:stCondLst>
                                        </p:cTn>
                                        <p:tgtEl>
                                          <p:spTgt spid="92"/>
                                        </p:tgtEl>
                                        <p:attrNameLst>
                                          <p:attrName>style.visibility</p:attrName>
                                        </p:attrNameLst>
                                      </p:cBhvr>
                                      <p:to>
                                        <p:strVal val="hidden"/>
                                      </p:to>
                                    </p:set>
                                  </p:childTnLst>
                                </p:cTn>
                              </p:par>
                              <p:par>
                                <p:cTn id="77" presetID="31" presetClass="entr" presetSubtype="0" fill="hold" grpId="0" nodeType="withEffect">
                                  <p:stCondLst>
                                    <p:cond delay="0"/>
                                  </p:stCondLst>
                                  <p:childTnLst>
                                    <p:set>
                                      <p:cBhvr>
                                        <p:cTn id="78" dur="1" fill="hold">
                                          <p:stCondLst>
                                            <p:cond delay="0"/>
                                          </p:stCondLst>
                                        </p:cTn>
                                        <p:tgtEl>
                                          <p:spTgt spid="106"/>
                                        </p:tgtEl>
                                        <p:attrNameLst>
                                          <p:attrName>style.visibility</p:attrName>
                                        </p:attrNameLst>
                                      </p:cBhvr>
                                      <p:to>
                                        <p:strVal val="visible"/>
                                      </p:to>
                                    </p:set>
                                    <p:anim calcmode="lin" valueType="num">
                                      <p:cBhvr>
                                        <p:cTn id="79" dur="500" fill="hold"/>
                                        <p:tgtEl>
                                          <p:spTgt spid="106"/>
                                        </p:tgtEl>
                                        <p:attrNameLst>
                                          <p:attrName>ppt_w</p:attrName>
                                        </p:attrNameLst>
                                      </p:cBhvr>
                                      <p:tavLst>
                                        <p:tav tm="0">
                                          <p:val>
                                            <p:fltVal val="0"/>
                                          </p:val>
                                        </p:tav>
                                        <p:tav tm="100000">
                                          <p:val>
                                            <p:strVal val="#ppt_w"/>
                                          </p:val>
                                        </p:tav>
                                      </p:tavLst>
                                    </p:anim>
                                    <p:anim calcmode="lin" valueType="num">
                                      <p:cBhvr>
                                        <p:cTn id="80" dur="500" fill="hold"/>
                                        <p:tgtEl>
                                          <p:spTgt spid="106"/>
                                        </p:tgtEl>
                                        <p:attrNameLst>
                                          <p:attrName>ppt_h</p:attrName>
                                        </p:attrNameLst>
                                      </p:cBhvr>
                                      <p:tavLst>
                                        <p:tav tm="0">
                                          <p:val>
                                            <p:fltVal val="0"/>
                                          </p:val>
                                        </p:tav>
                                        <p:tav tm="100000">
                                          <p:val>
                                            <p:strVal val="#ppt_h"/>
                                          </p:val>
                                        </p:tav>
                                      </p:tavLst>
                                    </p:anim>
                                    <p:anim calcmode="lin" valueType="num">
                                      <p:cBhvr>
                                        <p:cTn id="81" dur="500" fill="hold"/>
                                        <p:tgtEl>
                                          <p:spTgt spid="106"/>
                                        </p:tgtEl>
                                        <p:attrNameLst>
                                          <p:attrName>style.rotation</p:attrName>
                                        </p:attrNameLst>
                                      </p:cBhvr>
                                      <p:tavLst>
                                        <p:tav tm="0">
                                          <p:val>
                                            <p:fltVal val="90"/>
                                          </p:val>
                                        </p:tav>
                                        <p:tav tm="100000">
                                          <p:val>
                                            <p:fltVal val="0"/>
                                          </p:val>
                                        </p:tav>
                                      </p:tavLst>
                                    </p:anim>
                                    <p:animEffect transition="in" filter="fade">
                                      <p:cBhvr>
                                        <p:cTn id="82" dur="500"/>
                                        <p:tgtEl>
                                          <p:spTgt spid="106"/>
                                        </p:tgtEl>
                                      </p:cBhvr>
                                    </p:animEffect>
                                  </p:childTnLst>
                                </p:cTn>
                              </p:par>
                              <p:par>
                                <p:cTn id="83" presetID="6" presetClass="emph" presetSubtype="0" fill="hold" nodeType="withEffect">
                                  <p:stCondLst>
                                    <p:cond delay="0"/>
                                  </p:stCondLst>
                                  <p:childTnLst>
                                    <p:animScale>
                                      <p:cBhvr>
                                        <p:cTn id="84" dur="650" fill="hold"/>
                                        <p:tgtEl>
                                          <p:spTgt spid="74"/>
                                        </p:tgtEl>
                                      </p:cBhvr>
                                      <p:by x="25000" y="25000"/>
                                    </p:animScale>
                                  </p:childTnLst>
                                </p:cTn>
                              </p:par>
                              <p:par>
                                <p:cTn id="85" presetID="42" presetClass="path" presetSubtype="0" accel="50000" decel="50000" fill="hold" nodeType="withEffect">
                                  <p:stCondLst>
                                    <p:cond delay="250"/>
                                  </p:stCondLst>
                                  <p:childTnLst>
                                    <p:animMotion origin="layout" path="M 0.00141 -0.0034 L 0.06523 0.08194 " pathEditMode="relative" rAng="0" ptsTypes="AA">
                                      <p:cBhvr>
                                        <p:cTn id="86" dur="700" fill="hold"/>
                                        <p:tgtEl>
                                          <p:spTgt spid="74"/>
                                        </p:tgtEl>
                                        <p:attrNameLst>
                                          <p:attrName>ppt_x</p:attrName>
                                          <p:attrName>ppt_y</p:attrName>
                                        </p:attrNameLst>
                                      </p:cBhvr>
                                      <p:rCtr x="3191" y="4267"/>
                                    </p:animMotion>
                                  </p:childTnLst>
                                </p:cTn>
                              </p:par>
                            </p:childTnLst>
                          </p:cTn>
                        </p:par>
                        <p:par>
                          <p:cTn id="87" fill="hold">
                            <p:stCondLst>
                              <p:cond delay="2150"/>
                            </p:stCondLst>
                            <p:childTnLst>
                              <p:par>
                                <p:cTn id="88" presetID="10" presetClass="entr" presetSubtype="0" fill="hold" grpId="0" nodeType="afterEffect">
                                  <p:stCondLst>
                                    <p:cond delay="0"/>
                                  </p:stCondLst>
                                  <p:childTnLst>
                                    <p:set>
                                      <p:cBhvr>
                                        <p:cTn id="89" dur="1" fill="hold">
                                          <p:stCondLst>
                                            <p:cond delay="0"/>
                                          </p:stCondLst>
                                        </p:cTn>
                                        <p:tgtEl>
                                          <p:spTgt spid="8"/>
                                        </p:tgtEl>
                                        <p:attrNameLst>
                                          <p:attrName>style.visibility</p:attrName>
                                        </p:attrNameLst>
                                      </p:cBhvr>
                                      <p:to>
                                        <p:strVal val="visible"/>
                                      </p:to>
                                    </p:set>
                                    <p:animEffect transition="in" filter="fade">
                                      <p:cBhvr>
                                        <p:cTn id="90" dur="350"/>
                                        <p:tgtEl>
                                          <p:spTgt spid="8"/>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xit" presetSubtype="0" fill="hold" grpId="1" nodeType="clickEffect">
                                  <p:stCondLst>
                                    <p:cond delay="0"/>
                                  </p:stCondLst>
                                  <p:childTnLst>
                                    <p:animEffect transition="out" filter="fade">
                                      <p:cBhvr>
                                        <p:cTn id="94" dur="500"/>
                                        <p:tgtEl>
                                          <p:spTgt spid="8"/>
                                        </p:tgtEl>
                                      </p:cBhvr>
                                    </p:animEffect>
                                    <p:set>
                                      <p:cBhvr>
                                        <p:cTn id="95" dur="1" fill="hold">
                                          <p:stCondLst>
                                            <p:cond delay="499"/>
                                          </p:stCondLst>
                                        </p:cTn>
                                        <p:tgtEl>
                                          <p:spTgt spid="8"/>
                                        </p:tgtEl>
                                        <p:attrNameLst>
                                          <p:attrName>style.visibility</p:attrName>
                                        </p:attrNameLst>
                                      </p:cBhvr>
                                      <p:to>
                                        <p:strVal val="hidden"/>
                                      </p:to>
                                    </p:set>
                                  </p:childTnLst>
                                </p:cTn>
                              </p:par>
                            </p:childTnLst>
                          </p:cTn>
                        </p:par>
                        <p:par>
                          <p:cTn id="96" fill="hold">
                            <p:stCondLst>
                              <p:cond delay="500"/>
                            </p:stCondLst>
                            <p:childTnLst>
                              <p:par>
                                <p:cTn id="97" presetID="42" presetClass="path" presetSubtype="0" accel="50000" decel="50000" fill="hold" nodeType="afterEffect">
                                  <p:stCondLst>
                                    <p:cond delay="0"/>
                                  </p:stCondLst>
                                  <p:childTnLst>
                                    <p:animMotion origin="layout" path="M 0.06523 0.08194 L 0.00141 -0.0034 " pathEditMode="relative" rAng="0" ptsTypes="AA">
                                      <p:cBhvr>
                                        <p:cTn id="98" dur="700" fill="hold"/>
                                        <p:tgtEl>
                                          <p:spTgt spid="74"/>
                                        </p:tgtEl>
                                        <p:attrNameLst>
                                          <p:attrName>ppt_x</p:attrName>
                                          <p:attrName>ppt_y</p:attrName>
                                        </p:attrNameLst>
                                      </p:cBhvr>
                                      <p:rCtr x="-3191" y="-4267"/>
                                    </p:animMotion>
                                  </p:childTnLst>
                                </p:cTn>
                              </p:par>
                            </p:childTnLst>
                          </p:cTn>
                        </p:par>
                        <p:par>
                          <p:cTn id="99" fill="hold">
                            <p:stCondLst>
                              <p:cond delay="1200"/>
                            </p:stCondLst>
                            <p:childTnLst>
                              <p:par>
                                <p:cTn id="100" presetID="10" presetClass="exit" presetSubtype="0" fill="hold" nodeType="afterEffect">
                                  <p:stCondLst>
                                    <p:cond delay="0"/>
                                  </p:stCondLst>
                                  <p:childTnLst>
                                    <p:animEffect transition="out" filter="fade">
                                      <p:cBhvr>
                                        <p:cTn id="101" dur="500"/>
                                        <p:tgtEl>
                                          <p:spTgt spid="74"/>
                                        </p:tgtEl>
                                      </p:cBhvr>
                                    </p:animEffect>
                                    <p:set>
                                      <p:cBhvr>
                                        <p:cTn id="102" dur="1" fill="hold">
                                          <p:stCondLst>
                                            <p:cond delay="499"/>
                                          </p:stCondLst>
                                        </p:cTn>
                                        <p:tgtEl>
                                          <p:spTgt spid="74"/>
                                        </p:tgtEl>
                                        <p:attrNameLst>
                                          <p:attrName>style.visibility</p:attrName>
                                        </p:attrNameLst>
                                      </p:cBhvr>
                                      <p:to>
                                        <p:strVal val="hidden"/>
                                      </p:to>
                                    </p:set>
                                  </p:childTnLst>
                                </p:cTn>
                              </p:par>
                              <p:par>
                                <p:cTn id="103" presetID="31" presetClass="entr" presetSubtype="0" fill="hold" nodeType="withEffect">
                                  <p:stCondLst>
                                    <p:cond delay="0"/>
                                  </p:stCondLst>
                                  <p:childTnLst>
                                    <p:set>
                                      <p:cBhvr>
                                        <p:cTn id="104" dur="1" fill="hold">
                                          <p:stCondLst>
                                            <p:cond delay="0"/>
                                          </p:stCondLst>
                                        </p:cTn>
                                        <p:tgtEl>
                                          <p:spTgt spid="146"/>
                                        </p:tgtEl>
                                        <p:attrNameLst>
                                          <p:attrName>style.visibility</p:attrName>
                                        </p:attrNameLst>
                                      </p:cBhvr>
                                      <p:to>
                                        <p:strVal val="visible"/>
                                      </p:to>
                                    </p:set>
                                    <p:anim calcmode="lin" valueType="num">
                                      <p:cBhvr>
                                        <p:cTn id="105" dur="500" fill="hold"/>
                                        <p:tgtEl>
                                          <p:spTgt spid="146"/>
                                        </p:tgtEl>
                                        <p:attrNameLst>
                                          <p:attrName>ppt_w</p:attrName>
                                        </p:attrNameLst>
                                      </p:cBhvr>
                                      <p:tavLst>
                                        <p:tav tm="0">
                                          <p:val>
                                            <p:fltVal val="0"/>
                                          </p:val>
                                        </p:tav>
                                        <p:tav tm="100000">
                                          <p:val>
                                            <p:strVal val="#ppt_w"/>
                                          </p:val>
                                        </p:tav>
                                      </p:tavLst>
                                    </p:anim>
                                    <p:anim calcmode="lin" valueType="num">
                                      <p:cBhvr>
                                        <p:cTn id="106" dur="500" fill="hold"/>
                                        <p:tgtEl>
                                          <p:spTgt spid="146"/>
                                        </p:tgtEl>
                                        <p:attrNameLst>
                                          <p:attrName>ppt_h</p:attrName>
                                        </p:attrNameLst>
                                      </p:cBhvr>
                                      <p:tavLst>
                                        <p:tav tm="0">
                                          <p:val>
                                            <p:fltVal val="0"/>
                                          </p:val>
                                        </p:tav>
                                        <p:tav tm="100000">
                                          <p:val>
                                            <p:strVal val="#ppt_h"/>
                                          </p:val>
                                        </p:tav>
                                      </p:tavLst>
                                    </p:anim>
                                    <p:anim calcmode="lin" valueType="num">
                                      <p:cBhvr>
                                        <p:cTn id="107" dur="500" fill="hold"/>
                                        <p:tgtEl>
                                          <p:spTgt spid="146"/>
                                        </p:tgtEl>
                                        <p:attrNameLst>
                                          <p:attrName>style.rotation</p:attrName>
                                        </p:attrNameLst>
                                      </p:cBhvr>
                                      <p:tavLst>
                                        <p:tav tm="0">
                                          <p:val>
                                            <p:fltVal val="90"/>
                                          </p:val>
                                        </p:tav>
                                        <p:tav tm="100000">
                                          <p:val>
                                            <p:fltVal val="0"/>
                                          </p:val>
                                        </p:tav>
                                      </p:tavLst>
                                    </p:anim>
                                    <p:animEffect transition="in" filter="fade">
                                      <p:cBhvr>
                                        <p:cTn id="108"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animBg="1"/>
      <p:bldP spid="92" grpId="1" animBg="1"/>
      <p:bldP spid="92" grpId="2" animBg="1"/>
      <p:bldP spid="92" grpId="3" animBg="1"/>
      <p:bldP spid="4" grpId="0"/>
      <p:bldP spid="4" grpId="1"/>
      <p:bldP spid="6" grpId="0"/>
      <p:bldP spid="6" grpId="1"/>
      <p:bldP spid="7" grpId="0"/>
      <p:bldP spid="7" grpId="1"/>
      <p:bldP spid="8" grpId="0"/>
      <p:bldP spid="8" grpId="1"/>
      <p:bldP spid="10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bwMode="auto">
          <a:xfrm>
            <a:off x="0" y="6445885"/>
            <a:ext cx="12436475" cy="54864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400"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endParaRPr>
          </a:p>
        </p:txBody>
      </p:sp>
      <p:grpSp>
        <p:nvGrpSpPr>
          <p:cNvPr id="15" name="Group 14"/>
          <p:cNvGrpSpPr/>
          <p:nvPr/>
        </p:nvGrpSpPr>
        <p:grpSpPr>
          <a:xfrm>
            <a:off x="655981" y="4389688"/>
            <a:ext cx="5328046" cy="966379"/>
            <a:chOff x="655981" y="3339469"/>
            <a:chExt cx="5328046" cy="966379"/>
          </a:xfrm>
        </p:grpSpPr>
        <p:sp>
          <p:nvSpPr>
            <p:cNvPr id="87" name="Rectangle 86"/>
            <p:cNvSpPr/>
            <p:nvPr/>
          </p:nvSpPr>
          <p:spPr bwMode="auto">
            <a:xfrm>
              <a:off x="1687641" y="3382518"/>
              <a:ext cx="4296386" cy="92333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r>
                <a:rPr lang="en-US" sz="2400" dirty="0">
                  <a:solidFill>
                    <a:schemeClr val="tx2"/>
                  </a:solidFill>
                  <a:latin typeface="Segoe UI Semibold" panose="020B0702040204020203" pitchFamily="34" charset="0"/>
                  <a:cs typeface="Segoe UI Semibold" panose="020B0702040204020203" pitchFamily="34" charset="0"/>
                </a:rPr>
                <a:t>PowerShell </a:t>
              </a:r>
              <a:r>
                <a:rPr lang="en-US" sz="2400" dirty="0" smtClean="0">
                  <a:solidFill>
                    <a:schemeClr val="tx2"/>
                  </a:solidFill>
                  <a:latin typeface="Segoe UI Semibold" panose="020B0702040204020203" pitchFamily="34" charset="0"/>
                  <a:cs typeface="Segoe UI Semibold" panose="020B0702040204020203" pitchFamily="34" charset="0"/>
                </a:rPr>
                <a:t>commands</a:t>
              </a:r>
            </a:p>
            <a:p>
              <a:pPr lvl="0"/>
              <a:r>
                <a:rPr lang="en-IN" dirty="0">
                  <a:solidFill>
                    <a:schemeClr val="tx2"/>
                  </a:solidFill>
                </a:rPr>
                <a:t>Take advantage of the Azure PowerShell </a:t>
              </a:r>
              <a:r>
                <a:rPr lang="en-IN" dirty="0" err="1">
                  <a:solidFill>
                    <a:schemeClr val="tx2"/>
                  </a:solidFill>
                </a:rPr>
                <a:t>cmdlets</a:t>
              </a:r>
              <a:endParaRPr lang="en-IN" dirty="0">
                <a:solidFill>
                  <a:schemeClr val="tx2"/>
                </a:solidFill>
              </a:endParaRPr>
            </a:p>
          </p:txBody>
        </p:sp>
        <p:sp>
          <p:nvSpPr>
            <p:cNvPr id="123" name="Rectangle 122"/>
            <p:cNvSpPr/>
            <p:nvPr/>
          </p:nvSpPr>
          <p:spPr bwMode="auto">
            <a:xfrm rot="5400000">
              <a:off x="1054095" y="3762372"/>
              <a:ext cx="903741" cy="57935"/>
            </a:xfrm>
            <a:prstGeom prst="rect">
              <a:avLst/>
            </a:prstGeom>
            <a:solidFill>
              <a:schemeClr val="bg1"/>
            </a:solidFill>
            <a:ln>
              <a:noFill/>
              <a:headEnd type="none" w="med" len="med"/>
              <a:tailEnd type="none" w="med" len="med"/>
            </a:ln>
            <a:effectLst>
              <a:outerShdw blurRad="38100" dist="38100" dir="4200000" sx="90000" sy="9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73152" rIns="137160" bIns="73152" numCol="1" spcCol="0" rtlCol="0" fromWordArt="0" anchor="t" anchorCtr="0" forceAA="0" compatLnSpc="1">
              <a:prstTxWarp prst="textNoShape">
                <a:avLst/>
              </a:prstTxWarp>
              <a:noAutofit/>
            </a:bodyPr>
            <a:lstStyle/>
            <a:p>
              <a:pPr defTabSz="932281"/>
              <a:endParaRPr lang="en-IN" sz="3200" dirty="0" err="1">
                <a:solidFill>
                  <a:schemeClr val="bg1"/>
                </a:solidFill>
                <a:latin typeface="+mj-lt"/>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5981" y="3451337"/>
              <a:ext cx="708662" cy="680003"/>
            </a:xfrm>
            <a:prstGeom prst="rect">
              <a:avLst/>
            </a:prstGeom>
            <a:noFill/>
            <a:ln>
              <a:noFill/>
            </a:ln>
          </p:spPr>
        </p:pic>
      </p:grpSp>
      <p:sp>
        <p:nvSpPr>
          <p:cNvPr id="3" name="Title 2"/>
          <p:cNvSpPr>
            <a:spLocks noGrp="1"/>
          </p:cNvSpPr>
          <p:nvPr>
            <p:ph type="title"/>
          </p:nvPr>
        </p:nvSpPr>
        <p:spPr/>
        <p:txBody>
          <a:bodyPr/>
          <a:lstStyle/>
          <a:p>
            <a:r>
              <a:rPr lang="en-US" smtClean="0"/>
              <a:t>Interactive data ingestion</a:t>
            </a:r>
            <a:endParaRPr lang="en-US" dirty="0"/>
          </a:p>
        </p:txBody>
      </p:sp>
      <p:sp>
        <p:nvSpPr>
          <p:cNvPr id="2" name="Slide Number Placeholder 1"/>
          <p:cNvSpPr>
            <a:spLocks noGrp="1"/>
          </p:cNvSpPr>
          <p:nvPr>
            <p:ph type="sldNum" sz="quarter" idx="11"/>
          </p:nvPr>
        </p:nvSpPr>
        <p:spPr/>
        <p:txBody>
          <a:bodyPr/>
          <a:lstStyle/>
          <a:p>
            <a:fld id="{F8A0AC42-AA1D-4944-8D96-660DE70C7E1B}" type="slidenum">
              <a:rPr lang="en-IN" smtClean="0"/>
              <a:pPr/>
              <a:t>11</a:t>
            </a:fld>
            <a:endParaRPr lang="en-IN" dirty="0"/>
          </a:p>
        </p:txBody>
      </p:sp>
      <p:sp>
        <p:nvSpPr>
          <p:cNvPr id="46" name="Rectangle 45"/>
          <p:cNvSpPr/>
          <p:nvPr/>
        </p:nvSpPr>
        <p:spPr bwMode="auto">
          <a:xfrm>
            <a:off x="0" y="6445885"/>
            <a:ext cx="5325035" cy="54864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2400"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rPr>
              <a:t>Tools</a:t>
            </a:r>
          </a:p>
        </p:txBody>
      </p:sp>
      <p:grpSp>
        <p:nvGrpSpPr>
          <p:cNvPr id="13" name="Group 12"/>
          <p:cNvGrpSpPr/>
          <p:nvPr/>
        </p:nvGrpSpPr>
        <p:grpSpPr>
          <a:xfrm>
            <a:off x="635596" y="1907497"/>
            <a:ext cx="5041305" cy="903741"/>
            <a:chOff x="635596" y="1297893"/>
            <a:chExt cx="5041305" cy="903741"/>
          </a:xfrm>
        </p:grpSpPr>
        <p:sp>
          <p:nvSpPr>
            <p:cNvPr id="39" name="Rectangle 38"/>
            <p:cNvSpPr/>
            <p:nvPr/>
          </p:nvSpPr>
          <p:spPr bwMode="auto">
            <a:xfrm>
              <a:off x="1687641" y="1457376"/>
              <a:ext cx="3989260" cy="64633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r>
                <a:rPr lang="en-US" sz="2400" dirty="0">
                  <a:solidFill>
                    <a:schemeClr val="tx2"/>
                  </a:solidFill>
                  <a:latin typeface="Segoe UI Semibold" panose="020B0702040204020203" pitchFamily="34" charset="0"/>
                  <a:cs typeface="Segoe UI Semibold" panose="020B0702040204020203" pitchFamily="34" charset="0"/>
                </a:rPr>
                <a:t>UI-based tools</a:t>
              </a:r>
              <a:r>
                <a:rPr lang="en-US" sz="2000" dirty="0">
                  <a:solidFill>
                    <a:schemeClr val="tx2"/>
                  </a:solidFill>
                  <a:latin typeface="Segoe UI Semibold" panose="020B0702040204020203" pitchFamily="34" charset="0"/>
                  <a:cs typeface="Segoe UI Semibold" panose="020B0702040204020203" pitchFamily="34" charset="0"/>
                </a:rPr>
                <a:t/>
              </a:r>
              <a:br>
                <a:rPr lang="en-US" sz="2000" dirty="0">
                  <a:solidFill>
                    <a:schemeClr val="tx2"/>
                  </a:solidFill>
                  <a:latin typeface="Segoe UI Semibold" panose="020B0702040204020203" pitchFamily="34" charset="0"/>
                  <a:cs typeface="Segoe UI Semibold" panose="020B0702040204020203" pitchFamily="34" charset="0"/>
                </a:rPr>
              </a:br>
              <a:r>
                <a:rPr lang="en-US" dirty="0">
                  <a:solidFill>
                    <a:schemeClr val="tx2"/>
                  </a:solidFill>
                </a:rPr>
                <a:t>Cloudberry Explorer, Storage Explorer</a:t>
              </a:r>
            </a:p>
          </p:txBody>
        </p:sp>
        <p:pic>
          <p:nvPicPr>
            <p:cNvPr id="1026" name="Picture 2" descr="https://farm4.staticflickr.com/3817/buddyicons/11972131@N08_r.jpg?1391690218#11972131@N08"/>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p:blipFill>
          <p:spPr bwMode="auto">
            <a:xfrm>
              <a:off x="635596" y="1375047"/>
              <a:ext cx="749433" cy="74943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2" name="Rectangle 51"/>
            <p:cNvSpPr/>
            <p:nvPr/>
          </p:nvSpPr>
          <p:spPr bwMode="auto">
            <a:xfrm rot="5400000">
              <a:off x="1054095" y="1720796"/>
              <a:ext cx="903741" cy="57935"/>
            </a:xfrm>
            <a:prstGeom prst="rect">
              <a:avLst/>
            </a:prstGeom>
            <a:solidFill>
              <a:schemeClr val="bg1"/>
            </a:solidFill>
            <a:ln>
              <a:noFill/>
              <a:headEnd type="none" w="med" len="med"/>
              <a:tailEnd type="none" w="med" len="med"/>
            </a:ln>
            <a:effectLst>
              <a:outerShdw blurRad="38100" dist="38100" dir="4200000" sx="90000" sy="9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73152" rIns="137160" bIns="73152" numCol="1" spcCol="0" rtlCol="0" fromWordArt="0" anchor="t" anchorCtr="0" forceAA="0" compatLnSpc="1">
              <a:prstTxWarp prst="textNoShape">
                <a:avLst/>
              </a:prstTxWarp>
              <a:noAutofit/>
            </a:bodyPr>
            <a:lstStyle/>
            <a:p>
              <a:pPr defTabSz="932281"/>
              <a:endParaRPr lang="en-IN" sz="3200" dirty="0" err="1">
                <a:solidFill>
                  <a:schemeClr val="bg1"/>
                </a:solidFill>
                <a:latin typeface="+mj-lt"/>
              </a:endParaRPr>
            </a:p>
          </p:txBody>
        </p:sp>
      </p:grpSp>
      <p:grpSp>
        <p:nvGrpSpPr>
          <p:cNvPr id="14" name="Group 13"/>
          <p:cNvGrpSpPr/>
          <p:nvPr/>
        </p:nvGrpSpPr>
        <p:grpSpPr>
          <a:xfrm>
            <a:off x="561203" y="3148593"/>
            <a:ext cx="5422824" cy="903741"/>
            <a:chOff x="561203" y="2339155"/>
            <a:chExt cx="5422824" cy="903741"/>
          </a:xfrm>
        </p:grpSpPr>
        <p:sp>
          <p:nvSpPr>
            <p:cNvPr id="81" name="Rectangle 80"/>
            <p:cNvSpPr/>
            <p:nvPr/>
          </p:nvSpPr>
          <p:spPr bwMode="auto">
            <a:xfrm>
              <a:off x="1687641" y="2498638"/>
              <a:ext cx="4296386" cy="64633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r>
                <a:rPr lang="en-US" sz="2400" dirty="0">
                  <a:solidFill>
                    <a:schemeClr val="tx2"/>
                  </a:solidFill>
                  <a:latin typeface="Segoe UI Semibold" panose="020B0702040204020203" pitchFamily="34" charset="0"/>
                  <a:cs typeface="Segoe UI Semibold" panose="020B0702040204020203" pitchFamily="34" charset="0"/>
                </a:rPr>
                <a:t>Codec supplier </a:t>
              </a:r>
              <a:r>
                <a:rPr lang="en-US" sz="2400" dirty="0" smtClean="0">
                  <a:solidFill>
                    <a:schemeClr val="tx2"/>
                  </a:solidFill>
                  <a:latin typeface="Segoe UI Semibold" panose="020B0702040204020203" pitchFamily="34" charset="0"/>
                  <a:cs typeface="Segoe UI Semibold" panose="020B0702040204020203" pitchFamily="34" charset="0"/>
                </a:rPr>
                <a:t>tools</a:t>
              </a:r>
            </a:p>
            <a:p>
              <a:pPr lvl="0"/>
              <a:r>
                <a:rPr lang="en-US" dirty="0" err="1">
                  <a:solidFill>
                    <a:schemeClr val="tx2"/>
                  </a:solidFill>
                </a:rPr>
                <a:t>GZip</a:t>
              </a:r>
              <a:r>
                <a:rPr lang="en-US" dirty="0">
                  <a:solidFill>
                    <a:schemeClr val="tx2"/>
                  </a:solidFill>
                </a:rPr>
                <a:t> and BZip2.</a:t>
              </a:r>
            </a:p>
          </p:txBody>
        </p:sp>
        <p:grpSp>
          <p:nvGrpSpPr>
            <p:cNvPr id="12" name="Group 11"/>
            <p:cNvGrpSpPr/>
            <p:nvPr/>
          </p:nvGrpSpPr>
          <p:grpSpPr>
            <a:xfrm>
              <a:off x="561203" y="2411810"/>
              <a:ext cx="898218" cy="758430"/>
              <a:chOff x="561203" y="2450894"/>
              <a:chExt cx="898218" cy="758430"/>
            </a:xfrm>
          </p:grpSpPr>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1203" y="2450894"/>
                <a:ext cx="440848" cy="423020"/>
              </a:xfrm>
              <a:prstGeom prst="rect">
                <a:avLst/>
              </a:prstGeom>
              <a:noFill/>
              <a:ln>
                <a:noFill/>
              </a:ln>
            </p:spPr>
          </p:pic>
          <p:pic>
            <p:nvPicPr>
              <p:cNvPr id="5" name="Picture 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8730" y="2776860"/>
                <a:ext cx="450691" cy="432464"/>
              </a:xfrm>
              <a:prstGeom prst="rect">
                <a:avLst/>
              </a:prstGeom>
              <a:noFill/>
              <a:ln>
                <a:noFill/>
              </a:ln>
            </p:spPr>
          </p:pic>
        </p:grpSp>
        <p:sp>
          <p:nvSpPr>
            <p:cNvPr id="53" name="Rectangle 52"/>
            <p:cNvSpPr/>
            <p:nvPr/>
          </p:nvSpPr>
          <p:spPr bwMode="auto">
            <a:xfrm rot="5400000">
              <a:off x="1054095" y="2762058"/>
              <a:ext cx="903741" cy="57935"/>
            </a:xfrm>
            <a:prstGeom prst="rect">
              <a:avLst/>
            </a:prstGeom>
            <a:solidFill>
              <a:schemeClr val="bg1"/>
            </a:solidFill>
            <a:ln>
              <a:noFill/>
              <a:headEnd type="none" w="med" len="med"/>
              <a:tailEnd type="none" w="med" len="med"/>
            </a:ln>
            <a:effectLst>
              <a:outerShdw blurRad="38100" dist="38100" dir="4200000" sx="90000" sy="9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73152" rIns="137160" bIns="73152" numCol="1" spcCol="0" rtlCol="0" fromWordArt="0" anchor="t" anchorCtr="0" forceAA="0" compatLnSpc="1">
              <a:prstTxWarp prst="textNoShape">
                <a:avLst/>
              </a:prstTxWarp>
              <a:noAutofit/>
            </a:bodyPr>
            <a:lstStyle/>
            <a:p>
              <a:pPr defTabSz="932281"/>
              <a:endParaRPr lang="en-IN" sz="3200" dirty="0" err="1">
                <a:solidFill>
                  <a:schemeClr val="bg1"/>
                </a:solidFill>
                <a:latin typeface="+mj-lt"/>
              </a:endParaRPr>
            </a:p>
          </p:txBody>
        </p:sp>
      </p:grpSp>
      <p:grpSp>
        <p:nvGrpSpPr>
          <p:cNvPr id="16" name="Group 15"/>
          <p:cNvGrpSpPr/>
          <p:nvPr/>
        </p:nvGrpSpPr>
        <p:grpSpPr>
          <a:xfrm>
            <a:off x="6440406" y="1907497"/>
            <a:ext cx="5569032" cy="944313"/>
            <a:chOff x="6440406" y="1296082"/>
            <a:chExt cx="5569032" cy="944313"/>
          </a:xfrm>
        </p:grpSpPr>
        <p:sp>
          <p:nvSpPr>
            <p:cNvPr id="94" name="Rectangle 93"/>
            <p:cNvSpPr/>
            <p:nvPr/>
          </p:nvSpPr>
          <p:spPr bwMode="auto">
            <a:xfrm>
              <a:off x="7562850" y="1317065"/>
              <a:ext cx="4446588" cy="92333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r>
                <a:rPr lang="en-US" sz="2400" dirty="0" smtClean="0">
                  <a:solidFill>
                    <a:schemeClr val="tx2"/>
                  </a:solidFill>
                  <a:latin typeface="Segoe UI Semibold" panose="020B0702040204020203" pitchFamily="34" charset="0"/>
                  <a:cs typeface="Segoe UI Semibold" panose="020B0702040204020203" pitchFamily="34" charset="0"/>
                </a:rPr>
                <a:t>The </a:t>
              </a:r>
              <a:r>
                <a:rPr lang="en-US" sz="2400" dirty="0" err="1" smtClean="0">
                  <a:solidFill>
                    <a:schemeClr val="tx2"/>
                  </a:solidFill>
                  <a:latin typeface="Segoe UI Semibold" panose="020B0702040204020203" pitchFamily="34" charset="0"/>
                  <a:cs typeface="Segoe UI Semibold" panose="020B0702040204020203" pitchFamily="34" charset="0"/>
                </a:rPr>
                <a:t>hadoop</a:t>
              </a:r>
              <a:r>
                <a:rPr lang="en-US" sz="2400" dirty="0" smtClean="0">
                  <a:solidFill>
                    <a:schemeClr val="tx2"/>
                  </a:solidFill>
                  <a:latin typeface="Segoe UI Semibold" panose="020B0702040204020203" pitchFamily="34" charset="0"/>
                  <a:cs typeface="Segoe UI Semibold" panose="020B0702040204020203" pitchFamily="34" charset="0"/>
                </a:rPr>
                <a:t> </a:t>
              </a:r>
              <a:r>
                <a:rPr lang="en-US" sz="2400" dirty="0" err="1" smtClean="0">
                  <a:solidFill>
                    <a:schemeClr val="tx2"/>
                  </a:solidFill>
                  <a:latin typeface="Segoe UI Semibold" panose="020B0702040204020203" pitchFamily="34" charset="0"/>
                  <a:cs typeface="Segoe UI Semibold" panose="020B0702040204020203" pitchFamily="34" charset="0"/>
                </a:rPr>
                <a:t>dfs</a:t>
              </a:r>
              <a:r>
                <a:rPr lang="en-US" sz="2000" dirty="0" smtClean="0">
                  <a:solidFill>
                    <a:schemeClr val="tx2"/>
                  </a:solidFill>
                  <a:latin typeface="Segoe UI Semibold" panose="020B0702040204020203" pitchFamily="34" charset="0"/>
                  <a:cs typeface="Segoe UI Semibold" panose="020B0702040204020203" pitchFamily="34" charset="0"/>
                </a:rPr>
                <a:t/>
              </a:r>
              <a:br>
                <a:rPr lang="en-US" sz="2000" dirty="0" smtClean="0">
                  <a:solidFill>
                    <a:schemeClr val="tx2"/>
                  </a:solidFill>
                  <a:latin typeface="Segoe UI Semibold" panose="020B0702040204020203" pitchFamily="34" charset="0"/>
                  <a:cs typeface="Segoe UI Semibold" panose="020B0702040204020203" pitchFamily="34" charset="0"/>
                </a:rPr>
              </a:br>
              <a:r>
                <a:rPr lang="en-IN" dirty="0" err="1">
                  <a:solidFill>
                    <a:schemeClr val="tx2"/>
                  </a:solidFill>
                </a:rPr>
                <a:t>CopyFromLocal</a:t>
              </a:r>
              <a:r>
                <a:rPr lang="en-IN" dirty="0">
                  <a:solidFill>
                    <a:schemeClr val="tx2"/>
                  </a:solidFill>
                </a:rPr>
                <a:t> [source] [destination] command</a:t>
              </a:r>
            </a:p>
          </p:txBody>
        </p:sp>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40406" y="1356365"/>
              <a:ext cx="816182" cy="783175"/>
            </a:xfrm>
            <a:prstGeom prst="rect">
              <a:avLst/>
            </a:prstGeom>
            <a:noFill/>
            <a:ln>
              <a:noFill/>
            </a:ln>
          </p:spPr>
        </p:pic>
        <p:sp>
          <p:nvSpPr>
            <p:cNvPr id="57" name="Rectangle 56"/>
            <p:cNvSpPr/>
            <p:nvPr/>
          </p:nvSpPr>
          <p:spPr bwMode="auto">
            <a:xfrm rot="5400000">
              <a:off x="6953561" y="1718985"/>
              <a:ext cx="903741" cy="57935"/>
            </a:xfrm>
            <a:prstGeom prst="rect">
              <a:avLst/>
            </a:prstGeom>
            <a:solidFill>
              <a:schemeClr val="bg1"/>
            </a:solidFill>
            <a:ln>
              <a:noFill/>
              <a:headEnd type="none" w="med" len="med"/>
              <a:tailEnd type="none" w="med" len="med"/>
            </a:ln>
            <a:effectLst>
              <a:outerShdw blurRad="38100" dist="38100" dir="4200000" sx="90000" sy="9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73152" rIns="137160" bIns="73152" numCol="1" spcCol="0" rtlCol="0" fromWordArt="0" anchor="t" anchorCtr="0" forceAA="0" compatLnSpc="1">
              <a:prstTxWarp prst="textNoShape">
                <a:avLst/>
              </a:prstTxWarp>
              <a:noAutofit/>
            </a:bodyPr>
            <a:lstStyle/>
            <a:p>
              <a:pPr defTabSz="932281"/>
              <a:endParaRPr lang="en-IN" sz="3200" dirty="0" err="1">
                <a:solidFill>
                  <a:schemeClr val="bg1"/>
                </a:solidFill>
                <a:latin typeface="+mj-lt"/>
              </a:endParaRPr>
            </a:p>
          </p:txBody>
        </p:sp>
      </p:grpSp>
      <p:grpSp>
        <p:nvGrpSpPr>
          <p:cNvPr id="17" name="Group 16"/>
          <p:cNvGrpSpPr/>
          <p:nvPr/>
        </p:nvGrpSpPr>
        <p:grpSpPr>
          <a:xfrm>
            <a:off x="6458352" y="3148593"/>
            <a:ext cx="5551086" cy="903741"/>
            <a:chOff x="6458352" y="2371845"/>
            <a:chExt cx="5551086" cy="903741"/>
          </a:xfrm>
        </p:grpSpPr>
        <p:sp>
          <p:nvSpPr>
            <p:cNvPr id="100" name="Rectangle 99"/>
            <p:cNvSpPr/>
            <p:nvPr/>
          </p:nvSpPr>
          <p:spPr bwMode="auto">
            <a:xfrm>
              <a:off x="7562850" y="2531328"/>
              <a:ext cx="4446588" cy="64633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r>
                <a:rPr lang="en-US" sz="2400" dirty="0" smtClean="0">
                  <a:solidFill>
                    <a:schemeClr val="tx2"/>
                  </a:solidFill>
                  <a:latin typeface="Segoe UI Semibold" panose="020B0702040204020203" pitchFamily="34" charset="0"/>
                  <a:cs typeface="Segoe UI Semibold" panose="020B0702040204020203" pitchFamily="34" charset="0"/>
                </a:rPr>
                <a:t>Command line tool</a:t>
              </a:r>
              <a:r>
                <a:rPr lang="en-US" sz="2000" dirty="0" smtClean="0">
                  <a:solidFill>
                    <a:schemeClr val="tx2"/>
                  </a:solidFill>
                  <a:latin typeface="Segoe UI Semibold" panose="020B0702040204020203" pitchFamily="34" charset="0"/>
                  <a:cs typeface="Segoe UI Semibold" panose="020B0702040204020203" pitchFamily="34" charset="0"/>
                </a:rPr>
                <a:t/>
              </a:r>
              <a:br>
                <a:rPr lang="en-US" sz="2000" dirty="0" smtClean="0">
                  <a:solidFill>
                    <a:schemeClr val="tx2"/>
                  </a:solidFill>
                  <a:latin typeface="Segoe UI Semibold" panose="020B0702040204020203" pitchFamily="34" charset="0"/>
                  <a:cs typeface="Segoe UI Semibold" panose="020B0702040204020203" pitchFamily="34" charset="0"/>
                </a:rPr>
              </a:br>
              <a:r>
                <a:rPr lang="en-IN" dirty="0" err="1">
                  <a:solidFill>
                    <a:schemeClr val="tx2"/>
                  </a:solidFill>
                </a:rPr>
                <a:t>AzCopy</a:t>
              </a:r>
              <a:r>
                <a:rPr lang="en-IN" dirty="0">
                  <a:solidFill>
                    <a:schemeClr val="tx2"/>
                  </a:solidFill>
                </a:rPr>
                <a:t> to upload large files</a:t>
              </a:r>
            </a:p>
          </p:txBody>
        </p:sp>
        <p:pic>
          <p:nvPicPr>
            <p:cNvPr id="4" name="Picture 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458352" y="2433570"/>
              <a:ext cx="780290" cy="780290"/>
            </a:xfrm>
            <a:prstGeom prst="rect">
              <a:avLst/>
            </a:prstGeom>
          </p:spPr>
        </p:pic>
        <p:sp>
          <p:nvSpPr>
            <p:cNvPr id="58" name="Rectangle 57"/>
            <p:cNvSpPr/>
            <p:nvPr/>
          </p:nvSpPr>
          <p:spPr bwMode="auto">
            <a:xfrm rot="5400000">
              <a:off x="6953561" y="2794748"/>
              <a:ext cx="903741" cy="57935"/>
            </a:xfrm>
            <a:prstGeom prst="rect">
              <a:avLst/>
            </a:prstGeom>
            <a:solidFill>
              <a:schemeClr val="bg1"/>
            </a:solidFill>
            <a:ln>
              <a:noFill/>
              <a:headEnd type="none" w="med" len="med"/>
              <a:tailEnd type="none" w="med" len="med"/>
            </a:ln>
            <a:effectLst>
              <a:outerShdw blurRad="38100" dist="38100" dir="4200000" sx="90000" sy="9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73152" rIns="137160" bIns="73152" numCol="1" spcCol="0" rtlCol="0" fromWordArt="0" anchor="t" anchorCtr="0" forceAA="0" compatLnSpc="1">
              <a:prstTxWarp prst="textNoShape">
                <a:avLst/>
              </a:prstTxWarp>
              <a:noAutofit/>
            </a:bodyPr>
            <a:lstStyle/>
            <a:p>
              <a:pPr defTabSz="932281"/>
              <a:endParaRPr lang="en-IN" sz="3200" dirty="0" err="1">
                <a:solidFill>
                  <a:schemeClr val="bg1"/>
                </a:solidFill>
                <a:latin typeface="+mj-lt"/>
              </a:endParaRPr>
            </a:p>
          </p:txBody>
        </p:sp>
      </p:grpSp>
    </p:spTree>
    <p:extLst>
      <p:ext uri="{BB962C8B-B14F-4D97-AF65-F5344CB8AC3E}">
        <p14:creationId xmlns:p14="http://schemas.microsoft.com/office/powerpoint/2010/main" val="3712933848"/>
      </p:ext>
    </p:extLst>
  </p:cSld>
  <p:clrMapOvr>
    <a:masterClrMapping/>
  </p:clrMapOvr>
  <p:transition spd="med">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smtClean="0"/>
              <a:t>Handling streaming data</a:t>
            </a:r>
            <a:endParaRPr lang="en-US" dirty="0"/>
          </a:p>
        </p:txBody>
      </p:sp>
      <p:sp>
        <p:nvSpPr>
          <p:cNvPr id="2" name="Slide Number Placeholder 1"/>
          <p:cNvSpPr>
            <a:spLocks noGrp="1"/>
          </p:cNvSpPr>
          <p:nvPr>
            <p:ph type="sldNum" sz="quarter" idx="11"/>
          </p:nvPr>
        </p:nvSpPr>
        <p:spPr/>
        <p:txBody>
          <a:bodyPr/>
          <a:lstStyle/>
          <a:p>
            <a:fld id="{F8A0AC42-AA1D-4944-8D96-660DE70C7E1B}" type="slidenum">
              <a:rPr lang="en-IN" smtClean="0"/>
              <a:pPr/>
              <a:t>12</a:t>
            </a:fld>
            <a:endParaRPr lang="en-IN" dirty="0"/>
          </a:p>
        </p:txBody>
      </p:sp>
      <p:sp>
        <p:nvSpPr>
          <p:cNvPr id="27" name="Rectangle 26"/>
          <p:cNvSpPr/>
          <p:nvPr/>
        </p:nvSpPr>
        <p:spPr bwMode="auto">
          <a:xfrm>
            <a:off x="0" y="6445885"/>
            <a:ext cx="12436475" cy="54864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400"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endParaRPr>
          </a:p>
        </p:txBody>
      </p:sp>
      <p:sp>
        <p:nvSpPr>
          <p:cNvPr id="28" name="Rectangle 27"/>
          <p:cNvSpPr/>
          <p:nvPr/>
        </p:nvSpPr>
        <p:spPr bwMode="auto">
          <a:xfrm>
            <a:off x="0" y="6445885"/>
            <a:ext cx="5325035" cy="54864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2400"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rPr>
              <a:t>Tools</a:t>
            </a:r>
          </a:p>
        </p:txBody>
      </p:sp>
      <p:grpSp>
        <p:nvGrpSpPr>
          <p:cNvPr id="8" name="Group 7"/>
          <p:cNvGrpSpPr/>
          <p:nvPr/>
        </p:nvGrpSpPr>
        <p:grpSpPr>
          <a:xfrm>
            <a:off x="474002" y="2170734"/>
            <a:ext cx="5522067" cy="944313"/>
            <a:chOff x="474002" y="1297893"/>
            <a:chExt cx="5522067" cy="944313"/>
          </a:xfrm>
        </p:grpSpPr>
        <p:sp>
          <p:nvSpPr>
            <p:cNvPr id="32" name="Rectangle 31"/>
            <p:cNvSpPr/>
            <p:nvPr/>
          </p:nvSpPr>
          <p:spPr bwMode="auto">
            <a:xfrm>
              <a:off x="1687641" y="1318876"/>
              <a:ext cx="4308428" cy="92333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spcAft>
                  <a:spcPts val="600"/>
                </a:spcAft>
              </a:pPr>
              <a:r>
                <a:rPr lang="en-US" sz="2400" dirty="0">
                  <a:solidFill>
                    <a:srgbClr val="505050"/>
                  </a:solidFill>
                  <a:latin typeface="Segoe UI Semibold" panose="020B0702040204020203" pitchFamily="34" charset="0"/>
                  <a:cs typeface="Segoe UI Semibold" panose="020B0702040204020203" pitchFamily="34" charset="0"/>
                </a:rPr>
                <a:t>Apache </a:t>
              </a:r>
              <a:r>
                <a:rPr lang="en-US" sz="2400" dirty="0" smtClean="0">
                  <a:solidFill>
                    <a:srgbClr val="505050"/>
                  </a:solidFill>
                  <a:latin typeface="Segoe UI Semibold" panose="020B0702040204020203" pitchFamily="34" charset="0"/>
                  <a:cs typeface="Segoe UI Semibold" panose="020B0702040204020203" pitchFamily="34" charset="0"/>
                </a:rPr>
                <a:t>Storm on HDInsight</a:t>
              </a:r>
              <a:r>
                <a:rPr lang="en-US" sz="2000" dirty="0">
                  <a:solidFill>
                    <a:srgbClr val="505050"/>
                  </a:solidFill>
                  <a:latin typeface="Segoe UI Semibold" panose="020B0702040204020203" pitchFamily="34" charset="0"/>
                  <a:cs typeface="Segoe UI Semibold" panose="020B0702040204020203" pitchFamily="34" charset="0"/>
                </a:rPr>
                <a:t/>
              </a:r>
              <a:br>
                <a:rPr lang="en-US" sz="2000" dirty="0">
                  <a:solidFill>
                    <a:srgbClr val="505050"/>
                  </a:solidFill>
                  <a:latin typeface="Segoe UI Semibold" panose="020B0702040204020203" pitchFamily="34" charset="0"/>
                  <a:cs typeface="Segoe UI Semibold" panose="020B0702040204020203" pitchFamily="34" charset="0"/>
                </a:rPr>
              </a:br>
              <a:r>
                <a:rPr lang="en-IN" dirty="0">
                  <a:solidFill>
                    <a:srgbClr val="505050"/>
                  </a:solidFill>
                </a:rPr>
                <a:t>Open-source framework that runs on a Hadoop cluster to capture streaming data</a:t>
              </a:r>
            </a:p>
          </p:txBody>
        </p:sp>
        <p:sp>
          <p:nvSpPr>
            <p:cNvPr id="34" name="Rectangle 33"/>
            <p:cNvSpPr/>
            <p:nvPr/>
          </p:nvSpPr>
          <p:spPr bwMode="auto">
            <a:xfrm rot="5400000">
              <a:off x="1054095" y="1720796"/>
              <a:ext cx="903741" cy="57935"/>
            </a:xfrm>
            <a:prstGeom prst="rect">
              <a:avLst/>
            </a:prstGeom>
            <a:solidFill>
              <a:schemeClr val="bg1"/>
            </a:solidFill>
            <a:ln>
              <a:noFill/>
              <a:headEnd type="none" w="med" len="med"/>
              <a:tailEnd type="none" w="med" len="med"/>
            </a:ln>
            <a:effectLst>
              <a:outerShdw blurRad="38100" dist="38100" dir="4200000" sx="90000" sy="9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73152" rIns="137160" bIns="73152" numCol="1" spcCol="0" rtlCol="0" fromWordArt="0" anchor="t" anchorCtr="0" forceAA="0" compatLnSpc="1">
              <a:prstTxWarp prst="textNoShape">
                <a:avLst/>
              </a:prstTxWarp>
              <a:noAutofit/>
            </a:bodyPr>
            <a:lstStyle/>
            <a:p>
              <a:pPr defTabSz="932281"/>
              <a:endParaRPr lang="en-IN" sz="3200" dirty="0" err="1">
                <a:solidFill>
                  <a:schemeClr val="bg1"/>
                </a:solidFill>
                <a:latin typeface="+mj-lt"/>
              </a:endParaRPr>
            </a:p>
          </p:txBody>
        </p:sp>
        <p:pic>
          <p:nvPicPr>
            <p:cNvPr id="64" name="Picture 63"/>
            <p:cNvPicPr>
              <a:picLocks noChangeAspect="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74002" y="1568887"/>
              <a:ext cx="991471" cy="361753"/>
            </a:xfrm>
            <a:prstGeom prst="rect">
              <a:avLst/>
            </a:prstGeom>
          </p:spPr>
        </p:pic>
      </p:grpSp>
      <p:grpSp>
        <p:nvGrpSpPr>
          <p:cNvPr id="7" name="Group 6"/>
          <p:cNvGrpSpPr/>
          <p:nvPr/>
        </p:nvGrpSpPr>
        <p:grpSpPr>
          <a:xfrm>
            <a:off x="6317603" y="3409576"/>
            <a:ext cx="5639584" cy="1200329"/>
            <a:chOff x="6369854" y="1308385"/>
            <a:chExt cx="5639584" cy="1200329"/>
          </a:xfrm>
        </p:grpSpPr>
        <p:sp>
          <p:nvSpPr>
            <p:cNvPr id="57" name="Rectangle 56"/>
            <p:cNvSpPr/>
            <p:nvPr/>
          </p:nvSpPr>
          <p:spPr bwMode="auto">
            <a:xfrm>
              <a:off x="7562850" y="1308385"/>
              <a:ext cx="4446588" cy="1200329"/>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r>
                <a:rPr lang="en-US" sz="2400" dirty="0">
                  <a:solidFill>
                    <a:srgbClr val="505050"/>
                  </a:solidFill>
                  <a:latin typeface="Segoe UI Semibold" panose="020B0702040204020203" pitchFamily="34" charset="0"/>
                  <a:cs typeface="Segoe UI Semibold" panose="020B0702040204020203" pitchFamily="34" charset="0"/>
                </a:rPr>
                <a:t>Microsoft </a:t>
              </a:r>
              <a:r>
                <a:rPr lang="en-US" sz="2400" dirty="0" err="1">
                  <a:solidFill>
                    <a:srgbClr val="505050"/>
                  </a:solidFill>
                  <a:latin typeface="Segoe UI Semibold" panose="020B0702040204020203" pitchFamily="34" charset="0"/>
                  <a:cs typeface="Segoe UI Semibold" panose="020B0702040204020203" pitchFamily="34" charset="0"/>
                </a:rPr>
                <a:t>StreamInsight</a:t>
              </a:r>
              <a:r>
                <a:rPr lang="en-US" sz="2000" dirty="0">
                  <a:solidFill>
                    <a:srgbClr val="505050"/>
                  </a:solidFill>
                  <a:latin typeface="Segoe UI Semibold" panose="020B0702040204020203" pitchFamily="34" charset="0"/>
                  <a:cs typeface="Segoe UI Semibold" panose="020B0702040204020203" pitchFamily="34" charset="0"/>
                </a:rPr>
                <a:t/>
              </a:r>
              <a:br>
                <a:rPr lang="en-US" sz="2000" dirty="0">
                  <a:solidFill>
                    <a:srgbClr val="505050"/>
                  </a:solidFill>
                  <a:latin typeface="Segoe UI Semibold" panose="020B0702040204020203" pitchFamily="34" charset="0"/>
                  <a:cs typeface="Segoe UI Semibold" panose="020B0702040204020203" pitchFamily="34" charset="0"/>
                </a:rPr>
              </a:br>
              <a:r>
                <a:rPr lang="en-US" dirty="0">
                  <a:solidFill>
                    <a:srgbClr val="505050"/>
                  </a:solidFill>
                </a:rPr>
                <a:t>Complex event processing (CEP) engine with a framework API for building apps that consume and process event streams</a:t>
              </a:r>
            </a:p>
          </p:txBody>
        </p:sp>
        <p:sp>
          <p:nvSpPr>
            <p:cNvPr id="59" name="Rectangle 58"/>
            <p:cNvSpPr/>
            <p:nvPr/>
          </p:nvSpPr>
          <p:spPr bwMode="auto">
            <a:xfrm rot="5400000">
              <a:off x="6953561" y="1848804"/>
              <a:ext cx="903741" cy="57935"/>
            </a:xfrm>
            <a:prstGeom prst="rect">
              <a:avLst/>
            </a:prstGeom>
            <a:solidFill>
              <a:schemeClr val="bg1"/>
            </a:solidFill>
            <a:ln>
              <a:noFill/>
              <a:headEnd type="none" w="med" len="med"/>
              <a:tailEnd type="none" w="med" len="med"/>
            </a:ln>
            <a:effectLst>
              <a:outerShdw blurRad="38100" dist="38100" dir="4200000" sx="90000" sy="9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73152" rIns="137160" bIns="73152" numCol="1" spcCol="0" rtlCol="0" fromWordArt="0" anchor="t" anchorCtr="0" forceAA="0" compatLnSpc="1">
              <a:prstTxWarp prst="textNoShape">
                <a:avLst/>
              </a:prstTxWarp>
              <a:noAutofit/>
            </a:bodyPr>
            <a:lstStyle/>
            <a:p>
              <a:pPr defTabSz="932281"/>
              <a:endParaRPr lang="en-IN" sz="3200" dirty="0" err="1">
                <a:solidFill>
                  <a:schemeClr val="bg1"/>
                </a:solidFill>
                <a:latin typeface="+mj-lt"/>
              </a:endParaRPr>
            </a:p>
          </p:txBody>
        </p:sp>
        <p:pic>
          <p:nvPicPr>
            <p:cNvPr id="65" name="Picture 64"/>
            <p:cNvPicPr>
              <a:picLocks noChangeAspect="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6369854" y="1568128"/>
              <a:ext cx="970828" cy="499809"/>
            </a:xfrm>
            <a:prstGeom prst="rect">
              <a:avLst/>
            </a:prstGeom>
          </p:spPr>
        </p:pic>
      </p:grpSp>
      <p:grpSp>
        <p:nvGrpSpPr>
          <p:cNvPr id="9" name="Group 8"/>
          <p:cNvGrpSpPr/>
          <p:nvPr/>
        </p:nvGrpSpPr>
        <p:grpSpPr>
          <a:xfrm>
            <a:off x="605769" y="3411830"/>
            <a:ext cx="5378258" cy="1292662"/>
            <a:chOff x="605769" y="2538989"/>
            <a:chExt cx="5378258" cy="1292662"/>
          </a:xfrm>
        </p:grpSpPr>
        <p:sp>
          <p:nvSpPr>
            <p:cNvPr id="36" name="Rectangle 35"/>
            <p:cNvSpPr/>
            <p:nvPr/>
          </p:nvSpPr>
          <p:spPr bwMode="auto">
            <a:xfrm>
              <a:off x="1687641" y="2538989"/>
              <a:ext cx="4296386" cy="129266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r>
                <a:rPr lang="en-IN" sz="2400" dirty="0">
                  <a:solidFill>
                    <a:srgbClr val="505050"/>
                  </a:solidFill>
                  <a:latin typeface="Segoe UI Semibold" panose="020B0702040204020203" pitchFamily="34" charset="0"/>
                  <a:cs typeface="Segoe UI Semibold" panose="020B0702040204020203" pitchFamily="34" charset="0"/>
                </a:rPr>
                <a:t>Custom event or stream capture solution</a:t>
              </a:r>
            </a:p>
            <a:p>
              <a:pPr lvl="0"/>
              <a:r>
                <a:rPr lang="en-IN" dirty="0">
                  <a:solidFill>
                    <a:srgbClr val="505050"/>
                  </a:solidFill>
                </a:rPr>
                <a:t>Feeds data into the cluster data store in real time or batches</a:t>
              </a:r>
            </a:p>
          </p:txBody>
        </p:sp>
        <p:sp>
          <p:nvSpPr>
            <p:cNvPr id="38" name="Rectangle 37"/>
            <p:cNvSpPr/>
            <p:nvPr/>
          </p:nvSpPr>
          <p:spPr bwMode="auto">
            <a:xfrm rot="5400000">
              <a:off x="1054095" y="3094797"/>
              <a:ext cx="903741" cy="57935"/>
            </a:xfrm>
            <a:prstGeom prst="rect">
              <a:avLst/>
            </a:prstGeom>
            <a:solidFill>
              <a:schemeClr val="bg1"/>
            </a:solidFill>
            <a:ln>
              <a:noFill/>
              <a:headEnd type="none" w="med" len="med"/>
              <a:tailEnd type="none" w="med" len="med"/>
            </a:ln>
            <a:effectLst>
              <a:outerShdw blurRad="38100" dist="38100" dir="4200000" sx="90000" sy="9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73152" rIns="137160" bIns="73152" numCol="1" spcCol="0" rtlCol="0" fromWordArt="0" anchor="t" anchorCtr="0" forceAA="0" compatLnSpc="1">
              <a:prstTxWarp prst="textNoShape">
                <a:avLst/>
              </a:prstTxWarp>
              <a:noAutofit/>
            </a:bodyPr>
            <a:lstStyle/>
            <a:p>
              <a:pPr defTabSz="932281"/>
              <a:endParaRPr lang="en-IN" sz="3200" dirty="0" err="1">
                <a:solidFill>
                  <a:schemeClr val="bg1"/>
                </a:solidFill>
                <a:latin typeface="+mj-lt"/>
              </a:endParaRPr>
            </a:p>
          </p:txBody>
        </p:sp>
        <p:pic>
          <p:nvPicPr>
            <p:cNvPr id="66" name="Picture 6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5769" y="2726327"/>
              <a:ext cx="794875" cy="794875"/>
            </a:xfrm>
            <a:prstGeom prst="rect">
              <a:avLst/>
            </a:prstGeom>
            <a:noFill/>
            <a:ln>
              <a:noFill/>
            </a:ln>
          </p:spPr>
        </p:pic>
      </p:grpSp>
      <p:grpSp>
        <p:nvGrpSpPr>
          <p:cNvPr id="18" name="Group 17"/>
          <p:cNvGrpSpPr/>
          <p:nvPr/>
        </p:nvGrpSpPr>
        <p:grpSpPr>
          <a:xfrm>
            <a:off x="7324213" y="2176890"/>
            <a:ext cx="4632974" cy="1200329"/>
            <a:chOff x="7376464" y="1308385"/>
            <a:chExt cx="4632974" cy="1200329"/>
          </a:xfrm>
        </p:grpSpPr>
        <p:sp>
          <p:nvSpPr>
            <p:cNvPr id="19" name="Rectangle 18"/>
            <p:cNvSpPr/>
            <p:nvPr/>
          </p:nvSpPr>
          <p:spPr bwMode="auto">
            <a:xfrm>
              <a:off x="7562850" y="1308385"/>
              <a:ext cx="4446588" cy="1200329"/>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r>
                <a:rPr lang="en-US" sz="2400" dirty="0" smtClean="0">
                  <a:solidFill>
                    <a:srgbClr val="505050"/>
                  </a:solidFill>
                  <a:latin typeface="Segoe UI Semibold" panose="020B0702040204020203" pitchFamily="34" charset="0"/>
                  <a:cs typeface="Segoe UI Semibold" panose="020B0702040204020203" pitchFamily="34" charset="0"/>
                </a:rPr>
                <a:t>Azure Stream Analytics</a:t>
              </a:r>
              <a:r>
                <a:rPr lang="en-US" sz="2000" dirty="0">
                  <a:solidFill>
                    <a:srgbClr val="505050"/>
                  </a:solidFill>
                  <a:latin typeface="Segoe UI Semibold" panose="020B0702040204020203" pitchFamily="34" charset="0"/>
                  <a:cs typeface="Segoe UI Semibold" panose="020B0702040204020203" pitchFamily="34" charset="0"/>
                </a:rPr>
                <a:t/>
              </a:r>
              <a:br>
                <a:rPr lang="en-US" sz="2000" dirty="0">
                  <a:solidFill>
                    <a:srgbClr val="505050"/>
                  </a:solidFill>
                  <a:latin typeface="Segoe UI Semibold" panose="020B0702040204020203" pitchFamily="34" charset="0"/>
                  <a:cs typeface="Segoe UI Semibold" panose="020B0702040204020203" pitchFamily="34" charset="0"/>
                </a:rPr>
              </a:br>
              <a:r>
                <a:rPr lang="en-US" dirty="0">
                  <a:solidFill>
                    <a:srgbClr val="505050"/>
                  </a:solidFill>
                </a:rPr>
                <a:t>Stream </a:t>
              </a:r>
              <a:r>
                <a:rPr lang="en-US" dirty="0" smtClean="0">
                  <a:solidFill>
                    <a:srgbClr val="505050"/>
                  </a:solidFill>
                </a:rPr>
                <a:t>Processing Service on Azure offering ease of use to consume </a:t>
              </a:r>
              <a:r>
                <a:rPr lang="en-US" dirty="0">
                  <a:solidFill>
                    <a:srgbClr val="505050"/>
                  </a:solidFill>
                </a:rPr>
                <a:t>and process event </a:t>
              </a:r>
              <a:r>
                <a:rPr lang="en-US" dirty="0" smtClean="0">
                  <a:solidFill>
                    <a:srgbClr val="505050"/>
                  </a:solidFill>
                </a:rPr>
                <a:t>streams.</a:t>
              </a:r>
              <a:endParaRPr lang="en-US" dirty="0">
                <a:solidFill>
                  <a:srgbClr val="505050"/>
                </a:solidFill>
              </a:endParaRPr>
            </a:p>
          </p:txBody>
        </p:sp>
        <p:sp>
          <p:nvSpPr>
            <p:cNvPr id="20" name="Rectangle 19"/>
            <p:cNvSpPr/>
            <p:nvPr/>
          </p:nvSpPr>
          <p:spPr bwMode="auto">
            <a:xfrm rot="5400000">
              <a:off x="6953561" y="1848804"/>
              <a:ext cx="903741" cy="57935"/>
            </a:xfrm>
            <a:prstGeom prst="rect">
              <a:avLst/>
            </a:prstGeom>
            <a:solidFill>
              <a:schemeClr val="bg1"/>
            </a:solidFill>
            <a:ln>
              <a:noFill/>
              <a:headEnd type="none" w="med" len="med"/>
              <a:tailEnd type="none" w="med" len="med"/>
            </a:ln>
            <a:effectLst>
              <a:outerShdw blurRad="38100" dist="38100" dir="4200000" sx="90000" sy="9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73152" rIns="137160" bIns="73152" numCol="1" spcCol="0" rtlCol="0" fromWordArt="0" anchor="t" anchorCtr="0" forceAA="0" compatLnSpc="1">
              <a:prstTxWarp prst="textNoShape">
                <a:avLst/>
              </a:prstTxWarp>
              <a:noAutofit/>
            </a:bodyPr>
            <a:lstStyle/>
            <a:p>
              <a:pPr defTabSz="932281"/>
              <a:endParaRPr lang="en-IN" sz="3200" dirty="0" err="1">
                <a:solidFill>
                  <a:schemeClr val="bg1"/>
                </a:solidFill>
                <a:latin typeface="+mj-lt"/>
              </a:endParaRPr>
            </a:p>
          </p:txBody>
        </p:sp>
      </p:grpSp>
      <p:pic>
        <p:nvPicPr>
          <p:cNvPr id="22" name="Picture 2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17603" y="2191717"/>
            <a:ext cx="788171" cy="788171"/>
          </a:xfrm>
          <a:prstGeom prst="rect">
            <a:avLst/>
          </a:prstGeom>
        </p:spPr>
      </p:pic>
    </p:spTree>
    <p:extLst>
      <p:ext uri="{BB962C8B-B14F-4D97-AF65-F5344CB8AC3E}">
        <p14:creationId xmlns:p14="http://schemas.microsoft.com/office/powerpoint/2010/main" val="2682887346"/>
      </p:ext>
    </p:extLst>
  </p:cSld>
  <p:clrMapOvr>
    <a:masterClrMapping/>
  </p:clrMapOvr>
  <p:transition spd="med">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Loading relational data</a:t>
            </a:r>
            <a:endParaRPr lang="en-US" dirty="0"/>
          </a:p>
        </p:txBody>
      </p:sp>
      <p:sp>
        <p:nvSpPr>
          <p:cNvPr id="2" name="Slide Number Placeholder 1"/>
          <p:cNvSpPr>
            <a:spLocks noGrp="1"/>
          </p:cNvSpPr>
          <p:nvPr>
            <p:ph type="sldNum" sz="quarter" idx="11"/>
          </p:nvPr>
        </p:nvSpPr>
        <p:spPr/>
        <p:txBody>
          <a:bodyPr/>
          <a:lstStyle/>
          <a:p>
            <a:pPr>
              <a:defRPr/>
            </a:pPr>
            <a:fld id="{F8A0AC42-AA1D-4944-8D96-660DE70C7E1B}" type="slidenum">
              <a:rPr lang="en-IN" smtClean="0"/>
              <a:pPr>
                <a:defRPr/>
              </a:pPr>
              <a:t>13</a:t>
            </a:fld>
            <a:endParaRPr lang="en-IN" dirty="0"/>
          </a:p>
        </p:txBody>
      </p:sp>
      <p:sp>
        <p:nvSpPr>
          <p:cNvPr id="20" name="Rectangle 19"/>
          <p:cNvSpPr/>
          <p:nvPr/>
        </p:nvSpPr>
        <p:spPr bwMode="auto">
          <a:xfrm>
            <a:off x="0" y="6445885"/>
            <a:ext cx="12436475" cy="54864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400"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endParaRPr>
          </a:p>
        </p:txBody>
      </p:sp>
      <p:sp>
        <p:nvSpPr>
          <p:cNvPr id="21" name="Rectangle 20"/>
          <p:cNvSpPr/>
          <p:nvPr/>
        </p:nvSpPr>
        <p:spPr bwMode="auto">
          <a:xfrm>
            <a:off x="0" y="6445885"/>
            <a:ext cx="5325035" cy="54864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2400"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rPr>
              <a:t>Tools</a:t>
            </a:r>
          </a:p>
        </p:txBody>
      </p:sp>
      <p:grpSp>
        <p:nvGrpSpPr>
          <p:cNvPr id="4" name="Group 3"/>
          <p:cNvGrpSpPr/>
          <p:nvPr/>
        </p:nvGrpSpPr>
        <p:grpSpPr>
          <a:xfrm>
            <a:off x="469406" y="2808040"/>
            <a:ext cx="5526663" cy="1200329"/>
            <a:chOff x="469406" y="1297893"/>
            <a:chExt cx="5526663" cy="1200329"/>
          </a:xfrm>
        </p:grpSpPr>
        <p:sp>
          <p:nvSpPr>
            <p:cNvPr id="24" name="Rectangle 23"/>
            <p:cNvSpPr/>
            <p:nvPr/>
          </p:nvSpPr>
          <p:spPr bwMode="auto">
            <a:xfrm>
              <a:off x="1687641" y="1297893"/>
              <a:ext cx="4308428" cy="1200329"/>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r>
                <a:rPr lang="en-US" sz="2400" dirty="0" err="1">
                  <a:solidFill>
                    <a:srgbClr val="505050"/>
                  </a:solidFill>
                  <a:latin typeface="Segoe UI Semibold" panose="020B0702040204020203" pitchFamily="34" charset="0"/>
                  <a:cs typeface="Segoe UI Semibold" panose="020B0702040204020203" pitchFamily="34" charset="0"/>
                </a:rPr>
                <a:t>Sqoop</a:t>
              </a:r>
              <a:r>
                <a:rPr lang="en-US" sz="2000" dirty="0">
                  <a:solidFill>
                    <a:srgbClr val="505050"/>
                  </a:solidFill>
                  <a:latin typeface="Segoe UI Semibold" panose="020B0702040204020203" pitchFamily="34" charset="0"/>
                  <a:cs typeface="Segoe UI Semibold" panose="020B0702040204020203" pitchFamily="34" charset="0"/>
                </a:rPr>
                <a:t/>
              </a:r>
              <a:br>
                <a:rPr lang="en-US" sz="2000" dirty="0">
                  <a:solidFill>
                    <a:srgbClr val="505050"/>
                  </a:solidFill>
                  <a:latin typeface="Segoe UI Semibold" panose="020B0702040204020203" pitchFamily="34" charset="0"/>
                  <a:cs typeface="Segoe UI Semibold" panose="020B0702040204020203" pitchFamily="34" charset="0"/>
                </a:rPr>
              </a:br>
              <a:r>
                <a:rPr lang="en-IN" dirty="0">
                  <a:solidFill>
                    <a:srgbClr val="505050"/>
                  </a:solidFill>
                </a:rPr>
                <a:t>Extract required data from a table, view, or query in the source database and save the results as a file in your cluster storage.</a:t>
              </a:r>
            </a:p>
          </p:txBody>
        </p:sp>
        <p:sp>
          <p:nvSpPr>
            <p:cNvPr id="26" name="Rectangle 25"/>
            <p:cNvSpPr/>
            <p:nvPr/>
          </p:nvSpPr>
          <p:spPr bwMode="auto">
            <a:xfrm rot="5400000">
              <a:off x="1054095" y="1838312"/>
              <a:ext cx="903741" cy="57935"/>
            </a:xfrm>
            <a:prstGeom prst="rect">
              <a:avLst/>
            </a:prstGeom>
            <a:solidFill>
              <a:schemeClr val="bg1"/>
            </a:solidFill>
            <a:ln>
              <a:noFill/>
              <a:headEnd type="none" w="med" len="med"/>
              <a:tailEnd type="none" w="med" len="med"/>
            </a:ln>
            <a:effectLst>
              <a:outerShdw blurRad="38100" dist="38100" dir="4200000" sx="90000" sy="9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73152" rIns="137160" bIns="73152" numCol="1" spcCol="0" rtlCol="0" fromWordArt="0" anchor="t" anchorCtr="0" forceAA="0" compatLnSpc="1">
              <a:prstTxWarp prst="textNoShape">
                <a:avLst/>
              </a:prstTxWarp>
              <a:noAutofit/>
            </a:bodyPr>
            <a:lstStyle/>
            <a:p>
              <a:pPr defTabSz="932281"/>
              <a:endParaRPr lang="en-IN" sz="3200" dirty="0" err="1">
                <a:solidFill>
                  <a:schemeClr val="bg1"/>
                </a:solidFill>
                <a:latin typeface="+mj-lt"/>
              </a:endParaRPr>
            </a:p>
          </p:txBody>
        </p:sp>
        <p:pic>
          <p:nvPicPr>
            <p:cNvPr id="32" name="Picture 2" descr="http://datalakes.com/img/dlimages/sqoop.png"/>
            <p:cNvPicPr>
              <a:picLocks noChangeAspect="1" noChangeArrowheads="1"/>
            </p:cNvPicPr>
            <p:nvPr/>
          </p:nvPicPr>
          <p:blipFill rotWithShape="1">
            <a:blip r:embed="rId3">
              <a:extLst>
                <a:ext uri="{28A0092B-C50C-407E-A947-70E740481C1C}">
                  <a14:useLocalDpi xmlns:a14="http://schemas.microsoft.com/office/drawing/2010/main" val="0"/>
                </a:ext>
              </a:extLst>
            </a:blip>
            <a:srcRect t="36030" b="30571"/>
            <a:stretch/>
          </p:blipFill>
          <p:spPr bwMode="auto">
            <a:xfrm>
              <a:off x="469406" y="1699019"/>
              <a:ext cx="1007592" cy="3365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6568456" y="2818532"/>
            <a:ext cx="5440982" cy="1846659"/>
            <a:chOff x="6568456" y="1308385"/>
            <a:chExt cx="5440982" cy="1846659"/>
          </a:xfrm>
        </p:grpSpPr>
        <p:sp>
          <p:nvSpPr>
            <p:cNvPr id="29" name="Rectangle 28"/>
            <p:cNvSpPr/>
            <p:nvPr/>
          </p:nvSpPr>
          <p:spPr bwMode="auto">
            <a:xfrm>
              <a:off x="7562850" y="1308385"/>
              <a:ext cx="4446588" cy="1846659"/>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r>
                <a:rPr lang="en-IN" sz="2400" dirty="0">
                  <a:solidFill>
                    <a:srgbClr val="505050"/>
                  </a:solidFill>
                  <a:latin typeface="Segoe UI Semibold" panose="020B0702040204020203" pitchFamily="34" charset="0"/>
                  <a:cs typeface="Segoe UI Semibold" panose="020B0702040204020203" pitchFamily="34" charset="0"/>
                </a:rPr>
                <a:t>Interfaces that support connectivity to big data clusters</a:t>
              </a:r>
            </a:p>
            <a:p>
              <a:pPr lvl="0"/>
              <a:r>
                <a:rPr lang="en-IN" dirty="0">
                  <a:solidFill>
                    <a:srgbClr val="505050"/>
                  </a:solidFill>
                </a:rPr>
                <a:t>Microsoft Analytics Platform System (APS) contains </a:t>
              </a:r>
              <a:r>
                <a:rPr lang="en-IN" dirty="0" err="1">
                  <a:solidFill>
                    <a:srgbClr val="505050"/>
                  </a:solidFill>
                </a:rPr>
                <a:t>PolyBase</a:t>
              </a:r>
              <a:r>
                <a:rPr lang="en-IN" dirty="0">
                  <a:solidFill>
                    <a:srgbClr val="505050"/>
                  </a:solidFill>
                </a:rPr>
                <a:t>, to expose a SQL-based interface for accessing data stored in Hadoop and </a:t>
              </a:r>
              <a:r>
                <a:rPr lang="en-IN" dirty="0" err="1">
                  <a:solidFill>
                    <a:srgbClr val="505050"/>
                  </a:solidFill>
                </a:rPr>
                <a:t>HDInsight</a:t>
              </a:r>
              <a:r>
                <a:rPr lang="en-IN" dirty="0">
                  <a:solidFill>
                    <a:srgbClr val="505050"/>
                  </a:solidFill>
                </a:rPr>
                <a:t> </a:t>
              </a:r>
            </a:p>
          </p:txBody>
        </p:sp>
        <p:sp>
          <p:nvSpPr>
            <p:cNvPr id="30" name="Rectangle 29"/>
            <p:cNvSpPr/>
            <p:nvPr/>
          </p:nvSpPr>
          <p:spPr bwMode="auto">
            <a:xfrm rot="5400000">
              <a:off x="6953561" y="1848804"/>
              <a:ext cx="903741" cy="57935"/>
            </a:xfrm>
            <a:prstGeom prst="rect">
              <a:avLst/>
            </a:prstGeom>
            <a:solidFill>
              <a:schemeClr val="bg1"/>
            </a:solidFill>
            <a:ln>
              <a:noFill/>
              <a:headEnd type="none" w="med" len="med"/>
              <a:tailEnd type="none" w="med" len="med"/>
            </a:ln>
            <a:effectLst>
              <a:outerShdw blurRad="38100" dist="38100" dir="4200000" sx="90000" sy="9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73152" rIns="137160" bIns="73152" numCol="1" spcCol="0" rtlCol="0" fromWordArt="0" anchor="t" anchorCtr="0" forceAA="0" compatLnSpc="1">
              <a:prstTxWarp prst="textNoShape">
                <a:avLst/>
              </a:prstTxWarp>
              <a:noAutofit/>
            </a:bodyPr>
            <a:lstStyle/>
            <a:p>
              <a:pPr defTabSz="932281"/>
              <a:endParaRPr lang="en-IN" sz="3200" dirty="0" err="1">
                <a:solidFill>
                  <a:schemeClr val="bg1"/>
                </a:solidFill>
                <a:latin typeface="+mj-lt"/>
              </a:endParaRPr>
            </a:p>
          </p:txBody>
        </p:sp>
        <p:pic>
          <p:nvPicPr>
            <p:cNvPr id="33" name="Picture 3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68456" y="1505880"/>
              <a:ext cx="743782" cy="743782"/>
            </a:xfrm>
            <a:prstGeom prst="rect">
              <a:avLst/>
            </a:prstGeom>
            <a:noFill/>
            <a:ln>
              <a:noFill/>
            </a:ln>
          </p:spPr>
        </p:pic>
      </p:grpSp>
    </p:spTree>
    <p:extLst>
      <p:ext uri="{BB962C8B-B14F-4D97-AF65-F5344CB8AC3E}">
        <p14:creationId xmlns:p14="http://schemas.microsoft.com/office/powerpoint/2010/main" val="2040326454"/>
      </p:ext>
    </p:extLst>
  </p:cSld>
  <p:clrMapOvr>
    <a:masterClrMapping/>
  </p:clrMapOvr>
  <p:transition spd="med">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0"/>
            <a:ext cx="5325035" cy="6994525"/>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5400" dirty="0" smtClean="0">
              <a:solidFill>
                <a:schemeClr val="bg1"/>
              </a:solidFill>
              <a:latin typeface="+mj-lt"/>
              <a:ea typeface="Segoe UI" pitchFamily="34" charset="0"/>
              <a:cs typeface="Segoe UI" pitchFamily="34" charset="0"/>
            </a:endParaRPr>
          </a:p>
          <a:p>
            <a:pPr defTabSz="932472" fontAlgn="base">
              <a:lnSpc>
                <a:spcPct val="90000"/>
              </a:lnSpc>
              <a:spcBef>
                <a:spcPct val="0"/>
              </a:spcBef>
              <a:spcAft>
                <a:spcPct val="0"/>
              </a:spcAft>
            </a:pPr>
            <a:endParaRPr lang="en-US" sz="5400" dirty="0">
              <a:solidFill>
                <a:schemeClr val="bg1"/>
              </a:solidFill>
              <a:latin typeface="+mj-lt"/>
              <a:ea typeface="Segoe UI" pitchFamily="34" charset="0"/>
              <a:cs typeface="Segoe UI" pitchFamily="34" charset="0"/>
            </a:endParaRPr>
          </a:p>
        </p:txBody>
      </p:sp>
      <p:sp>
        <p:nvSpPr>
          <p:cNvPr id="5" name="Rectangle 4"/>
          <p:cNvSpPr/>
          <p:nvPr/>
        </p:nvSpPr>
        <p:spPr bwMode="auto">
          <a:xfrm>
            <a:off x="0" y="6445885"/>
            <a:ext cx="5325035" cy="54864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rPr>
              <a:t>Tools</a:t>
            </a:r>
          </a:p>
        </p:txBody>
      </p:sp>
      <p:sp>
        <p:nvSpPr>
          <p:cNvPr id="6" name="Freeform 5"/>
          <p:cNvSpPr>
            <a:spLocks/>
          </p:cNvSpPr>
          <p:nvPr/>
        </p:nvSpPr>
        <p:spPr bwMode="auto">
          <a:xfrm flipH="1">
            <a:off x="2671625" y="4267200"/>
            <a:ext cx="2653409" cy="2178685"/>
          </a:xfrm>
          <a:custGeom>
            <a:avLst/>
            <a:gdLst>
              <a:gd name="connsiteX0" fmla="*/ 603413 w 1090712"/>
              <a:gd name="connsiteY0" fmla="*/ 721327 h 895572"/>
              <a:gd name="connsiteX1" fmla="*/ 578466 w 1090712"/>
              <a:gd name="connsiteY1" fmla="*/ 770746 h 895572"/>
              <a:gd name="connsiteX2" fmla="*/ 553519 w 1090712"/>
              <a:gd name="connsiteY2" fmla="*/ 818264 h 895572"/>
              <a:gd name="connsiteX3" fmla="*/ 528334 w 1090712"/>
              <a:gd name="connsiteY3" fmla="*/ 865069 h 895572"/>
              <a:gd name="connsiteX4" fmla="*/ 511825 w 1090712"/>
              <a:gd name="connsiteY4" fmla="*/ 895572 h 895572"/>
              <a:gd name="connsiteX5" fmla="*/ 624528 w 1090712"/>
              <a:gd name="connsiteY5" fmla="*/ 895572 h 895572"/>
              <a:gd name="connsiteX6" fmla="*/ 624796 w 1090712"/>
              <a:gd name="connsiteY6" fmla="*/ 894768 h 895572"/>
              <a:gd name="connsiteX7" fmla="*/ 625271 w 1090712"/>
              <a:gd name="connsiteY7" fmla="*/ 891679 h 895572"/>
              <a:gd name="connsiteX8" fmla="*/ 625747 w 1090712"/>
              <a:gd name="connsiteY8" fmla="*/ 889066 h 895572"/>
              <a:gd name="connsiteX9" fmla="*/ 625747 w 1090712"/>
              <a:gd name="connsiteY9" fmla="*/ 860555 h 895572"/>
              <a:gd name="connsiteX10" fmla="*/ 624796 w 1090712"/>
              <a:gd name="connsiteY10" fmla="*/ 833945 h 895572"/>
              <a:gd name="connsiteX11" fmla="*/ 624321 w 1090712"/>
              <a:gd name="connsiteY11" fmla="*/ 820877 h 895572"/>
              <a:gd name="connsiteX12" fmla="*/ 623608 w 1090712"/>
              <a:gd name="connsiteY12" fmla="*/ 808047 h 895572"/>
              <a:gd name="connsiteX13" fmla="*/ 621708 w 1090712"/>
              <a:gd name="connsiteY13" fmla="*/ 795218 h 895572"/>
              <a:gd name="connsiteX14" fmla="*/ 620044 w 1090712"/>
              <a:gd name="connsiteY14" fmla="*/ 782625 h 895572"/>
              <a:gd name="connsiteX15" fmla="*/ 616005 w 1090712"/>
              <a:gd name="connsiteY15" fmla="*/ 766707 h 895572"/>
              <a:gd name="connsiteX16" fmla="*/ 611966 w 1090712"/>
              <a:gd name="connsiteY16" fmla="*/ 751976 h 895572"/>
              <a:gd name="connsiteX17" fmla="*/ 607452 w 1090712"/>
              <a:gd name="connsiteY17" fmla="*/ 737245 h 895572"/>
              <a:gd name="connsiteX18" fmla="*/ 698212 w 1090712"/>
              <a:gd name="connsiteY18" fmla="*/ 530778 h 895572"/>
              <a:gd name="connsiteX19" fmla="*/ 693460 w 1090712"/>
              <a:gd name="connsiteY19" fmla="*/ 534818 h 895572"/>
              <a:gd name="connsiteX20" fmla="*/ 688471 w 1090712"/>
              <a:gd name="connsiteY20" fmla="*/ 538857 h 895572"/>
              <a:gd name="connsiteX21" fmla="*/ 678254 w 1090712"/>
              <a:gd name="connsiteY21" fmla="*/ 546935 h 895572"/>
              <a:gd name="connsiteX22" fmla="*/ 669226 w 1090712"/>
              <a:gd name="connsiteY22" fmla="*/ 553587 h 895572"/>
              <a:gd name="connsiteX23" fmla="*/ 663048 w 1090712"/>
              <a:gd name="connsiteY23" fmla="*/ 558814 h 895572"/>
              <a:gd name="connsiteX24" fmla="*/ 663048 w 1090712"/>
              <a:gd name="connsiteY24" fmla="*/ 556676 h 895572"/>
              <a:gd name="connsiteX25" fmla="*/ 663523 w 1090712"/>
              <a:gd name="connsiteY25" fmla="*/ 554538 h 895572"/>
              <a:gd name="connsiteX26" fmla="*/ 665424 w 1090712"/>
              <a:gd name="connsiteY26" fmla="*/ 550498 h 895572"/>
              <a:gd name="connsiteX27" fmla="*/ 668038 w 1090712"/>
              <a:gd name="connsiteY27" fmla="*/ 546459 h 895572"/>
              <a:gd name="connsiteX28" fmla="*/ 671602 w 1090712"/>
              <a:gd name="connsiteY28" fmla="*/ 542420 h 895572"/>
              <a:gd name="connsiteX29" fmla="*/ 676829 w 1090712"/>
              <a:gd name="connsiteY29" fmla="*/ 538857 h 895572"/>
              <a:gd name="connsiteX30" fmla="*/ 682768 w 1090712"/>
              <a:gd name="connsiteY30" fmla="*/ 535768 h 895572"/>
              <a:gd name="connsiteX31" fmla="*/ 689896 w 1090712"/>
              <a:gd name="connsiteY31" fmla="*/ 533154 h 895572"/>
              <a:gd name="connsiteX32" fmla="*/ 654257 w 1090712"/>
              <a:gd name="connsiteY32" fmla="*/ 302216 h 895572"/>
              <a:gd name="connsiteX33" fmla="*/ 651882 w 1090712"/>
              <a:gd name="connsiteY33" fmla="*/ 302691 h 895572"/>
              <a:gd name="connsiteX34" fmla="*/ 649268 w 1090712"/>
              <a:gd name="connsiteY34" fmla="*/ 303166 h 895572"/>
              <a:gd name="connsiteX35" fmla="*/ 647130 w 1090712"/>
              <a:gd name="connsiteY35" fmla="*/ 304354 h 895572"/>
              <a:gd name="connsiteX36" fmla="*/ 644516 w 1090712"/>
              <a:gd name="connsiteY36" fmla="*/ 306255 h 895572"/>
              <a:gd name="connsiteX37" fmla="*/ 642140 w 1090712"/>
              <a:gd name="connsiteY37" fmla="*/ 307918 h 895572"/>
              <a:gd name="connsiteX38" fmla="*/ 640002 w 1090712"/>
              <a:gd name="connsiteY38" fmla="*/ 310294 h 895572"/>
              <a:gd name="connsiteX39" fmla="*/ 638101 w 1090712"/>
              <a:gd name="connsiteY39" fmla="*/ 312432 h 895572"/>
              <a:gd name="connsiteX40" fmla="*/ 636913 w 1090712"/>
              <a:gd name="connsiteY40" fmla="*/ 314571 h 895572"/>
              <a:gd name="connsiteX41" fmla="*/ 635963 w 1090712"/>
              <a:gd name="connsiteY41" fmla="*/ 316946 h 895572"/>
              <a:gd name="connsiteX42" fmla="*/ 635963 w 1090712"/>
              <a:gd name="connsiteY42" fmla="*/ 319085 h 895572"/>
              <a:gd name="connsiteX43" fmla="*/ 636913 w 1090712"/>
              <a:gd name="connsiteY43" fmla="*/ 321223 h 895572"/>
              <a:gd name="connsiteX44" fmla="*/ 637626 w 1090712"/>
              <a:gd name="connsiteY44" fmla="*/ 324074 h 895572"/>
              <a:gd name="connsiteX45" fmla="*/ 639527 w 1090712"/>
              <a:gd name="connsiteY45" fmla="*/ 326688 h 895572"/>
              <a:gd name="connsiteX46" fmla="*/ 643091 w 1090712"/>
              <a:gd name="connsiteY46" fmla="*/ 331677 h 895572"/>
              <a:gd name="connsiteX47" fmla="*/ 647130 w 1090712"/>
              <a:gd name="connsiteY47" fmla="*/ 335954 h 895572"/>
              <a:gd name="connsiteX48" fmla="*/ 655920 w 1090712"/>
              <a:gd name="connsiteY48" fmla="*/ 330727 h 895572"/>
              <a:gd name="connsiteX49" fmla="*/ 663999 w 1090712"/>
              <a:gd name="connsiteY49" fmla="*/ 324787 h 895572"/>
              <a:gd name="connsiteX50" fmla="*/ 679917 w 1090712"/>
              <a:gd name="connsiteY50" fmla="*/ 313383 h 895572"/>
              <a:gd name="connsiteX51" fmla="*/ 676354 w 1090712"/>
              <a:gd name="connsiteY51" fmla="*/ 311007 h 895572"/>
              <a:gd name="connsiteX52" fmla="*/ 672790 w 1090712"/>
              <a:gd name="connsiteY52" fmla="*/ 308393 h 895572"/>
              <a:gd name="connsiteX53" fmla="*/ 668988 w 1090712"/>
              <a:gd name="connsiteY53" fmla="*/ 306730 h 895572"/>
              <a:gd name="connsiteX54" fmla="*/ 664949 w 1090712"/>
              <a:gd name="connsiteY54" fmla="*/ 304829 h 895572"/>
              <a:gd name="connsiteX55" fmla="*/ 660910 w 1090712"/>
              <a:gd name="connsiteY55" fmla="*/ 303641 h 895572"/>
              <a:gd name="connsiteX56" fmla="*/ 657346 w 1090712"/>
              <a:gd name="connsiteY56" fmla="*/ 302691 h 895572"/>
              <a:gd name="connsiteX57" fmla="*/ 696549 w 1090712"/>
              <a:gd name="connsiteY57" fmla="*/ 252322 h 895572"/>
              <a:gd name="connsiteX58" fmla="*/ 696786 w 1090712"/>
              <a:gd name="connsiteY58" fmla="*/ 259925 h 895572"/>
              <a:gd name="connsiteX59" fmla="*/ 698212 w 1090712"/>
              <a:gd name="connsiteY59" fmla="*/ 266102 h 895572"/>
              <a:gd name="connsiteX60" fmla="*/ 700113 w 1090712"/>
              <a:gd name="connsiteY60" fmla="*/ 272042 h 895572"/>
              <a:gd name="connsiteX61" fmla="*/ 701776 w 1090712"/>
              <a:gd name="connsiteY61" fmla="*/ 276794 h 895572"/>
              <a:gd name="connsiteX62" fmla="*/ 704389 w 1090712"/>
              <a:gd name="connsiteY62" fmla="*/ 280833 h 895572"/>
              <a:gd name="connsiteX63" fmla="*/ 707240 w 1090712"/>
              <a:gd name="connsiteY63" fmla="*/ 284397 h 895572"/>
              <a:gd name="connsiteX64" fmla="*/ 710329 w 1090712"/>
              <a:gd name="connsiteY64" fmla="*/ 287010 h 895572"/>
              <a:gd name="connsiteX65" fmla="*/ 713418 w 1090712"/>
              <a:gd name="connsiteY65" fmla="*/ 289624 h 895572"/>
              <a:gd name="connsiteX66" fmla="*/ 716506 w 1090712"/>
              <a:gd name="connsiteY66" fmla="*/ 291524 h 895572"/>
              <a:gd name="connsiteX67" fmla="*/ 719595 w 1090712"/>
              <a:gd name="connsiteY67" fmla="*/ 293187 h 895572"/>
              <a:gd name="connsiteX68" fmla="*/ 725772 w 1090712"/>
              <a:gd name="connsiteY68" fmla="*/ 295088 h 895572"/>
              <a:gd name="connsiteX69" fmla="*/ 731237 w 1090712"/>
              <a:gd name="connsiteY69" fmla="*/ 296514 h 895572"/>
              <a:gd name="connsiteX70" fmla="*/ 734801 w 1090712"/>
              <a:gd name="connsiteY70" fmla="*/ 296751 h 895572"/>
              <a:gd name="connsiteX71" fmla="*/ 722209 w 1090712"/>
              <a:gd name="connsiteY71" fmla="*/ 303879 h 895572"/>
              <a:gd name="connsiteX72" fmla="*/ 710804 w 1090712"/>
              <a:gd name="connsiteY72" fmla="*/ 311007 h 895572"/>
              <a:gd name="connsiteX73" fmla="*/ 688471 w 1090712"/>
              <a:gd name="connsiteY73" fmla="*/ 324787 h 895572"/>
              <a:gd name="connsiteX74" fmla="*/ 667563 w 1090712"/>
              <a:gd name="connsiteY74" fmla="*/ 339043 h 895572"/>
              <a:gd name="connsiteX75" fmla="*/ 646179 w 1090712"/>
              <a:gd name="connsiteY75" fmla="*/ 352823 h 895572"/>
              <a:gd name="connsiteX76" fmla="*/ 620044 w 1090712"/>
              <a:gd name="connsiteY76" fmla="*/ 313383 h 895572"/>
              <a:gd name="connsiteX77" fmla="*/ 617668 w 1090712"/>
              <a:gd name="connsiteY77" fmla="*/ 312432 h 895572"/>
              <a:gd name="connsiteX78" fmla="*/ 615055 w 1090712"/>
              <a:gd name="connsiteY78" fmla="*/ 312432 h 895572"/>
              <a:gd name="connsiteX79" fmla="*/ 612441 w 1090712"/>
              <a:gd name="connsiteY79" fmla="*/ 313383 h 895572"/>
              <a:gd name="connsiteX80" fmla="*/ 609353 w 1090712"/>
              <a:gd name="connsiteY80" fmla="*/ 314095 h 895572"/>
              <a:gd name="connsiteX81" fmla="*/ 602938 w 1090712"/>
              <a:gd name="connsiteY81" fmla="*/ 316946 h 895572"/>
              <a:gd name="connsiteX82" fmla="*/ 599849 w 1090712"/>
              <a:gd name="connsiteY82" fmla="*/ 317659 h 895572"/>
              <a:gd name="connsiteX83" fmla="*/ 596760 w 1090712"/>
              <a:gd name="connsiteY83" fmla="*/ 318610 h 895572"/>
              <a:gd name="connsiteX84" fmla="*/ 607927 w 1090712"/>
              <a:gd name="connsiteY84" fmla="*/ 307205 h 895572"/>
              <a:gd name="connsiteX85" fmla="*/ 618619 w 1090712"/>
              <a:gd name="connsiteY85" fmla="*/ 295088 h 895572"/>
              <a:gd name="connsiteX86" fmla="*/ 623846 w 1090712"/>
              <a:gd name="connsiteY86" fmla="*/ 289386 h 895572"/>
              <a:gd name="connsiteX87" fmla="*/ 629786 w 1090712"/>
              <a:gd name="connsiteY87" fmla="*/ 283921 h 895572"/>
              <a:gd name="connsiteX88" fmla="*/ 635963 w 1090712"/>
              <a:gd name="connsiteY88" fmla="*/ 278694 h 895572"/>
              <a:gd name="connsiteX89" fmla="*/ 642140 w 1090712"/>
              <a:gd name="connsiteY89" fmla="*/ 273705 h 895572"/>
              <a:gd name="connsiteX90" fmla="*/ 648793 w 1090712"/>
              <a:gd name="connsiteY90" fmla="*/ 269191 h 895572"/>
              <a:gd name="connsiteX91" fmla="*/ 655446 w 1090712"/>
              <a:gd name="connsiteY91" fmla="*/ 265627 h 895572"/>
              <a:gd name="connsiteX92" fmla="*/ 662098 w 1090712"/>
              <a:gd name="connsiteY92" fmla="*/ 263013 h 895572"/>
              <a:gd name="connsiteX93" fmla="*/ 668988 w 1090712"/>
              <a:gd name="connsiteY93" fmla="*/ 260400 h 895572"/>
              <a:gd name="connsiteX94" fmla="*/ 682768 w 1090712"/>
              <a:gd name="connsiteY94" fmla="*/ 256361 h 895572"/>
              <a:gd name="connsiteX95" fmla="*/ 1030602 w 1090712"/>
              <a:gd name="connsiteY95" fmla="*/ 200289 h 895572"/>
              <a:gd name="connsiteX96" fmla="*/ 1027513 w 1090712"/>
              <a:gd name="connsiteY96" fmla="*/ 207892 h 895572"/>
              <a:gd name="connsiteX97" fmla="*/ 1023949 w 1090712"/>
              <a:gd name="connsiteY97" fmla="*/ 214545 h 895572"/>
              <a:gd name="connsiteX98" fmla="*/ 1019910 w 1090712"/>
              <a:gd name="connsiteY98" fmla="*/ 221197 h 895572"/>
              <a:gd name="connsiteX99" fmla="*/ 1015396 w 1090712"/>
              <a:gd name="connsiteY99" fmla="*/ 226899 h 895572"/>
              <a:gd name="connsiteX100" fmla="*/ 1011119 w 1090712"/>
              <a:gd name="connsiteY100" fmla="*/ 232839 h 895572"/>
              <a:gd name="connsiteX101" fmla="*/ 1006130 w 1090712"/>
              <a:gd name="connsiteY101" fmla="*/ 237591 h 895572"/>
              <a:gd name="connsiteX102" fmla="*/ 1001140 w 1090712"/>
              <a:gd name="connsiteY102" fmla="*/ 242105 h 895572"/>
              <a:gd name="connsiteX103" fmla="*/ 996388 w 1090712"/>
              <a:gd name="connsiteY103" fmla="*/ 246144 h 895572"/>
              <a:gd name="connsiteX104" fmla="*/ 990924 w 1090712"/>
              <a:gd name="connsiteY104" fmla="*/ 249708 h 895572"/>
              <a:gd name="connsiteX105" fmla="*/ 985697 w 1090712"/>
              <a:gd name="connsiteY105" fmla="*/ 252797 h 895572"/>
              <a:gd name="connsiteX106" fmla="*/ 980232 w 1090712"/>
              <a:gd name="connsiteY106" fmla="*/ 254935 h 895572"/>
              <a:gd name="connsiteX107" fmla="*/ 975005 w 1090712"/>
              <a:gd name="connsiteY107" fmla="*/ 256836 h 895572"/>
              <a:gd name="connsiteX108" fmla="*/ 969541 w 1090712"/>
              <a:gd name="connsiteY108" fmla="*/ 258262 h 895572"/>
              <a:gd name="connsiteX109" fmla="*/ 963839 w 1090712"/>
              <a:gd name="connsiteY109" fmla="*/ 258499 h 895572"/>
              <a:gd name="connsiteX110" fmla="*/ 958612 w 1090712"/>
              <a:gd name="connsiteY110" fmla="*/ 258499 h 895572"/>
              <a:gd name="connsiteX111" fmla="*/ 953622 w 1090712"/>
              <a:gd name="connsiteY111" fmla="*/ 257786 h 895572"/>
              <a:gd name="connsiteX112" fmla="*/ 970966 w 1090712"/>
              <a:gd name="connsiteY112" fmla="*/ 244006 h 895572"/>
              <a:gd name="connsiteX113" fmla="*/ 990211 w 1090712"/>
              <a:gd name="connsiteY113" fmla="*/ 229275 h 895572"/>
              <a:gd name="connsiteX114" fmla="*/ 1010169 w 1090712"/>
              <a:gd name="connsiteY114" fmla="*/ 214069 h 895572"/>
              <a:gd name="connsiteX115" fmla="*/ 1020385 w 1090712"/>
              <a:gd name="connsiteY115" fmla="*/ 206942 h 895572"/>
              <a:gd name="connsiteX116" fmla="*/ 389581 w 1090712"/>
              <a:gd name="connsiteY116" fmla="*/ 176768 h 895572"/>
              <a:gd name="connsiteX117" fmla="*/ 397422 w 1090712"/>
              <a:gd name="connsiteY117" fmla="*/ 177243 h 895572"/>
              <a:gd name="connsiteX118" fmla="*/ 414766 w 1090712"/>
              <a:gd name="connsiteY118" fmla="*/ 178906 h 895572"/>
              <a:gd name="connsiteX119" fmla="*/ 405500 w 1090712"/>
              <a:gd name="connsiteY119" fmla="*/ 179856 h 895572"/>
              <a:gd name="connsiteX120" fmla="*/ 396946 w 1090712"/>
              <a:gd name="connsiteY120" fmla="*/ 181995 h 895572"/>
              <a:gd name="connsiteX121" fmla="*/ 389581 w 1090712"/>
              <a:gd name="connsiteY121" fmla="*/ 184371 h 895572"/>
              <a:gd name="connsiteX122" fmla="*/ 381978 w 1090712"/>
              <a:gd name="connsiteY122" fmla="*/ 186984 h 895572"/>
              <a:gd name="connsiteX123" fmla="*/ 375326 w 1090712"/>
              <a:gd name="connsiteY123" fmla="*/ 190548 h 895572"/>
              <a:gd name="connsiteX124" fmla="*/ 368911 w 1090712"/>
              <a:gd name="connsiteY124" fmla="*/ 194112 h 895572"/>
              <a:gd name="connsiteX125" fmla="*/ 363208 w 1090712"/>
              <a:gd name="connsiteY125" fmla="*/ 198626 h 895572"/>
              <a:gd name="connsiteX126" fmla="*/ 357981 w 1090712"/>
              <a:gd name="connsiteY126" fmla="*/ 202903 h 895572"/>
              <a:gd name="connsiteX127" fmla="*/ 352517 w 1090712"/>
              <a:gd name="connsiteY127" fmla="*/ 208367 h 895572"/>
              <a:gd name="connsiteX128" fmla="*/ 348003 w 1090712"/>
              <a:gd name="connsiteY128" fmla="*/ 214070 h 895572"/>
              <a:gd name="connsiteX129" fmla="*/ 343726 w 1090712"/>
              <a:gd name="connsiteY129" fmla="*/ 220247 h 895572"/>
              <a:gd name="connsiteX130" fmla="*/ 339687 w 1090712"/>
              <a:gd name="connsiteY130" fmla="*/ 226662 h 895572"/>
              <a:gd name="connsiteX131" fmla="*/ 335648 w 1090712"/>
              <a:gd name="connsiteY131" fmla="*/ 233790 h 895572"/>
              <a:gd name="connsiteX132" fmla="*/ 332559 w 1090712"/>
              <a:gd name="connsiteY132" fmla="*/ 240917 h 895572"/>
              <a:gd name="connsiteX133" fmla="*/ 328995 w 1090712"/>
              <a:gd name="connsiteY133" fmla="*/ 248758 h 895572"/>
              <a:gd name="connsiteX134" fmla="*/ 325907 w 1090712"/>
              <a:gd name="connsiteY134" fmla="*/ 256836 h 895572"/>
              <a:gd name="connsiteX135" fmla="*/ 325432 w 1090712"/>
              <a:gd name="connsiteY135" fmla="*/ 252797 h 895572"/>
              <a:gd name="connsiteX136" fmla="*/ 324956 w 1090712"/>
              <a:gd name="connsiteY136" fmla="*/ 248283 h 895572"/>
              <a:gd name="connsiteX137" fmla="*/ 323056 w 1090712"/>
              <a:gd name="connsiteY137" fmla="*/ 239492 h 895572"/>
              <a:gd name="connsiteX138" fmla="*/ 320917 w 1090712"/>
              <a:gd name="connsiteY138" fmla="*/ 229275 h 895572"/>
              <a:gd name="connsiteX139" fmla="*/ 320442 w 1090712"/>
              <a:gd name="connsiteY139" fmla="*/ 223811 h 895572"/>
              <a:gd name="connsiteX140" fmla="*/ 319967 w 1090712"/>
              <a:gd name="connsiteY140" fmla="*/ 217633 h 895572"/>
              <a:gd name="connsiteX141" fmla="*/ 314740 w 1090712"/>
              <a:gd name="connsiteY141" fmla="*/ 217633 h 895572"/>
              <a:gd name="connsiteX142" fmla="*/ 302148 w 1090712"/>
              <a:gd name="connsiteY142" fmla="*/ 243056 h 895572"/>
              <a:gd name="connsiteX143" fmla="*/ 289793 w 1090712"/>
              <a:gd name="connsiteY143" fmla="*/ 267528 h 895572"/>
              <a:gd name="connsiteX144" fmla="*/ 277438 w 1090712"/>
              <a:gd name="connsiteY144" fmla="*/ 291049 h 895572"/>
              <a:gd name="connsiteX145" fmla="*/ 264371 w 1090712"/>
              <a:gd name="connsiteY145" fmla="*/ 312907 h 895572"/>
              <a:gd name="connsiteX146" fmla="*/ 267459 w 1090712"/>
              <a:gd name="connsiteY146" fmla="*/ 295088 h 895572"/>
              <a:gd name="connsiteX147" fmla="*/ 271023 w 1090712"/>
              <a:gd name="connsiteY147" fmla="*/ 279170 h 895572"/>
              <a:gd name="connsiteX148" fmla="*/ 274587 w 1090712"/>
              <a:gd name="connsiteY148" fmla="*/ 263964 h 895572"/>
              <a:gd name="connsiteX149" fmla="*/ 279101 w 1090712"/>
              <a:gd name="connsiteY149" fmla="*/ 250183 h 895572"/>
              <a:gd name="connsiteX150" fmla="*/ 284091 w 1090712"/>
              <a:gd name="connsiteY150" fmla="*/ 238066 h 895572"/>
              <a:gd name="connsiteX151" fmla="*/ 289318 w 1090712"/>
              <a:gd name="connsiteY151" fmla="*/ 226900 h 895572"/>
              <a:gd name="connsiteX152" fmla="*/ 292406 w 1090712"/>
              <a:gd name="connsiteY152" fmla="*/ 221673 h 895572"/>
              <a:gd name="connsiteX153" fmla="*/ 295495 w 1090712"/>
              <a:gd name="connsiteY153" fmla="*/ 217158 h 895572"/>
              <a:gd name="connsiteX154" fmla="*/ 298584 w 1090712"/>
              <a:gd name="connsiteY154" fmla="*/ 212406 h 895572"/>
              <a:gd name="connsiteX155" fmla="*/ 302148 w 1090712"/>
              <a:gd name="connsiteY155" fmla="*/ 208367 h 895572"/>
              <a:gd name="connsiteX156" fmla="*/ 305711 w 1090712"/>
              <a:gd name="connsiteY156" fmla="*/ 204328 h 895572"/>
              <a:gd name="connsiteX157" fmla="*/ 309275 w 1090712"/>
              <a:gd name="connsiteY157" fmla="*/ 200765 h 895572"/>
              <a:gd name="connsiteX158" fmla="*/ 313314 w 1090712"/>
              <a:gd name="connsiteY158" fmla="*/ 197201 h 895572"/>
              <a:gd name="connsiteX159" fmla="*/ 317354 w 1090712"/>
              <a:gd name="connsiteY159" fmla="*/ 194112 h 895572"/>
              <a:gd name="connsiteX160" fmla="*/ 321868 w 1090712"/>
              <a:gd name="connsiteY160" fmla="*/ 191498 h 895572"/>
              <a:gd name="connsiteX161" fmla="*/ 326382 w 1090712"/>
              <a:gd name="connsiteY161" fmla="*/ 188647 h 895572"/>
              <a:gd name="connsiteX162" fmla="*/ 330659 w 1090712"/>
              <a:gd name="connsiteY162" fmla="*/ 186509 h 895572"/>
              <a:gd name="connsiteX163" fmla="*/ 335648 w 1090712"/>
              <a:gd name="connsiteY163" fmla="*/ 184371 h 895572"/>
              <a:gd name="connsiteX164" fmla="*/ 340637 w 1090712"/>
              <a:gd name="connsiteY164" fmla="*/ 182470 h 895572"/>
              <a:gd name="connsiteX165" fmla="*/ 345864 w 1090712"/>
              <a:gd name="connsiteY165" fmla="*/ 181282 h 895572"/>
              <a:gd name="connsiteX166" fmla="*/ 351091 w 1090712"/>
              <a:gd name="connsiteY166" fmla="*/ 179856 h 895572"/>
              <a:gd name="connsiteX167" fmla="*/ 357031 w 1090712"/>
              <a:gd name="connsiteY167" fmla="*/ 178431 h 895572"/>
              <a:gd name="connsiteX168" fmla="*/ 368911 w 1090712"/>
              <a:gd name="connsiteY168" fmla="*/ 177243 h 895572"/>
              <a:gd name="connsiteX169" fmla="*/ 381978 w 1090712"/>
              <a:gd name="connsiteY169" fmla="*/ 176768 h 895572"/>
              <a:gd name="connsiteX170" fmla="*/ 609353 w 1090712"/>
              <a:gd name="connsiteY170" fmla="*/ 174629 h 895572"/>
              <a:gd name="connsiteX171" fmla="*/ 602463 w 1090712"/>
              <a:gd name="connsiteY171" fmla="*/ 180807 h 895572"/>
              <a:gd name="connsiteX172" fmla="*/ 596285 w 1090712"/>
              <a:gd name="connsiteY172" fmla="*/ 187459 h 895572"/>
              <a:gd name="connsiteX173" fmla="*/ 583931 w 1090712"/>
              <a:gd name="connsiteY173" fmla="*/ 201715 h 895572"/>
              <a:gd name="connsiteX174" fmla="*/ 571101 w 1090712"/>
              <a:gd name="connsiteY174" fmla="*/ 215495 h 895572"/>
              <a:gd name="connsiteX175" fmla="*/ 564686 w 1090712"/>
              <a:gd name="connsiteY175" fmla="*/ 222148 h 895572"/>
              <a:gd name="connsiteX176" fmla="*/ 558508 w 1090712"/>
              <a:gd name="connsiteY176" fmla="*/ 228325 h 895572"/>
              <a:gd name="connsiteX177" fmla="*/ 557558 w 1090712"/>
              <a:gd name="connsiteY177" fmla="*/ 223335 h 895572"/>
              <a:gd name="connsiteX178" fmla="*/ 557083 w 1090712"/>
              <a:gd name="connsiteY178" fmla="*/ 219059 h 895572"/>
              <a:gd name="connsiteX179" fmla="*/ 557083 w 1090712"/>
              <a:gd name="connsiteY179" fmla="*/ 215020 h 895572"/>
              <a:gd name="connsiteX180" fmla="*/ 557558 w 1090712"/>
              <a:gd name="connsiteY180" fmla="*/ 210981 h 895572"/>
              <a:gd name="connsiteX181" fmla="*/ 558508 w 1090712"/>
              <a:gd name="connsiteY181" fmla="*/ 207417 h 895572"/>
              <a:gd name="connsiteX182" fmla="*/ 560409 w 1090712"/>
              <a:gd name="connsiteY182" fmla="*/ 203853 h 895572"/>
              <a:gd name="connsiteX183" fmla="*/ 562072 w 1090712"/>
              <a:gd name="connsiteY183" fmla="*/ 200764 h 895572"/>
              <a:gd name="connsiteX184" fmla="*/ 564686 w 1090712"/>
              <a:gd name="connsiteY184" fmla="*/ 197676 h 895572"/>
              <a:gd name="connsiteX185" fmla="*/ 567774 w 1090712"/>
              <a:gd name="connsiteY185" fmla="*/ 194587 h 895572"/>
              <a:gd name="connsiteX186" fmla="*/ 571813 w 1090712"/>
              <a:gd name="connsiteY186" fmla="*/ 191973 h 895572"/>
              <a:gd name="connsiteX187" fmla="*/ 576328 w 1090712"/>
              <a:gd name="connsiteY187" fmla="*/ 188647 h 895572"/>
              <a:gd name="connsiteX188" fmla="*/ 581317 w 1090712"/>
              <a:gd name="connsiteY188" fmla="*/ 186034 h 895572"/>
              <a:gd name="connsiteX189" fmla="*/ 587019 w 1090712"/>
              <a:gd name="connsiteY189" fmla="*/ 183420 h 895572"/>
              <a:gd name="connsiteX190" fmla="*/ 593672 w 1090712"/>
              <a:gd name="connsiteY190" fmla="*/ 180332 h 895572"/>
              <a:gd name="connsiteX191" fmla="*/ 586544 w 1090712"/>
              <a:gd name="connsiteY191" fmla="*/ 0 h 895572"/>
              <a:gd name="connsiteX192" fmla="*/ 570150 w 1090712"/>
              <a:gd name="connsiteY192" fmla="*/ 2851 h 895572"/>
              <a:gd name="connsiteX193" fmla="*/ 553519 w 1090712"/>
              <a:gd name="connsiteY193" fmla="*/ 5940 h 895572"/>
              <a:gd name="connsiteX194" fmla="*/ 536650 w 1090712"/>
              <a:gd name="connsiteY194" fmla="*/ 10454 h 895572"/>
              <a:gd name="connsiteX195" fmla="*/ 520256 w 1090712"/>
              <a:gd name="connsiteY195" fmla="*/ 14731 h 895572"/>
              <a:gd name="connsiteX196" fmla="*/ 486993 w 1090712"/>
              <a:gd name="connsiteY196" fmla="*/ 24472 h 895572"/>
              <a:gd name="connsiteX197" fmla="*/ 469887 w 1090712"/>
              <a:gd name="connsiteY197" fmla="*/ 28986 h 895572"/>
              <a:gd name="connsiteX198" fmla="*/ 453493 w 1090712"/>
              <a:gd name="connsiteY198" fmla="*/ 33500 h 895572"/>
              <a:gd name="connsiteX199" fmla="*/ 438762 w 1090712"/>
              <a:gd name="connsiteY199" fmla="*/ 40153 h 895572"/>
              <a:gd name="connsiteX200" fmla="*/ 424507 w 1090712"/>
              <a:gd name="connsiteY200" fmla="*/ 47281 h 895572"/>
              <a:gd name="connsiteX201" fmla="*/ 417379 w 1090712"/>
              <a:gd name="connsiteY201" fmla="*/ 51320 h 895572"/>
              <a:gd name="connsiteX202" fmla="*/ 410727 w 1090712"/>
              <a:gd name="connsiteY202" fmla="*/ 55834 h 895572"/>
              <a:gd name="connsiteX203" fmla="*/ 403599 w 1090712"/>
              <a:gd name="connsiteY203" fmla="*/ 60111 h 895572"/>
              <a:gd name="connsiteX204" fmla="*/ 397422 w 1090712"/>
              <a:gd name="connsiteY204" fmla="*/ 65100 h 895572"/>
              <a:gd name="connsiteX205" fmla="*/ 390769 w 1090712"/>
              <a:gd name="connsiteY205" fmla="*/ 69852 h 895572"/>
              <a:gd name="connsiteX206" fmla="*/ 384592 w 1090712"/>
              <a:gd name="connsiteY206" fmla="*/ 75792 h 895572"/>
              <a:gd name="connsiteX207" fmla="*/ 378889 w 1090712"/>
              <a:gd name="connsiteY207" fmla="*/ 81494 h 895572"/>
              <a:gd name="connsiteX208" fmla="*/ 372950 w 1090712"/>
              <a:gd name="connsiteY208" fmla="*/ 87671 h 895572"/>
              <a:gd name="connsiteX209" fmla="*/ 367723 w 1090712"/>
              <a:gd name="connsiteY209" fmla="*/ 94324 h 895572"/>
              <a:gd name="connsiteX210" fmla="*/ 362733 w 1090712"/>
              <a:gd name="connsiteY210" fmla="*/ 101452 h 895572"/>
              <a:gd name="connsiteX211" fmla="*/ 357981 w 1090712"/>
              <a:gd name="connsiteY211" fmla="*/ 109055 h 895572"/>
              <a:gd name="connsiteX212" fmla="*/ 353467 w 1090712"/>
              <a:gd name="connsiteY212" fmla="*/ 117608 h 895572"/>
              <a:gd name="connsiteX213" fmla="*/ 409064 w 1090712"/>
              <a:gd name="connsiteY213" fmla="*/ 117608 h 895572"/>
              <a:gd name="connsiteX214" fmla="*/ 406925 w 1090712"/>
              <a:gd name="connsiteY214" fmla="*/ 119271 h 895572"/>
              <a:gd name="connsiteX215" fmla="*/ 404074 w 1090712"/>
              <a:gd name="connsiteY215" fmla="*/ 121647 h 895572"/>
              <a:gd name="connsiteX216" fmla="*/ 400510 w 1090712"/>
              <a:gd name="connsiteY216" fmla="*/ 123310 h 895572"/>
              <a:gd name="connsiteX217" fmla="*/ 397422 w 1090712"/>
              <a:gd name="connsiteY217" fmla="*/ 125211 h 895572"/>
              <a:gd name="connsiteX218" fmla="*/ 393383 w 1090712"/>
              <a:gd name="connsiteY218" fmla="*/ 126399 h 895572"/>
              <a:gd name="connsiteX219" fmla="*/ 389581 w 1090712"/>
              <a:gd name="connsiteY219" fmla="*/ 127824 h 895572"/>
              <a:gd name="connsiteX220" fmla="*/ 385542 w 1090712"/>
              <a:gd name="connsiteY220" fmla="*/ 128299 h 895572"/>
              <a:gd name="connsiteX221" fmla="*/ 381503 w 1090712"/>
              <a:gd name="connsiteY221" fmla="*/ 128774 h 895572"/>
              <a:gd name="connsiteX222" fmla="*/ 375326 w 1090712"/>
              <a:gd name="connsiteY222" fmla="*/ 130438 h 895572"/>
              <a:gd name="connsiteX223" fmla="*/ 368435 w 1090712"/>
              <a:gd name="connsiteY223" fmla="*/ 131863 h 895572"/>
              <a:gd name="connsiteX224" fmla="*/ 361783 w 1090712"/>
              <a:gd name="connsiteY224" fmla="*/ 133051 h 895572"/>
              <a:gd name="connsiteX225" fmla="*/ 355606 w 1090712"/>
              <a:gd name="connsiteY225" fmla="*/ 134001 h 895572"/>
              <a:gd name="connsiteX226" fmla="*/ 342300 w 1090712"/>
              <a:gd name="connsiteY226" fmla="*/ 135427 h 895572"/>
              <a:gd name="connsiteX227" fmla="*/ 329471 w 1090712"/>
              <a:gd name="connsiteY227" fmla="*/ 137090 h 895572"/>
              <a:gd name="connsiteX228" fmla="*/ 322818 w 1090712"/>
              <a:gd name="connsiteY228" fmla="*/ 138040 h 895572"/>
              <a:gd name="connsiteX229" fmla="*/ 316403 w 1090712"/>
              <a:gd name="connsiteY229" fmla="*/ 139704 h 895572"/>
              <a:gd name="connsiteX230" fmla="*/ 310226 w 1090712"/>
              <a:gd name="connsiteY230" fmla="*/ 141604 h 895572"/>
              <a:gd name="connsiteX231" fmla="*/ 304048 w 1090712"/>
              <a:gd name="connsiteY231" fmla="*/ 144218 h 895572"/>
              <a:gd name="connsiteX232" fmla="*/ 298346 w 1090712"/>
              <a:gd name="connsiteY232" fmla="*/ 147307 h 895572"/>
              <a:gd name="connsiteX233" fmla="*/ 292406 w 1090712"/>
              <a:gd name="connsiteY233" fmla="*/ 151346 h 895572"/>
              <a:gd name="connsiteX234" fmla="*/ 286704 w 1090712"/>
              <a:gd name="connsiteY234" fmla="*/ 156335 h 895572"/>
              <a:gd name="connsiteX235" fmla="*/ 281240 w 1090712"/>
              <a:gd name="connsiteY235" fmla="*/ 162037 h 895572"/>
              <a:gd name="connsiteX236" fmla="*/ 262232 w 1090712"/>
              <a:gd name="connsiteY236" fmla="*/ 182945 h 895572"/>
              <a:gd name="connsiteX237" fmla="*/ 242987 w 1090712"/>
              <a:gd name="connsiteY237" fmla="*/ 203378 h 895572"/>
              <a:gd name="connsiteX238" fmla="*/ 203547 w 1090712"/>
              <a:gd name="connsiteY238" fmla="*/ 244006 h 895572"/>
              <a:gd name="connsiteX239" fmla="*/ 183827 w 1090712"/>
              <a:gd name="connsiteY239" fmla="*/ 264439 h 895572"/>
              <a:gd name="connsiteX240" fmla="*/ 164345 w 1090712"/>
              <a:gd name="connsiteY240" fmla="*/ 285822 h 895572"/>
              <a:gd name="connsiteX241" fmla="*/ 144862 w 1090712"/>
              <a:gd name="connsiteY241" fmla="*/ 307443 h 895572"/>
              <a:gd name="connsiteX242" fmla="*/ 126093 w 1090712"/>
              <a:gd name="connsiteY242" fmla="*/ 329777 h 895572"/>
              <a:gd name="connsiteX243" fmla="*/ 122054 w 1090712"/>
              <a:gd name="connsiteY243" fmla="*/ 335004 h 895572"/>
              <a:gd name="connsiteX244" fmla="*/ 118015 w 1090712"/>
              <a:gd name="connsiteY244" fmla="*/ 340468 h 895572"/>
              <a:gd name="connsiteX245" fmla="*/ 110887 w 1090712"/>
              <a:gd name="connsiteY245" fmla="*/ 352110 h 895572"/>
              <a:gd name="connsiteX246" fmla="*/ 104709 w 1090712"/>
              <a:gd name="connsiteY246" fmla="*/ 363514 h 895572"/>
              <a:gd name="connsiteX247" fmla="*/ 99007 w 1090712"/>
              <a:gd name="connsiteY247" fmla="*/ 375156 h 895572"/>
              <a:gd name="connsiteX248" fmla="*/ 87840 w 1090712"/>
              <a:gd name="connsiteY248" fmla="*/ 400103 h 895572"/>
              <a:gd name="connsiteX249" fmla="*/ 82138 w 1090712"/>
              <a:gd name="connsiteY249" fmla="*/ 412458 h 895572"/>
              <a:gd name="connsiteX250" fmla="*/ 75723 w 1090712"/>
              <a:gd name="connsiteY250" fmla="*/ 425050 h 895572"/>
              <a:gd name="connsiteX251" fmla="*/ 75723 w 1090712"/>
              <a:gd name="connsiteY251" fmla="*/ 429802 h 895572"/>
              <a:gd name="connsiteX252" fmla="*/ 76674 w 1090712"/>
              <a:gd name="connsiteY252" fmla="*/ 436217 h 895572"/>
              <a:gd name="connsiteX253" fmla="*/ 77149 w 1090712"/>
              <a:gd name="connsiteY253" fmla="*/ 439306 h 895572"/>
              <a:gd name="connsiteX254" fmla="*/ 78574 w 1090712"/>
              <a:gd name="connsiteY254" fmla="*/ 442395 h 895572"/>
              <a:gd name="connsiteX255" fmla="*/ 79762 w 1090712"/>
              <a:gd name="connsiteY255" fmla="*/ 445008 h 895572"/>
              <a:gd name="connsiteX256" fmla="*/ 81663 w 1090712"/>
              <a:gd name="connsiteY256" fmla="*/ 447147 h 895572"/>
              <a:gd name="connsiteX257" fmla="*/ 94018 w 1090712"/>
              <a:gd name="connsiteY257" fmla="*/ 468055 h 895572"/>
              <a:gd name="connsiteX258" fmla="*/ 106848 w 1090712"/>
              <a:gd name="connsiteY258" fmla="*/ 488963 h 895572"/>
              <a:gd name="connsiteX259" fmla="*/ 113975 w 1090712"/>
              <a:gd name="connsiteY259" fmla="*/ 499654 h 895572"/>
              <a:gd name="connsiteX260" fmla="*/ 121103 w 1090712"/>
              <a:gd name="connsiteY260" fmla="*/ 510346 h 895572"/>
              <a:gd name="connsiteX261" fmla="*/ 128706 w 1090712"/>
              <a:gd name="connsiteY261" fmla="*/ 520562 h 895572"/>
              <a:gd name="connsiteX262" fmla="*/ 137259 w 1090712"/>
              <a:gd name="connsiteY262" fmla="*/ 531254 h 895572"/>
              <a:gd name="connsiteX263" fmla="*/ 149614 w 1090712"/>
              <a:gd name="connsiteY263" fmla="*/ 514385 h 895572"/>
              <a:gd name="connsiteX264" fmla="*/ 162206 w 1090712"/>
              <a:gd name="connsiteY264" fmla="*/ 498466 h 895572"/>
              <a:gd name="connsiteX265" fmla="*/ 174561 w 1090712"/>
              <a:gd name="connsiteY265" fmla="*/ 483260 h 895572"/>
              <a:gd name="connsiteX266" fmla="*/ 180739 w 1090712"/>
              <a:gd name="connsiteY266" fmla="*/ 476133 h 895572"/>
              <a:gd name="connsiteX267" fmla="*/ 186916 w 1090712"/>
              <a:gd name="connsiteY267" fmla="*/ 469480 h 895572"/>
              <a:gd name="connsiteX268" fmla="*/ 182639 w 1090712"/>
              <a:gd name="connsiteY268" fmla="*/ 482310 h 895572"/>
              <a:gd name="connsiteX269" fmla="*/ 178125 w 1090712"/>
              <a:gd name="connsiteY269" fmla="*/ 495615 h 895572"/>
              <a:gd name="connsiteX270" fmla="*/ 172423 w 1090712"/>
              <a:gd name="connsiteY270" fmla="*/ 509871 h 895572"/>
              <a:gd name="connsiteX271" fmla="*/ 164820 w 1090712"/>
              <a:gd name="connsiteY271" fmla="*/ 525552 h 895572"/>
              <a:gd name="connsiteX272" fmla="*/ 156267 w 1090712"/>
              <a:gd name="connsiteY272" fmla="*/ 538381 h 895572"/>
              <a:gd name="connsiteX273" fmla="*/ 152703 w 1090712"/>
              <a:gd name="connsiteY273" fmla="*/ 544559 h 895572"/>
              <a:gd name="connsiteX274" fmla="*/ 148664 w 1090712"/>
              <a:gd name="connsiteY274" fmla="*/ 551449 h 895572"/>
              <a:gd name="connsiteX275" fmla="*/ 145100 w 1090712"/>
              <a:gd name="connsiteY275" fmla="*/ 558339 h 895572"/>
              <a:gd name="connsiteX276" fmla="*/ 142011 w 1090712"/>
              <a:gd name="connsiteY276" fmla="*/ 565467 h 895572"/>
              <a:gd name="connsiteX277" fmla="*/ 139398 w 1090712"/>
              <a:gd name="connsiteY277" fmla="*/ 573070 h 895572"/>
              <a:gd name="connsiteX278" fmla="*/ 137259 w 1090712"/>
              <a:gd name="connsiteY278" fmla="*/ 581623 h 895572"/>
              <a:gd name="connsiteX279" fmla="*/ 136309 w 1090712"/>
              <a:gd name="connsiteY279" fmla="*/ 583761 h 895572"/>
              <a:gd name="connsiteX280" fmla="*/ 135359 w 1090712"/>
              <a:gd name="connsiteY280" fmla="*/ 586137 h 895572"/>
              <a:gd name="connsiteX281" fmla="*/ 134883 w 1090712"/>
              <a:gd name="connsiteY281" fmla="*/ 590889 h 895572"/>
              <a:gd name="connsiteX282" fmla="*/ 134883 w 1090712"/>
              <a:gd name="connsiteY282" fmla="*/ 595879 h 895572"/>
              <a:gd name="connsiteX283" fmla="*/ 135359 w 1090712"/>
              <a:gd name="connsiteY283" fmla="*/ 601106 h 895572"/>
              <a:gd name="connsiteX284" fmla="*/ 136784 w 1090712"/>
              <a:gd name="connsiteY284" fmla="*/ 606095 h 895572"/>
              <a:gd name="connsiteX285" fmla="*/ 138447 w 1090712"/>
              <a:gd name="connsiteY285" fmla="*/ 611322 h 895572"/>
              <a:gd name="connsiteX286" fmla="*/ 140348 w 1090712"/>
              <a:gd name="connsiteY286" fmla="*/ 616311 h 895572"/>
              <a:gd name="connsiteX287" fmla="*/ 142486 w 1090712"/>
              <a:gd name="connsiteY287" fmla="*/ 620826 h 895572"/>
              <a:gd name="connsiteX288" fmla="*/ 148664 w 1090712"/>
              <a:gd name="connsiteY288" fmla="*/ 629616 h 895572"/>
              <a:gd name="connsiteX289" fmla="*/ 155554 w 1090712"/>
              <a:gd name="connsiteY289" fmla="*/ 637219 h 895572"/>
              <a:gd name="connsiteX290" fmla="*/ 162444 w 1090712"/>
              <a:gd name="connsiteY290" fmla="*/ 643872 h 895572"/>
              <a:gd name="connsiteX291" fmla="*/ 169572 w 1090712"/>
              <a:gd name="connsiteY291" fmla="*/ 649099 h 895572"/>
              <a:gd name="connsiteX292" fmla="*/ 177175 w 1090712"/>
              <a:gd name="connsiteY292" fmla="*/ 653613 h 895572"/>
              <a:gd name="connsiteX293" fmla="*/ 184778 w 1090712"/>
              <a:gd name="connsiteY293" fmla="*/ 657177 h 895572"/>
              <a:gd name="connsiteX294" fmla="*/ 192856 w 1090712"/>
              <a:gd name="connsiteY294" fmla="*/ 659553 h 895572"/>
              <a:gd name="connsiteX295" fmla="*/ 200934 w 1090712"/>
              <a:gd name="connsiteY295" fmla="*/ 661216 h 895572"/>
              <a:gd name="connsiteX296" fmla="*/ 209250 w 1090712"/>
              <a:gd name="connsiteY296" fmla="*/ 661691 h 895572"/>
              <a:gd name="connsiteX297" fmla="*/ 218278 w 1090712"/>
              <a:gd name="connsiteY297" fmla="*/ 661691 h 895572"/>
              <a:gd name="connsiteX298" fmla="*/ 227069 w 1090712"/>
              <a:gd name="connsiteY298" fmla="*/ 660266 h 895572"/>
              <a:gd name="connsiteX299" fmla="*/ 236335 w 1090712"/>
              <a:gd name="connsiteY299" fmla="*/ 658603 h 895572"/>
              <a:gd name="connsiteX300" fmla="*/ 245838 w 1090712"/>
              <a:gd name="connsiteY300" fmla="*/ 655514 h 895572"/>
              <a:gd name="connsiteX301" fmla="*/ 255580 w 1090712"/>
              <a:gd name="connsiteY301" fmla="*/ 652425 h 895572"/>
              <a:gd name="connsiteX302" fmla="*/ 265321 w 1090712"/>
              <a:gd name="connsiteY302" fmla="*/ 647911 h 895572"/>
              <a:gd name="connsiteX303" fmla="*/ 276013 w 1090712"/>
              <a:gd name="connsiteY303" fmla="*/ 642922 h 895572"/>
              <a:gd name="connsiteX304" fmla="*/ 288367 w 1090712"/>
              <a:gd name="connsiteY304" fmla="*/ 635081 h 895572"/>
              <a:gd name="connsiteX305" fmla="*/ 301910 w 1090712"/>
              <a:gd name="connsiteY305" fmla="*/ 627478 h 895572"/>
              <a:gd name="connsiteX306" fmla="*/ 315215 w 1090712"/>
              <a:gd name="connsiteY306" fmla="*/ 620350 h 895572"/>
              <a:gd name="connsiteX307" fmla="*/ 329471 w 1090712"/>
              <a:gd name="connsiteY307" fmla="*/ 613698 h 895572"/>
              <a:gd name="connsiteX308" fmla="*/ 343726 w 1090712"/>
              <a:gd name="connsiteY308" fmla="*/ 607283 h 895572"/>
              <a:gd name="connsiteX309" fmla="*/ 357981 w 1090712"/>
              <a:gd name="connsiteY309" fmla="*/ 602056 h 895572"/>
              <a:gd name="connsiteX310" fmla="*/ 371999 w 1090712"/>
              <a:gd name="connsiteY310" fmla="*/ 597066 h 895572"/>
              <a:gd name="connsiteX311" fmla="*/ 386730 w 1090712"/>
              <a:gd name="connsiteY311" fmla="*/ 592790 h 895572"/>
              <a:gd name="connsiteX312" fmla="*/ 394808 w 1090712"/>
              <a:gd name="connsiteY312" fmla="*/ 590414 h 895572"/>
              <a:gd name="connsiteX313" fmla="*/ 402411 w 1090712"/>
              <a:gd name="connsiteY313" fmla="*/ 587325 h 895572"/>
              <a:gd name="connsiteX314" fmla="*/ 409064 w 1090712"/>
              <a:gd name="connsiteY314" fmla="*/ 583761 h 895572"/>
              <a:gd name="connsiteX315" fmla="*/ 411677 w 1090712"/>
              <a:gd name="connsiteY315" fmla="*/ 581623 h 895572"/>
              <a:gd name="connsiteX316" fmla="*/ 414766 w 1090712"/>
              <a:gd name="connsiteY316" fmla="*/ 579247 h 895572"/>
              <a:gd name="connsiteX317" fmla="*/ 417142 w 1090712"/>
              <a:gd name="connsiteY317" fmla="*/ 577109 h 895572"/>
              <a:gd name="connsiteX318" fmla="*/ 419280 w 1090712"/>
              <a:gd name="connsiteY318" fmla="*/ 574495 h 895572"/>
              <a:gd name="connsiteX319" fmla="*/ 420943 w 1090712"/>
              <a:gd name="connsiteY319" fmla="*/ 571407 h 895572"/>
              <a:gd name="connsiteX320" fmla="*/ 422844 w 1090712"/>
              <a:gd name="connsiteY320" fmla="*/ 568318 h 895572"/>
              <a:gd name="connsiteX321" fmla="*/ 424269 w 1090712"/>
              <a:gd name="connsiteY321" fmla="*/ 565229 h 895572"/>
              <a:gd name="connsiteX322" fmla="*/ 424982 w 1090712"/>
              <a:gd name="connsiteY322" fmla="*/ 561665 h 895572"/>
              <a:gd name="connsiteX323" fmla="*/ 425457 w 1090712"/>
              <a:gd name="connsiteY323" fmla="*/ 557626 h 895572"/>
              <a:gd name="connsiteX324" fmla="*/ 425932 w 1090712"/>
              <a:gd name="connsiteY324" fmla="*/ 553587 h 895572"/>
              <a:gd name="connsiteX325" fmla="*/ 425932 w 1090712"/>
              <a:gd name="connsiteY325" fmla="*/ 413884 h 895572"/>
              <a:gd name="connsiteX326" fmla="*/ 425932 w 1090712"/>
              <a:gd name="connsiteY326" fmla="*/ 285347 h 895572"/>
              <a:gd name="connsiteX327" fmla="*/ 429496 w 1090712"/>
              <a:gd name="connsiteY327" fmla="*/ 300078 h 895572"/>
              <a:gd name="connsiteX328" fmla="*/ 433060 w 1090712"/>
              <a:gd name="connsiteY328" fmla="*/ 314096 h 895572"/>
              <a:gd name="connsiteX329" fmla="*/ 436149 w 1090712"/>
              <a:gd name="connsiteY329" fmla="*/ 328826 h 895572"/>
              <a:gd name="connsiteX330" fmla="*/ 438762 w 1090712"/>
              <a:gd name="connsiteY330" fmla="*/ 343082 h 895572"/>
              <a:gd name="connsiteX331" fmla="*/ 443752 w 1090712"/>
              <a:gd name="connsiteY331" fmla="*/ 370642 h 895572"/>
              <a:gd name="connsiteX332" fmla="*/ 447791 w 1090712"/>
              <a:gd name="connsiteY332" fmla="*/ 397015 h 895572"/>
              <a:gd name="connsiteX333" fmla="*/ 451830 w 1090712"/>
              <a:gd name="connsiteY333" fmla="*/ 421962 h 895572"/>
              <a:gd name="connsiteX334" fmla="*/ 454919 w 1090712"/>
              <a:gd name="connsiteY334" fmla="*/ 446434 h 895572"/>
              <a:gd name="connsiteX335" fmla="*/ 456106 w 1090712"/>
              <a:gd name="connsiteY335" fmla="*/ 458313 h 895572"/>
              <a:gd name="connsiteX336" fmla="*/ 457057 w 1090712"/>
              <a:gd name="connsiteY336" fmla="*/ 470430 h 895572"/>
              <a:gd name="connsiteX337" fmla="*/ 457532 w 1090712"/>
              <a:gd name="connsiteY337" fmla="*/ 482310 h 895572"/>
              <a:gd name="connsiteX338" fmla="*/ 457532 w 1090712"/>
              <a:gd name="connsiteY338" fmla="*/ 493952 h 895572"/>
              <a:gd name="connsiteX339" fmla="*/ 457532 w 1090712"/>
              <a:gd name="connsiteY339" fmla="*/ 506069 h 895572"/>
              <a:gd name="connsiteX340" fmla="*/ 456582 w 1090712"/>
              <a:gd name="connsiteY340" fmla="*/ 517473 h 895572"/>
              <a:gd name="connsiteX341" fmla="*/ 455869 w 1090712"/>
              <a:gd name="connsiteY341" fmla="*/ 529116 h 895572"/>
              <a:gd name="connsiteX342" fmla="*/ 453968 w 1090712"/>
              <a:gd name="connsiteY342" fmla="*/ 540757 h 895572"/>
              <a:gd name="connsiteX343" fmla="*/ 452305 w 1090712"/>
              <a:gd name="connsiteY343" fmla="*/ 552162 h 895572"/>
              <a:gd name="connsiteX344" fmla="*/ 449454 w 1090712"/>
              <a:gd name="connsiteY344" fmla="*/ 563804 h 895572"/>
              <a:gd name="connsiteX345" fmla="*/ 446365 w 1090712"/>
              <a:gd name="connsiteY345" fmla="*/ 575446 h 895572"/>
              <a:gd name="connsiteX346" fmla="*/ 442326 w 1090712"/>
              <a:gd name="connsiteY346" fmla="*/ 586850 h 895572"/>
              <a:gd name="connsiteX347" fmla="*/ 440188 w 1090712"/>
              <a:gd name="connsiteY347" fmla="*/ 591364 h 895572"/>
              <a:gd name="connsiteX348" fmla="*/ 437574 w 1090712"/>
              <a:gd name="connsiteY348" fmla="*/ 595403 h 895572"/>
              <a:gd name="connsiteX349" fmla="*/ 434486 w 1090712"/>
              <a:gd name="connsiteY349" fmla="*/ 598967 h 895572"/>
              <a:gd name="connsiteX350" fmla="*/ 431397 w 1090712"/>
              <a:gd name="connsiteY350" fmla="*/ 602531 h 895572"/>
              <a:gd name="connsiteX351" fmla="*/ 428071 w 1090712"/>
              <a:gd name="connsiteY351" fmla="*/ 605145 h 895572"/>
              <a:gd name="connsiteX352" fmla="*/ 424982 w 1090712"/>
              <a:gd name="connsiteY352" fmla="*/ 607283 h 895572"/>
              <a:gd name="connsiteX353" fmla="*/ 422369 w 1090712"/>
              <a:gd name="connsiteY353" fmla="*/ 608708 h 895572"/>
              <a:gd name="connsiteX354" fmla="*/ 420230 w 1090712"/>
              <a:gd name="connsiteY354" fmla="*/ 609659 h 895572"/>
              <a:gd name="connsiteX355" fmla="*/ 410727 w 1090712"/>
              <a:gd name="connsiteY355" fmla="*/ 610847 h 895572"/>
              <a:gd name="connsiteX356" fmla="*/ 401461 w 1090712"/>
              <a:gd name="connsiteY356" fmla="*/ 612748 h 895572"/>
              <a:gd name="connsiteX357" fmla="*/ 392670 w 1090712"/>
              <a:gd name="connsiteY357" fmla="*/ 614886 h 895572"/>
              <a:gd name="connsiteX358" fmla="*/ 383641 w 1090712"/>
              <a:gd name="connsiteY358" fmla="*/ 617262 h 895572"/>
              <a:gd name="connsiteX359" fmla="*/ 374850 w 1090712"/>
              <a:gd name="connsiteY359" fmla="*/ 620350 h 895572"/>
              <a:gd name="connsiteX360" fmla="*/ 365822 w 1090712"/>
              <a:gd name="connsiteY360" fmla="*/ 623914 h 895572"/>
              <a:gd name="connsiteX361" fmla="*/ 348478 w 1090712"/>
              <a:gd name="connsiteY361" fmla="*/ 631042 h 895572"/>
              <a:gd name="connsiteX362" fmla="*/ 331609 w 1090712"/>
              <a:gd name="connsiteY362" fmla="*/ 639358 h 895572"/>
              <a:gd name="connsiteX363" fmla="*/ 314740 w 1090712"/>
              <a:gd name="connsiteY363" fmla="*/ 647911 h 895572"/>
              <a:gd name="connsiteX364" fmla="*/ 281240 w 1090712"/>
              <a:gd name="connsiteY364" fmla="*/ 665255 h 895572"/>
              <a:gd name="connsiteX365" fmla="*/ 274587 w 1090712"/>
              <a:gd name="connsiteY365" fmla="*/ 669294 h 895572"/>
              <a:gd name="connsiteX366" fmla="*/ 267935 w 1090712"/>
              <a:gd name="connsiteY366" fmla="*/ 672858 h 895572"/>
              <a:gd name="connsiteX367" fmla="*/ 261757 w 1090712"/>
              <a:gd name="connsiteY367" fmla="*/ 675947 h 895572"/>
              <a:gd name="connsiteX368" fmla="*/ 255105 w 1090712"/>
              <a:gd name="connsiteY368" fmla="*/ 679035 h 895572"/>
              <a:gd name="connsiteX369" fmla="*/ 248927 w 1090712"/>
              <a:gd name="connsiteY369" fmla="*/ 681174 h 895572"/>
              <a:gd name="connsiteX370" fmla="*/ 242987 w 1090712"/>
              <a:gd name="connsiteY370" fmla="*/ 683075 h 895572"/>
              <a:gd name="connsiteX371" fmla="*/ 236810 w 1090712"/>
              <a:gd name="connsiteY371" fmla="*/ 684738 h 895572"/>
              <a:gd name="connsiteX372" fmla="*/ 231108 w 1090712"/>
              <a:gd name="connsiteY372" fmla="*/ 686163 h 895572"/>
              <a:gd name="connsiteX373" fmla="*/ 225406 w 1090712"/>
              <a:gd name="connsiteY373" fmla="*/ 687114 h 895572"/>
              <a:gd name="connsiteX374" fmla="*/ 219466 w 1090712"/>
              <a:gd name="connsiteY374" fmla="*/ 687589 h 895572"/>
              <a:gd name="connsiteX375" fmla="*/ 213764 w 1090712"/>
              <a:gd name="connsiteY375" fmla="*/ 687589 h 895572"/>
              <a:gd name="connsiteX376" fmla="*/ 208299 w 1090712"/>
              <a:gd name="connsiteY376" fmla="*/ 687589 h 895572"/>
              <a:gd name="connsiteX377" fmla="*/ 203072 w 1090712"/>
              <a:gd name="connsiteY377" fmla="*/ 687114 h 895572"/>
              <a:gd name="connsiteX378" fmla="*/ 197607 w 1090712"/>
              <a:gd name="connsiteY378" fmla="*/ 686163 h 895572"/>
              <a:gd name="connsiteX379" fmla="*/ 192380 w 1090712"/>
              <a:gd name="connsiteY379" fmla="*/ 684738 h 895572"/>
              <a:gd name="connsiteX380" fmla="*/ 186916 w 1090712"/>
              <a:gd name="connsiteY380" fmla="*/ 683550 h 895572"/>
              <a:gd name="connsiteX381" fmla="*/ 181689 w 1090712"/>
              <a:gd name="connsiteY381" fmla="*/ 681649 h 895572"/>
              <a:gd name="connsiteX382" fmla="*/ 176699 w 1090712"/>
              <a:gd name="connsiteY382" fmla="*/ 679986 h 895572"/>
              <a:gd name="connsiteX383" fmla="*/ 171472 w 1090712"/>
              <a:gd name="connsiteY383" fmla="*/ 677610 h 895572"/>
              <a:gd name="connsiteX384" fmla="*/ 166483 w 1090712"/>
              <a:gd name="connsiteY384" fmla="*/ 674996 h 895572"/>
              <a:gd name="connsiteX385" fmla="*/ 156742 w 1090712"/>
              <a:gd name="connsiteY385" fmla="*/ 669294 h 895572"/>
              <a:gd name="connsiteX386" fmla="*/ 147001 w 1090712"/>
              <a:gd name="connsiteY386" fmla="*/ 662167 h 895572"/>
              <a:gd name="connsiteX387" fmla="*/ 137735 w 1090712"/>
              <a:gd name="connsiteY387" fmla="*/ 654564 h 895572"/>
              <a:gd name="connsiteX388" fmla="*/ 127756 w 1090712"/>
              <a:gd name="connsiteY388" fmla="*/ 645535 h 895572"/>
              <a:gd name="connsiteX389" fmla="*/ 118490 w 1090712"/>
              <a:gd name="connsiteY389" fmla="*/ 636269 h 895572"/>
              <a:gd name="connsiteX390" fmla="*/ 109224 w 1090712"/>
              <a:gd name="connsiteY390" fmla="*/ 626053 h 895572"/>
              <a:gd name="connsiteX391" fmla="*/ 107323 w 1090712"/>
              <a:gd name="connsiteY391" fmla="*/ 623914 h 895572"/>
              <a:gd name="connsiteX392" fmla="*/ 106135 w 1090712"/>
              <a:gd name="connsiteY392" fmla="*/ 620350 h 895572"/>
              <a:gd name="connsiteX393" fmla="*/ 105185 w 1090712"/>
              <a:gd name="connsiteY393" fmla="*/ 616311 h 895572"/>
              <a:gd name="connsiteX394" fmla="*/ 105185 w 1090712"/>
              <a:gd name="connsiteY394" fmla="*/ 612272 h 895572"/>
              <a:gd name="connsiteX395" fmla="*/ 105185 w 1090712"/>
              <a:gd name="connsiteY395" fmla="*/ 608233 h 895572"/>
              <a:gd name="connsiteX396" fmla="*/ 106135 w 1090712"/>
              <a:gd name="connsiteY396" fmla="*/ 604194 h 895572"/>
              <a:gd name="connsiteX397" fmla="*/ 107323 w 1090712"/>
              <a:gd name="connsiteY397" fmla="*/ 600630 h 895572"/>
              <a:gd name="connsiteX398" fmla="*/ 109224 w 1090712"/>
              <a:gd name="connsiteY398" fmla="*/ 598017 h 895572"/>
              <a:gd name="connsiteX399" fmla="*/ 111837 w 1090712"/>
              <a:gd name="connsiteY399" fmla="*/ 591840 h 895572"/>
              <a:gd name="connsiteX400" fmla="*/ 113975 w 1090712"/>
              <a:gd name="connsiteY400" fmla="*/ 586137 h 895572"/>
              <a:gd name="connsiteX401" fmla="*/ 115401 w 1090712"/>
              <a:gd name="connsiteY401" fmla="*/ 579722 h 895572"/>
              <a:gd name="connsiteX402" fmla="*/ 115876 w 1090712"/>
              <a:gd name="connsiteY402" fmla="*/ 574020 h 895572"/>
              <a:gd name="connsiteX403" fmla="*/ 115876 w 1090712"/>
              <a:gd name="connsiteY403" fmla="*/ 568318 h 895572"/>
              <a:gd name="connsiteX404" fmla="*/ 115401 w 1090712"/>
              <a:gd name="connsiteY404" fmla="*/ 562378 h 895572"/>
              <a:gd name="connsiteX405" fmla="*/ 114451 w 1090712"/>
              <a:gd name="connsiteY405" fmla="*/ 557151 h 895572"/>
              <a:gd name="connsiteX406" fmla="*/ 112788 w 1090712"/>
              <a:gd name="connsiteY406" fmla="*/ 551449 h 895572"/>
              <a:gd name="connsiteX407" fmla="*/ 110412 w 1090712"/>
              <a:gd name="connsiteY407" fmla="*/ 545984 h 895572"/>
              <a:gd name="connsiteX408" fmla="*/ 108273 w 1090712"/>
              <a:gd name="connsiteY408" fmla="*/ 540757 h 895572"/>
              <a:gd name="connsiteX409" fmla="*/ 105185 w 1090712"/>
              <a:gd name="connsiteY409" fmla="*/ 535293 h 895572"/>
              <a:gd name="connsiteX410" fmla="*/ 102096 w 1090712"/>
              <a:gd name="connsiteY410" fmla="*/ 530066 h 895572"/>
              <a:gd name="connsiteX411" fmla="*/ 94968 w 1090712"/>
              <a:gd name="connsiteY411" fmla="*/ 519374 h 895572"/>
              <a:gd name="connsiteX412" fmla="*/ 86890 w 1090712"/>
              <a:gd name="connsiteY412" fmla="*/ 508683 h 895572"/>
              <a:gd name="connsiteX413" fmla="*/ 78812 w 1090712"/>
              <a:gd name="connsiteY413" fmla="*/ 497991 h 895572"/>
              <a:gd name="connsiteX414" fmla="*/ 70972 w 1090712"/>
              <a:gd name="connsiteY414" fmla="*/ 486824 h 895572"/>
              <a:gd name="connsiteX415" fmla="*/ 67408 w 1090712"/>
              <a:gd name="connsiteY415" fmla="*/ 481122 h 895572"/>
              <a:gd name="connsiteX416" fmla="*/ 64319 w 1090712"/>
              <a:gd name="connsiteY416" fmla="*/ 474707 h 895572"/>
              <a:gd name="connsiteX417" fmla="*/ 61230 w 1090712"/>
              <a:gd name="connsiteY417" fmla="*/ 469005 h 895572"/>
              <a:gd name="connsiteX418" fmla="*/ 58379 w 1090712"/>
              <a:gd name="connsiteY418" fmla="*/ 462828 h 895572"/>
              <a:gd name="connsiteX419" fmla="*/ 56716 w 1090712"/>
              <a:gd name="connsiteY419" fmla="*/ 456175 h 895572"/>
              <a:gd name="connsiteX420" fmla="*/ 54815 w 1090712"/>
              <a:gd name="connsiteY420" fmla="*/ 449998 h 895572"/>
              <a:gd name="connsiteX421" fmla="*/ 54103 w 1090712"/>
              <a:gd name="connsiteY421" fmla="*/ 443345 h 895572"/>
              <a:gd name="connsiteX422" fmla="*/ 53627 w 1090712"/>
              <a:gd name="connsiteY422" fmla="*/ 436455 h 895572"/>
              <a:gd name="connsiteX423" fmla="*/ 53627 w 1090712"/>
              <a:gd name="connsiteY423" fmla="*/ 429327 h 895572"/>
              <a:gd name="connsiteX424" fmla="*/ 54815 w 1090712"/>
              <a:gd name="connsiteY424" fmla="*/ 422675 h 895572"/>
              <a:gd name="connsiteX425" fmla="*/ 56716 w 1090712"/>
              <a:gd name="connsiteY425" fmla="*/ 415547 h 895572"/>
              <a:gd name="connsiteX426" fmla="*/ 59330 w 1090712"/>
              <a:gd name="connsiteY426" fmla="*/ 408182 h 895572"/>
              <a:gd name="connsiteX427" fmla="*/ 60280 w 1090712"/>
              <a:gd name="connsiteY427" fmla="*/ 403192 h 895572"/>
              <a:gd name="connsiteX428" fmla="*/ 61943 w 1090712"/>
              <a:gd name="connsiteY428" fmla="*/ 397965 h 895572"/>
              <a:gd name="connsiteX429" fmla="*/ 65507 w 1090712"/>
              <a:gd name="connsiteY429" fmla="*/ 387986 h 895572"/>
              <a:gd name="connsiteX430" fmla="*/ 69546 w 1090712"/>
              <a:gd name="connsiteY430" fmla="*/ 378720 h 895572"/>
              <a:gd name="connsiteX431" fmla="*/ 74535 w 1090712"/>
              <a:gd name="connsiteY431" fmla="*/ 369929 h 895572"/>
              <a:gd name="connsiteX432" fmla="*/ 79762 w 1090712"/>
              <a:gd name="connsiteY432" fmla="*/ 360901 h 895572"/>
              <a:gd name="connsiteX433" fmla="*/ 85940 w 1090712"/>
              <a:gd name="connsiteY433" fmla="*/ 352585 h 895572"/>
              <a:gd name="connsiteX434" fmla="*/ 98057 w 1090712"/>
              <a:gd name="connsiteY434" fmla="*/ 335479 h 895572"/>
              <a:gd name="connsiteX435" fmla="*/ 102571 w 1090712"/>
              <a:gd name="connsiteY435" fmla="*/ 328113 h 895572"/>
              <a:gd name="connsiteX436" fmla="*/ 106848 w 1090712"/>
              <a:gd name="connsiteY436" fmla="*/ 320986 h 895572"/>
              <a:gd name="connsiteX437" fmla="*/ 116827 w 1090712"/>
              <a:gd name="connsiteY437" fmla="*/ 307205 h 895572"/>
              <a:gd name="connsiteX438" fmla="*/ 127043 w 1090712"/>
              <a:gd name="connsiteY438" fmla="*/ 293188 h 895572"/>
              <a:gd name="connsiteX439" fmla="*/ 137735 w 1090712"/>
              <a:gd name="connsiteY439" fmla="*/ 279407 h 895572"/>
              <a:gd name="connsiteX440" fmla="*/ 159831 w 1090712"/>
              <a:gd name="connsiteY440" fmla="*/ 251847 h 895572"/>
              <a:gd name="connsiteX441" fmla="*/ 170522 w 1090712"/>
              <a:gd name="connsiteY441" fmla="*/ 238066 h 895572"/>
              <a:gd name="connsiteX442" fmla="*/ 181214 w 1090712"/>
              <a:gd name="connsiteY442" fmla="*/ 223336 h 895572"/>
              <a:gd name="connsiteX443" fmla="*/ 164820 w 1090712"/>
              <a:gd name="connsiteY443" fmla="*/ 223336 h 895572"/>
              <a:gd name="connsiteX444" fmla="*/ 137972 w 1090712"/>
              <a:gd name="connsiteY444" fmla="*/ 230226 h 895572"/>
              <a:gd name="connsiteX445" fmla="*/ 125142 w 1090712"/>
              <a:gd name="connsiteY445" fmla="*/ 233790 h 895572"/>
              <a:gd name="connsiteX446" fmla="*/ 112788 w 1090712"/>
              <a:gd name="connsiteY446" fmla="*/ 237591 h 895572"/>
              <a:gd name="connsiteX447" fmla="*/ 100195 w 1090712"/>
              <a:gd name="connsiteY447" fmla="*/ 241630 h 895572"/>
              <a:gd name="connsiteX448" fmla="*/ 87840 w 1090712"/>
              <a:gd name="connsiteY448" fmla="*/ 245669 h 895572"/>
              <a:gd name="connsiteX449" fmla="*/ 75723 w 1090712"/>
              <a:gd name="connsiteY449" fmla="*/ 250183 h 895572"/>
              <a:gd name="connsiteX450" fmla="*/ 64319 w 1090712"/>
              <a:gd name="connsiteY450" fmla="*/ 254935 h 895572"/>
              <a:gd name="connsiteX451" fmla="*/ 52677 w 1090712"/>
              <a:gd name="connsiteY451" fmla="*/ 260400 h 895572"/>
              <a:gd name="connsiteX452" fmla="*/ 41035 w 1090712"/>
              <a:gd name="connsiteY452" fmla="*/ 265627 h 895572"/>
              <a:gd name="connsiteX453" fmla="*/ 29868 w 1090712"/>
              <a:gd name="connsiteY453" fmla="*/ 271567 h 895572"/>
              <a:gd name="connsiteX454" fmla="*/ 18939 w 1090712"/>
              <a:gd name="connsiteY454" fmla="*/ 277744 h 895572"/>
              <a:gd name="connsiteX455" fmla="*/ 7772 w 1090712"/>
              <a:gd name="connsiteY455" fmla="*/ 284397 h 895572"/>
              <a:gd name="connsiteX456" fmla="*/ 0 w 1090712"/>
              <a:gd name="connsiteY456" fmla="*/ 289924 h 895572"/>
              <a:gd name="connsiteX457" fmla="*/ 0 w 1090712"/>
              <a:gd name="connsiteY457" fmla="*/ 895572 h 895572"/>
              <a:gd name="connsiteX458" fmla="*/ 125653 w 1090712"/>
              <a:gd name="connsiteY458" fmla="*/ 895572 h 895572"/>
              <a:gd name="connsiteX459" fmla="*/ 127756 w 1090712"/>
              <a:gd name="connsiteY459" fmla="*/ 892155 h 895572"/>
              <a:gd name="connsiteX460" fmla="*/ 131082 w 1090712"/>
              <a:gd name="connsiteY460" fmla="*/ 885502 h 895572"/>
              <a:gd name="connsiteX461" fmla="*/ 133696 w 1090712"/>
              <a:gd name="connsiteY461" fmla="*/ 878374 h 895572"/>
              <a:gd name="connsiteX462" fmla="*/ 135834 w 1090712"/>
              <a:gd name="connsiteY462" fmla="*/ 871722 h 895572"/>
              <a:gd name="connsiteX463" fmla="*/ 137735 w 1090712"/>
              <a:gd name="connsiteY463" fmla="*/ 864594 h 895572"/>
              <a:gd name="connsiteX464" fmla="*/ 138923 w 1090712"/>
              <a:gd name="connsiteY464" fmla="*/ 857466 h 895572"/>
              <a:gd name="connsiteX465" fmla="*/ 140348 w 1090712"/>
              <a:gd name="connsiteY465" fmla="*/ 850339 h 895572"/>
              <a:gd name="connsiteX466" fmla="*/ 141298 w 1090712"/>
              <a:gd name="connsiteY466" fmla="*/ 843211 h 895572"/>
              <a:gd name="connsiteX467" fmla="*/ 142011 w 1090712"/>
              <a:gd name="connsiteY467" fmla="*/ 828955 h 895572"/>
              <a:gd name="connsiteX468" fmla="*/ 142486 w 1090712"/>
              <a:gd name="connsiteY468" fmla="*/ 814225 h 895572"/>
              <a:gd name="connsiteX469" fmla="*/ 142486 w 1090712"/>
              <a:gd name="connsiteY469" fmla="*/ 799494 h 895572"/>
              <a:gd name="connsiteX470" fmla="*/ 142486 w 1090712"/>
              <a:gd name="connsiteY470" fmla="*/ 782625 h 895572"/>
              <a:gd name="connsiteX471" fmla="*/ 142486 w 1090712"/>
              <a:gd name="connsiteY471" fmla="*/ 771458 h 895572"/>
              <a:gd name="connsiteX472" fmla="*/ 143912 w 1090712"/>
              <a:gd name="connsiteY472" fmla="*/ 778586 h 895572"/>
              <a:gd name="connsiteX473" fmla="*/ 145100 w 1090712"/>
              <a:gd name="connsiteY473" fmla="*/ 784526 h 895572"/>
              <a:gd name="connsiteX474" fmla="*/ 147476 w 1090712"/>
              <a:gd name="connsiteY474" fmla="*/ 789753 h 895572"/>
              <a:gd name="connsiteX475" fmla="*/ 149614 w 1090712"/>
              <a:gd name="connsiteY475" fmla="*/ 794267 h 895572"/>
              <a:gd name="connsiteX476" fmla="*/ 152228 w 1090712"/>
              <a:gd name="connsiteY476" fmla="*/ 797831 h 895572"/>
              <a:gd name="connsiteX477" fmla="*/ 155554 w 1090712"/>
              <a:gd name="connsiteY477" fmla="*/ 801395 h 895572"/>
              <a:gd name="connsiteX478" fmla="*/ 158643 w 1090712"/>
              <a:gd name="connsiteY478" fmla="*/ 803533 h 895572"/>
              <a:gd name="connsiteX479" fmla="*/ 162206 w 1090712"/>
              <a:gd name="connsiteY479" fmla="*/ 805909 h 895572"/>
              <a:gd name="connsiteX480" fmla="*/ 165770 w 1090712"/>
              <a:gd name="connsiteY480" fmla="*/ 807572 h 895572"/>
              <a:gd name="connsiteX481" fmla="*/ 169572 w 1090712"/>
              <a:gd name="connsiteY481" fmla="*/ 808523 h 895572"/>
              <a:gd name="connsiteX482" fmla="*/ 174086 w 1090712"/>
              <a:gd name="connsiteY482" fmla="*/ 809473 h 895572"/>
              <a:gd name="connsiteX483" fmla="*/ 178600 w 1090712"/>
              <a:gd name="connsiteY483" fmla="*/ 810186 h 895572"/>
              <a:gd name="connsiteX484" fmla="*/ 187866 w 1090712"/>
              <a:gd name="connsiteY484" fmla="*/ 810661 h 895572"/>
              <a:gd name="connsiteX485" fmla="*/ 198083 w 1090712"/>
              <a:gd name="connsiteY485" fmla="*/ 810661 h 895572"/>
              <a:gd name="connsiteX486" fmla="*/ 236810 w 1090712"/>
              <a:gd name="connsiteY486" fmla="*/ 810661 h 895572"/>
              <a:gd name="connsiteX487" fmla="*/ 249640 w 1090712"/>
              <a:gd name="connsiteY487" fmla="*/ 811136 h 895572"/>
              <a:gd name="connsiteX488" fmla="*/ 263183 w 1090712"/>
              <a:gd name="connsiteY488" fmla="*/ 811611 h 895572"/>
              <a:gd name="connsiteX489" fmla="*/ 270310 w 1090712"/>
              <a:gd name="connsiteY489" fmla="*/ 811611 h 895572"/>
              <a:gd name="connsiteX490" fmla="*/ 276963 w 1090712"/>
              <a:gd name="connsiteY490" fmla="*/ 811136 h 895572"/>
              <a:gd name="connsiteX491" fmla="*/ 283140 w 1090712"/>
              <a:gd name="connsiteY491" fmla="*/ 810186 h 895572"/>
              <a:gd name="connsiteX492" fmla="*/ 289793 w 1090712"/>
              <a:gd name="connsiteY492" fmla="*/ 808523 h 895572"/>
              <a:gd name="connsiteX493" fmla="*/ 295495 w 1090712"/>
              <a:gd name="connsiteY493" fmla="*/ 806147 h 895572"/>
              <a:gd name="connsiteX494" fmla="*/ 301435 w 1090712"/>
              <a:gd name="connsiteY494" fmla="*/ 803058 h 895572"/>
              <a:gd name="connsiteX495" fmla="*/ 304524 w 1090712"/>
              <a:gd name="connsiteY495" fmla="*/ 801395 h 895572"/>
              <a:gd name="connsiteX496" fmla="*/ 307137 w 1090712"/>
              <a:gd name="connsiteY496" fmla="*/ 799256 h 895572"/>
              <a:gd name="connsiteX497" fmla="*/ 309275 w 1090712"/>
              <a:gd name="connsiteY497" fmla="*/ 796881 h 895572"/>
              <a:gd name="connsiteX498" fmla="*/ 312126 w 1090712"/>
              <a:gd name="connsiteY498" fmla="*/ 794267 h 895572"/>
              <a:gd name="connsiteX499" fmla="*/ 314265 w 1090712"/>
              <a:gd name="connsiteY499" fmla="*/ 791178 h 895572"/>
              <a:gd name="connsiteX500" fmla="*/ 316403 w 1090712"/>
              <a:gd name="connsiteY500" fmla="*/ 788090 h 895572"/>
              <a:gd name="connsiteX501" fmla="*/ 318304 w 1090712"/>
              <a:gd name="connsiteY501" fmla="*/ 784051 h 895572"/>
              <a:gd name="connsiteX502" fmla="*/ 319967 w 1090712"/>
              <a:gd name="connsiteY502" fmla="*/ 780012 h 895572"/>
              <a:gd name="connsiteX503" fmla="*/ 321868 w 1090712"/>
              <a:gd name="connsiteY503" fmla="*/ 775973 h 895572"/>
              <a:gd name="connsiteX504" fmla="*/ 323056 w 1090712"/>
              <a:gd name="connsiteY504" fmla="*/ 771221 h 895572"/>
              <a:gd name="connsiteX505" fmla="*/ 324481 w 1090712"/>
              <a:gd name="connsiteY505" fmla="*/ 765756 h 895572"/>
              <a:gd name="connsiteX506" fmla="*/ 325907 w 1090712"/>
              <a:gd name="connsiteY506" fmla="*/ 760529 h 895572"/>
              <a:gd name="connsiteX507" fmla="*/ 325907 w 1090712"/>
              <a:gd name="connsiteY507" fmla="*/ 827530 h 895572"/>
              <a:gd name="connsiteX508" fmla="*/ 310226 w 1090712"/>
              <a:gd name="connsiteY508" fmla="*/ 835608 h 895572"/>
              <a:gd name="connsiteX509" fmla="*/ 295970 w 1090712"/>
              <a:gd name="connsiteY509" fmla="*/ 843686 h 895572"/>
              <a:gd name="connsiteX510" fmla="*/ 282665 w 1090712"/>
              <a:gd name="connsiteY510" fmla="*/ 850339 h 895572"/>
              <a:gd name="connsiteX511" fmla="*/ 276488 w 1090712"/>
              <a:gd name="connsiteY511" fmla="*/ 852952 h 895572"/>
              <a:gd name="connsiteX512" fmla="*/ 270310 w 1090712"/>
              <a:gd name="connsiteY512" fmla="*/ 855565 h 895572"/>
              <a:gd name="connsiteX513" fmla="*/ 266271 w 1090712"/>
              <a:gd name="connsiteY513" fmla="*/ 857942 h 895572"/>
              <a:gd name="connsiteX514" fmla="*/ 262708 w 1090712"/>
              <a:gd name="connsiteY514" fmla="*/ 860080 h 895572"/>
              <a:gd name="connsiteX515" fmla="*/ 259619 w 1090712"/>
              <a:gd name="connsiteY515" fmla="*/ 862693 h 895572"/>
              <a:gd name="connsiteX516" fmla="*/ 256768 w 1090712"/>
              <a:gd name="connsiteY516" fmla="*/ 865544 h 895572"/>
              <a:gd name="connsiteX517" fmla="*/ 254154 w 1090712"/>
              <a:gd name="connsiteY517" fmla="*/ 868633 h 895572"/>
              <a:gd name="connsiteX518" fmla="*/ 252491 w 1090712"/>
              <a:gd name="connsiteY518" fmla="*/ 871722 h 895572"/>
              <a:gd name="connsiteX519" fmla="*/ 250590 w 1090712"/>
              <a:gd name="connsiteY519" fmla="*/ 874810 h 895572"/>
              <a:gd name="connsiteX520" fmla="*/ 249402 w 1090712"/>
              <a:gd name="connsiteY520" fmla="*/ 877899 h 895572"/>
              <a:gd name="connsiteX521" fmla="*/ 248452 w 1090712"/>
              <a:gd name="connsiteY521" fmla="*/ 880988 h 895572"/>
              <a:gd name="connsiteX522" fmla="*/ 247977 w 1090712"/>
              <a:gd name="connsiteY522" fmla="*/ 884076 h 895572"/>
              <a:gd name="connsiteX523" fmla="*/ 247977 w 1090712"/>
              <a:gd name="connsiteY523" fmla="*/ 887165 h 895572"/>
              <a:gd name="connsiteX524" fmla="*/ 248452 w 1090712"/>
              <a:gd name="connsiteY524" fmla="*/ 890016 h 895572"/>
              <a:gd name="connsiteX525" fmla="*/ 249402 w 1090712"/>
              <a:gd name="connsiteY525" fmla="*/ 893105 h 895572"/>
              <a:gd name="connsiteX526" fmla="*/ 250075 w 1090712"/>
              <a:gd name="connsiteY526" fmla="*/ 895572 h 895572"/>
              <a:gd name="connsiteX527" fmla="*/ 474750 w 1090712"/>
              <a:gd name="connsiteY527" fmla="*/ 895572 h 895572"/>
              <a:gd name="connsiteX528" fmla="*/ 475827 w 1090712"/>
              <a:gd name="connsiteY528" fmla="*/ 894768 h 895572"/>
              <a:gd name="connsiteX529" fmla="*/ 486993 w 1090712"/>
              <a:gd name="connsiteY529" fmla="*/ 882889 h 895572"/>
              <a:gd name="connsiteX530" fmla="*/ 497210 w 1090712"/>
              <a:gd name="connsiteY530" fmla="*/ 870296 h 895572"/>
              <a:gd name="connsiteX531" fmla="*/ 506951 w 1090712"/>
              <a:gd name="connsiteY531" fmla="*/ 857942 h 895572"/>
              <a:gd name="connsiteX532" fmla="*/ 515742 w 1090712"/>
              <a:gd name="connsiteY532" fmla="*/ 844636 h 895572"/>
              <a:gd name="connsiteX533" fmla="*/ 523820 w 1090712"/>
              <a:gd name="connsiteY533" fmla="*/ 831094 h 895572"/>
              <a:gd name="connsiteX534" fmla="*/ 531898 w 1090712"/>
              <a:gd name="connsiteY534" fmla="*/ 816838 h 895572"/>
              <a:gd name="connsiteX535" fmla="*/ 539026 w 1090712"/>
              <a:gd name="connsiteY535" fmla="*/ 802583 h 895572"/>
              <a:gd name="connsiteX536" fmla="*/ 545678 w 1090712"/>
              <a:gd name="connsiteY536" fmla="*/ 788565 h 895572"/>
              <a:gd name="connsiteX537" fmla="*/ 552331 w 1090712"/>
              <a:gd name="connsiteY537" fmla="*/ 773359 h 895572"/>
              <a:gd name="connsiteX538" fmla="*/ 558033 w 1090712"/>
              <a:gd name="connsiteY538" fmla="*/ 758628 h 895572"/>
              <a:gd name="connsiteX539" fmla="*/ 563498 w 1090712"/>
              <a:gd name="connsiteY539" fmla="*/ 743185 h 895572"/>
              <a:gd name="connsiteX540" fmla="*/ 568725 w 1090712"/>
              <a:gd name="connsiteY540" fmla="*/ 727979 h 895572"/>
              <a:gd name="connsiteX541" fmla="*/ 573714 w 1090712"/>
              <a:gd name="connsiteY541" fmla="*/ 712298 h 895572"/>
              <a:gd name="connsiteX542" fmla="*/ 577991 w 1090712"/>
              <a:gd name="connsiteY542" fmla="*/ 696855 h 895572"/>
              <a:gd name="connsiteX543" fmla="*/ 586544 w 1090712"/>
              <a:gd name="connsiteY543" fmla="*/ 665255 h 895572"/>
              <a:gd name="connsiteX544" fmla="*/ 586069 w 1090712"/>
              <a:gd name="connsiteY544" fmla="*/ 663117 h 895572"/>
              <a:gd name="connsiteX545" fmla="*/ 584881 w 1090712"/>
              <a:gd name="connsiteY545" fmla="*/ 660266 h 895572"/>
              <a:gd name="connsiteX546" fmla="*/ 582980 w 1090712"/>
              <a:gd name="connsiteY546" fmla="*/ 657177 h 895572"/>
              <a:gd name="connsiteX547" fmla="*/ 580367 w 1090712"/>
              <a:gd name="connsiteY547" fmla="*/ 654088 h 895572"/>
              <a:gd name="connsiteX548" fmla="*/ 574902 w 1090712"/>
              <a:gd name="connsiteY548" fmla="*/ 647911 h 895572"/>
              <a:gd name="connsiteX549" fmla="*/ 570150 w 1090712"/>
              <a:gd name="connsiteY549" fmla="*/ 642922 h 895572"/>
              <a:gd name="connsiteX550" fmla="*/ 565636 w 1090712"/>
              <a:gd name="connsiteY550" fmla="*/ 636744 h 895572"/>
              <a:gd name="connsiteX551" fmla="*/ 560647 w 1090712"/>
              <a:gd name="connsiteY551" fmla="*/ 631517 h 895572"/>
              <a:gd name="connsiteX552" fmla="*/ 555420 w 1090712"/>
              <a:gd name="connsiteY552" fmla="*/ 626053 h 895572"/>
              <a:gd name="connsiteX553" fmla="*/ 550193 w 1090712"/>
              <a:gd name="connsiteY553" fmla="*/ 621301 h 895572"/>
              <a:gd name="connsiteX554" fmla="*/ 544253 w 1090712"/>
              <a:gd name="connsiteY554" fmla="*/ 616787 h 895572"/>
              <a:gd name="connsiteX555" fmla="*/ 538075 w 1090712"/>
              <a:gd name="connsiteY555" fmla="*/ 612272 h 895572"/>
              <a:gd name="connsiteX556" fmla="*/ 525721 w 1090712"/>
              <a:gd name="connsiteY556" fmla="*/ 603719 h 895572"/>
              <a:gd name="connsiteX557" fmla="*/ 563023 w 1090712"/>
              <a:gd name="connsiteY557" fmla="*/ 619875 h 895572"/>
              <a:gd name="connsiteX558" fmla="*/ 581317 w 1090712"/>
              <a:gd name="connsiteY558" fmla="*/ 628191 h 895572"/>
              <a:gd name="connsiteX559" fmla="*/ 599374 w 1090712"/>
              <a:gd name="connsiteY559" fmla="*/ 636744 h 895572"/>
              <a:gd name="connsiteX560" fmla="*/ 607927 w 1090712"/>
              <a:gd name="connsiteY560" fmla="*/ 641259 h 895572"/>
              <a:gd name="connsiteX561" fmla="*/ 616718 w 1090712"/>
              <a:gd name="connsiteY561" fmla="*/ 646010 h 895572"/>
              <a:gd name="connsiteX562" fmla="*/ 625271 w 1090712"/>
              <a:gd name="connsiteY562" fmla="*/ 651000 h 895572"/>
              <a:gd name="connsiteX563" fmla="*/ 633349 w 1090712"/>
              <a:gd name="connsiteY563" fmla="*/ 656227 h 895572"/>
              <a:gd name="connsiteX564" fmla="*/ 641665 w 1090712"/>
              <a:gd name="connsiteY564" fmla="*/ 662167 h 895572"/>
              <a:gd name="connsiteX565" fmla="*/ 649268 w 1090712"/>
              <a:gd name="connsiteY565" fmla="*/ 668344 h 895572"/>
              <a:gd name="connsiteX566" fmla="*/ 656871 w 1090712"/>
              <a:gd name="connsiteY566" fmla="*/ 674996 h 895572"/>
              <a:gd name="connsiteX567" fmla="*/ 664474 w 1090712"/>
              <a:gd name="connsiteY567" fmla="*/ 682124 h 895572"/>
              <a:gd name="connsiteX568" fmla="*/ 668988 w 1090712"/>
              <a:gd name="connsiteY568" fmla="*/ 686163 h 895572"/>
              <a:gd name="connsiteX569" fmla="*/ 672790 w 1090712"/>
              <a:gd name="connsiteY569" fmla="*/ 690202 h 895572"/>
              <a:gd name="connsiteX570" fmla="*/ 677304 w 1090712"/>
              <a:gd name="connsiteY570" fmla="*/ 693291 h 895572"/>
              <a:gd name="connsiteX571" fmla="*/ 682293 w 1090712"/>
              <a:gd name="connsiteY571" fmla="*/ 696855 h 895572"/>
              <a:gd name="connsiteX572" fmla="*/ 686570 w 1090712"/>
              <a:gd name="connsiteY572" fmla="*/ 699468 h 895572"/>
              <a:gd name="connsiteX573" fmla="*/ 691559 w 1090712"/>
              <a:gd name="connsiteY573" fmla="*/ 702082 h 895572"/>
              <a:gd name="connsiteX574" fmla="*/ 696549 w 1090712"/>
              <a:gd name="connsiteY574" fmla="*/ 703983 h 895572"/>
              <a:gd name="connsiteX575" fmla="*/ 701300 w 1090712"/>
              <a:gd name="connsiteY575" fmla="*/ 705646 h 895572"/>
              <a:gd name="connsiteX576" fmla="*/ 706290 w 1090712"/>
              <a:gd name="connsiteY576" fmla="*/ 707071 h 895572"/>
              <a:gd name="connsiteX577" fmla="*/ 711042 w 1090712"/>
              <a:gd name="connsiteY577" fmla="*/ 708497 h 895572"/>
              <a:gd name="connsiteX578" fmla="*/ 716506 w 1090712"/>
              <a:gd name="connsiteY578" fmla="*/ 708734 h 895572"/>
              <a:gd name="connsiteX579" fmla="*/ 721258 w 1090712"/>
              <a:gd name="connsiteY579" fmla="*/ 708734 h 895572"/>
              <a:gd name="connsiteX580" fmla="*/ 726723 w 1090712"/>
              <a:gd name="connsiteY580" fmla="*/ 708497 h 895572"/>
              <a:gd name="connsiteX581" fmla="*/ 731712 w 1090712"/>
              <a:gd name="connsiteY581" fmla="*/ 707546 h 895572"/>
              <a:gd name="connsiteX582" fmla="*/ 736939 w 1090712"/>
              <a:gd name="connsiteY582" fmla="*/ 706121 h 895572"/>
              <a:gd name="connsiteX583" fmla="*/ 742166 w 1090712"/>
              <a:gd name="connsiteY583" fmla="*/ 704458 h 895572"/>
              <a:gd name="connsiteX584" fmla="*/ 749294 w 1090712"/>
              <a:gd name="connsiteY584" fmla="*/ 702082 h 895572"/>
              <a:gd name="connsiteX585" fmla="*/ 756184 w 1090712"/>
              <a:gd name="connsiteY585" fmla="*/ 699468 h 895572"/>
              <a:gd name="connsiteX586" fmla="*/ 762361 w 1090712"/>
              <a:gd name="connsiteY586" fmla="*/ 696380 h 895572"/>
              <a:gd name="connsiteX587" fmla="*/ 768063 w 1090712"/>
              <a:gd name="connsiteY587" fmla="*/ 692816 h 895572"/>
              <a:gd name="connsiteX588" fmla="*/ 773528 w 1090712"/>
              <a:gd name="connsiteY588" fmla="*/ 689252 h 895572"/>
              <a:gd name="connsiteX589" fmla="*/ 778755 w 1090712"/>
              <a:gd name="connsiteY589" fmla="*/ 684738 h 895572"/>
              <a:gd name="connsiteX590" fmla="*/ 783269 w 1090712"/>
              <a:gd name="connsiteY590" fmla="*/ 680461 h 895572"/>
              <a:gd name="connsiteX591" fmla="*/ 787308 w 1090712"/>
              <a:gd name="connsiteY591" fmla="*/ 674996 h 895572"/>
              <a:gd name="connsiteX592" fmla="*/ 791110 w 1090712"/>
              <a:gd name="connsiteY592" fmla="*/ 669769 h 895572"/>
              <a:gd name="connsiteX593" fmla="*/ 794436 w 1090712"/>
              <a:gd name="connsiteY593" fmla="*/ 663830 h 895572"/>
              <a:gd name="connsiteX594" fmla="*/ 797050 w 1090712"/>
              <a:gd name="connsiteY594" fmla="*/ 657652 h 895572"/>
              <a:gd name="connsiteX595" fmla="*/ 799188 w 1090712"/>
              <a:gd name="connsiteY595" fmla="*/ 651000 h 895572"/>
              <a:gd name="connsiteX596" fmla="*/ 801089 w 1090712"/>
              <a:gd name="connsiteY596" fmla="*/ 643872 h 895572"/>
              <a:gd name="connsiteX597" fmla="*/ 802277 w 1090712"/>
              <a:gd name="connsiteY597" fmla="*/ 636744 h 895572"/>
              <a:gd name="connsiteX598" fmla="*/ 803227 w 1090712"/>
              <a:gd name="connsiteY598" fmla="*/ 628666 h 895572"/>
              <a:gd name="connsiteX599" fmla="*/ 803227 w 1090712"/>
              <a:gd name="connsiteY599" fmla="*/ 620826 h 895572"/>
              <a:gd name="connsiteX600" fmla="*/ 801089 w 1090712"/>
              <a:gd name="connsiteY600" fmla="*/ 622489 h 895572"/>
              <a:gd name="connsiteX601" fmla="*/ 798238 w 1090712"/>
              <a:gd name="connsiteY601" fmla="*/ 623914 h 895572"/>
              <a:gd name="connsiteX602" fmla="*/ 793011 w 1090712"/>
              <a:gd name="connsiteY602" fmla="*/ 626053 h 895572"/>
              <a:gd name="connsiteX603" fmla="*/ 790397 w 1090712"/>
              <a:gd name="connsiteY603" fmla="*/ 627478 h 895572"/>
              <a:gd name="connsiteX604" fmla="*/ 788496 w 1090712"/>
              <a:gd name="connsiteY604" fmla="*/ 628191 h 895572"/>
              <a:gd name="connsiteX605" fmla="*/ 787308 w 1090712"/>
              <a:gd name="connsiteY605" fmla="*/ 630092 h 895572"/>
              <a:gd name="connsiteX606" fmla="*/ 786833 w 1090712"/>
              <a:gd name="connsiteY606" fmla="*/ 631755 h 895572"/>
              <a:gd name="connsiteX607" fmla="*/ 785408 w 1090712"/>
              <a:gd name="connsiteY607" fmla="*/ 635794 h 895572"/>
              <a:gd name="connsiteX608" fmla="*/ 784220 w 1090712"/>
              <a:gd name="connsiteY608" fmla="*/ 639833 h 895572"/>
              <a:gd name="connsiteX609" fmla="*/ 780656 w 1090712"/>
              <a:gd name="connsiteY609" fmla="*/ 646485 h 895572"/>
              <a:gd name="connsiteX610" fmla="*/ 776617 w 1090712"/>
              <a:gd name="connsiteY610" fmla="*/ 653138 h 895572"/>
              <a:gd name="connsiteX611" fmla="*/ 772103 w 1090712"/>
              <a:gd name="connsiteY611" fmla="*/ 659078 h 895572"/>
              <a:gd name="connsiteX612" fmla="*/ 762361 w 1090712"/>
              <a:gd name="connsiteY612" fmla="*/ 670007 h 895572"/>
              <a:gd name="connsiteX613" fmla="*/ 757847 w 1090712"/>
              <a:gd name="connsiteY613" fmla="*/ 675947 h 895572"/>
              <a:gd name="connsiteX614" fmla="*/ 753333 w 1090712"/>
              <a:gd name="connsiteY614" fmla="*/ 682124 h 895572"/>
              <a:gd name="connsiteX615" fmla="*/ 750244 w 1090712"/>
              <a:gd name="connsiteY615" fmla="*/ 684738 h 895572"/>
              <a:gd name="connsiteX616" fmla="*/ 747155 w 1090712"/>
              <a:gd name="connsiteY616" fmla="*/ 687589 h 895572"/>
              <a:gd name="connsiteX617" fmla="*/ 744067 w 1090712"/>
              <a:gd name="connsiteY617" fmla="*/ 689252 h 895572"/>
              <a:gd name="connsiteX618" fmla="*/ 740978 w 1090712"/>
              <a:gd name="connsiteY618" fmla="*/ 690915 h 895572"/>
              <a:gd name="connsiteX619" fmla="*/ 737890 w 1090712"/>
              <a:gd name="connsiteY619" fmla="*/ 691865 h 895572"/>
              <a:gd name="connsiteX620" fmla="*/ 734801 w 1090712"/>
              <a:gd name="connsiteY620" fmla="*/ 692816 h 895572"/>
              <a:gd name="connsiteX621" fmla="*/ 731950 w 1090712"/>
              <a:gd name="connsiteY621" fmla="*/ 693291 h 895572"/>
              <a:gd name="connsiteX622" fmla="*/ 728861 w 1090712"/>
              <a:gd name="connsiteY622" fmla="*/ 693291 h 895572"/>
              <a:gd name="connsiteX623" fmla="*/ 723634 w 1090712"/>
              <a:gd name="connsiteY623" fmla="*/ 692816 h 895572"/>
              <a:gd name="connsiteX624" fmla="*/ 718169 w 1090712"/>
              <a:gd name="connsiteY624" fmla="*/ 691390 h 895572"/>
              <a:gd name="connsiteX625" fmla="*/ 713418 w 1090712"/>
              <a:gd name="connsiteY625" fmla="*/ 689727 h 895572"/>
              <a:gd name="connsiteX626" fmla="*/ 708903 w 1090712"/>
              <a:gd name="connsiteY626" fmla="*/ 687826 h 895572"/>
              <a:gd name="connsiteX627" fmla="*/ 706765 w 1090712"/>
              <a:gd name="connsiteY627" fmla="*/ 687589 h 895572"/>
              <a:gd name="connsiteX628" fmla="*/ 704864 w 1090712"/>
              <a:gd name="connsiteY628" fmla="*/ 687114 h 895572"/>
              <a:gd name="connsiteX629" fmla="*/ 703201 w 1090712"/>
              <a:gd name="connsiteY629" fmla="*/ 686163 h 895572"/>
              <a:gd name="connsiteX630" fmla="*/ 701776 w 1090712"/>
              <a:gd name="connsiteY630" fmla="*/ 684738 h 895572"/>
              <a:gd name="connsiteX631" fmla="*/ 698687 w 1090712"/>
              <a:gd name="connsiteY631" fmla="*/ 681649 h 895572"/>
              <a:gd name="connsiteX632" fmla="*/ 696549 w 1090712"/>
              <a:gd name="connsiteY632" fmla="*/ 678085 h 895572"/>
              <a:gd name="connsiteX633" fmla="*/ 694648 w 1090712"/>
              <a:gd name="connsiteY633" fmla="*/ 673571 h 895572"/>
              <a:gd name="connsiteX634" fmla="*/ 693460 w 1090712"/>
              <a:gd name="connsiteY634" fmla="*/ 668819 h 895572"/>
              <a:gd name="connsiteX635" fmla="*/ 692510 w 1090712"/>
              <a:gd name="connsiteY635" fmla="*/ 664305 h 895572"/>
              <a:gd name="connsiteX636" fmla="*/ 692510 w 1090712"/>
              <a:gd name="connsiteY636" fmla="*/ 659790 h 895572"/>
              <a:gd name="connsiteX637" fmla="*/ 692510 w 1090712"/>
              <a:gd name="connsiteY637" fmla="*/ 647436 h 895572"/>
              <a:gd name="connsiteX638" fmla="*/ 693460 w 1090712"/>
              <a:gd name="connsiteY638" fmla="*/ 635319 h 895572"/>
              <a:gd name="connsiteX639" fmla="*/ 694173 w 1090712"/>
              <a:gd name="connsiteY639" fmla="*/ 624389 h 895572"/>
              <a:gd name="connsiteX640" fmla="*/ 695598 w 1090712"/>
              <a:gd name="connsiteY640" fmla="*/ 612748 h 895572"/>
              <a:gd name="connsiteX641" fmla="*/ 699162 w 1090712"/>
              <a:gd name="connsiteY641" fmla="*/ 591364 h 895572"/>
              <a:gd name="connsiteX642" fmla="*/ 703676 w 1090712"/>
              <a:gd name="connsiteY642" fmla="*/ 570456 h 895572"/>
              <a:gd name="connsiteX643" fmla="*/ 720070 w 1090712"/>
              <a:gd name="connsiteY643" fmla="*/ 574971 h 895572"/>
              <a:gd name="connsiteX644" fmla="*/ 736939 w 1090712"/>
              <a:gd name="connsiteY644" fmla="*/ 579247 h 895572"/>
              <a:gd name="connsiteX645" fmla="*/ 770677 w 1090712"/>
              <a:gd name="connsiteY645" fmla="*/ 589226 h 895572"/>
              <a:gd name="connsiteX646" fmla="*/ 788021 w 1090712"/>
              <a:gd name="connsiteY646" fmla="*/ 593503 h 895572"/>
              <a:gd name="connsiteX647" fmla="*/ 805365 w 1090712"/>
              <a:gd name="connsiteY647" fmla="*/ 597542 h 895572"/>
              <a:gd name="connsiteX648" fmla="*/ 823660 w 1090712"/>
              <a:gd name="connsiteY648" fmla="*/ 601106 h 895572"/>
              <a:gd name="connsiteX649" fmla="*/ 841954 w 1090712"/>
              <a:gd name="connsiteY649" fmla="*/ 603719 h 895572"/>
              <a:gd name="connsiteX650" fmla="*/ 861437 w 1090712"/>
              <a:gd name="connsiteY650" fmla="*/ 606570 h 895572"/>
              <a:gd name="connsiteX651" fmla="*/ 880682 w 1090712"/>
              <a:gd name="connsiteY651" fmla="*/ 608233 h 895572"/>
              <a:gd name="connsiteX652" fmla="*/ 889948 w 1090712"/>
              <a:gd name="connsiteY652" fmla="*/ 608708 h 895572"/>
              <a:gd name="connsiteX653" fmla="*/ 898976 w 1090712"/>
              <a:gd name="connsiteY653" fmla="*/ 608708 h 895572"/>
              <a:gd name="connsiteX654" fmla="*/ 908242 w 1090712"/>
              <a:gd name="connsiteY654" fmla="*/ 608708 h 895572"/>
              <a:gd name="connsiteX655" fmla="*/ 916795 w 1090712"/>
              <a:gd name="connsiteY655" fmla="*/ 608233 h 895572"/>
              <a:gd name="connsiteX656" fmla="*/ 925586 w 1090712"/>
              <a:gd name="connsiteY656" fmla="*/ 607283 h 895572"/>
              <a:gd name="connsiteX657" fmla="*/ 934140 w 1090712"/>
              <a:gd name="connsiteY657" fmla="*/ 606095 h 895572"/>
              <a:gd name="connsiteX658" fmla="*/ 942455 w 1090712"/>
              <a:gd name="connsiteY658" fmla="*/ 604669 h 895572"/>
              <a:gd name="connsiteX659" fmla="*/ 950533 w 1090712"/>
              <a:gd name="connsiteY659" fmla="*/ 603006 h 895572"/>
              <a:gd name="connsiteX660" fmla="*/ 958611 w 1090712"/>
              <a:gd name="connsiteY660" fmla="*/ 600630 h 895572"/>
              <a:gd name="connsiteX661" fmla="*/ 966452 w 1090712"/>
              <a:gd name="connsiteY661" fmla="*/ 598017 h 895572"/>
              <a:gd name="connsiteX662" fmla="*/ 974055 w 1090712"/>
              <a:gd name="connsiteY662" fmla="*/ 595403 h 895572"/>
              <a:gd name="connsiteX663" fmla="*/ 981658 w 1090712"/>
              <a:gd name="connsiteY663" fmla="*/ 591840 h 895572"/>
              <a:gd name="connsiteX664" fmla="*/ 989261 w 1090712"/>
              <a:gd name="connsiteY664" fmla="*/ 588276 h 895572"/>
              <a:gd name="connsiteX665" fmla="*/ 996388 w 1090712"/>
              <a:gd name="connsiteY665" fmla="*/ 584237 h 895572"/>
              <a:gd name="connsiteX666" fmla="*/ 1003041 w 1090712"/>
              <a:gd name="connsiteY666" fmla="*/ 579247 h 895572"/>
              <a:gd name="connsiteX667" fmla="*/ 1009694 w 1090712"/>
              <a:gd name="connsiteY667" fmla="*/ 574495 h 895572"/>
              <a:gd name="connsiteX668" fmla="*/ 1016346 w 1090712"/>
              <a:gd name="connsiteY668" fmla="*/ 569031 h 895572"/>
              <a:gd name="connsiteX669" fmla="*/ 1022998 w 1090712"/>
              <a:gd name="connsiteY669" fmla="*/ 562853 h 895572"/>
              <a:gd name="connsiteX670" fmla="*/ 1029176 w 1090712"/>
              <a:gd name="connsiteY670" fmla="*/ 556676 h 895572"/>
              <a:gd name="connsiteX671" fmla="*/ 1035116 w 1090712"/>
              <a:gd name="connsiteY671" fmla="*/ 549548 h 895572"/>
              <a:gd name="connsiteX672" fmla="*/ 1040818 w 1090712"/>
              <a:gd name="connsiteY672" fmla="*/ 541945 h 895572"/>
              <a:gd name="connsiteX673" fmla="*/ 1046520 w 1090712"/>
              <a:gd name="connsiteY673" fmla="*/ 534342 h 895572"/>
              <a:gd name="connsiteX674" fmla="*/ 1051985 w 1090712"/>
              <a:gd name="connsiteY674" fmla="*/ 526027 h 895572"/>
              <a:gd name="connsiteX675" fmla="*/ 1056737 w 1090712"/>
              <a:gd name="connsiteY675" fmla="*/ 516523 h 895572"/>
              <a:gd name="connsiteX676" fmla="*/ 1061726 w 1090712"/>
              <a:gd name="connsiteY676" fmla="*/ 507257 h 895572"/>
              <a:gd name="connsiteX677" fmla="*/ 1066715 w 1090712"/>
              <a:gd name="connsiteY677" fmla="*/ 497041 h 895572"/>
              <a:gd name="connsiteX678" fmla="*/ 1070992 w 1090712"/>
              <a:gd name="connsiteY678" fmla="*/ 486349 h 895572"/>
              <a:gd name="connsiteX679" fmla="*/ 1075506 w 1090712"/>
              <a:gd name="connsiteY679" fmla="*/ 475182 h 895572"/>
              <a:gd name="connsiteX680" fmla="*/ 1079070 w 1090712"/>
              <a:gd name="connsiteY680" fmla="*/ 462828 h 895572"/>
              <a:gd name="connsiteX681" fmla="*/ 1082634 w 1090712"/>
              <a:gd name="connsiteY681" fmla="*/ 449998 h 895572"/>
              <a:gd name="connsiteX682" fmla="*/ 1084772 w 1090712"/>
              <a:gd name="connsiteY682" fmla="*/ 437405 h 895572"/>
              <a:gd name="connsiteX683" fmla="*/ 1087148 w 1090712"/>
              <a:gd name="connsiteY683" fmla="*/ 425050 h 895572"/>
              <a:gd name="connsiteX684" fmla="*/ 1088811 w 1090712"/>
              <a:gd name="connsiteY684" fmla="*/ 411983 h 895572"/>
              <a:gd name="connsiteX685" fmla="*/ 1089762 w 1090712"/>
              <a:gd name="connsiteY685" fmla="*/ 399628 h 895572"/>
              <a:gd name="connsiteX686" fmla="*/ 1090712 w 1090712"/>
              <a:gd name="connsiteY686" fmla="*/ 386798 h 895572"/>
              <a:gd name="connsiteX687" fmla="*/ 1090712 w 1090712"/>
              <a:gd name="connsiteY687" fmla="*/ 373731 h 895572"/>
              <a:gd name="connsiteX688" fmla="*/ 1090712 w 1090712"/>
              <a:gd name="connsiteY688" fmla="*/ 360901 h 895572"/>
              <a:gd name="connsiteX689" fmla="*/ 1089762 w 1090712"/>
              <a:gd name="connsiteY689" fmla="*/ 348071 h 895572"/>
              <a:gd name="connsiteX690" fmla="*/ 1088811 w 1090712"/>
              <a:gd name="connsiteY690" fmla="*/ 335004 h 895572"/>
              <a:gd name="connsiteX691" fmla="*/ 1088099 w 1090712"/>
              <a:gd name="connsiteY691" fmla="*/ 321698 h 895572"/>
              <a:gd name="connsiteX692" fmla="*/ 1084772 w 1090712"/>
              <a:gd name="connsiteY692" fmla="*/ 295563 h 895572"/>
              <a:gd name="connsiteX693" fmla="*/ 1080971 w 1090712"/>
              <a:gd name="connsiteY693" fmla="*/ 268478 h 895572"/>
              <a:gd name="connsiteX694" fmla="*/ 1078595 w 1090712"/>
              <a:gd name="connsiteY694" fmla="*/ 258262 h 895572"/>
              <a:gd name="connsiteX695" fmla="*/ 1075981 w 1090712"/>
              <a:gd name="connsiteY695" fmla="*/ 248283 h 895572"/>
              <a:gd name="connsiteX696" fmla="*/ 1072417 w 1090712"/>
              <a:gd name="connsiteY696" fmla="*/ 238542 h 895572"/>
              <a:gd name="connsiteX697" fmla="*/ 1069329 w 1090712"/>
              <a:gd name="connsiteY697" fmla="*/ 229275 h 895572"/>
              <a:gd name="connsiteX698" fmla="*/ 1061251 w 1090712"/>
              <a:gd name="connsiteY698" fmla="*/ 210031 h 895572"/>
              <a:gd name="connsiteX699" fmla="*/ 1053173 w 1090712"/>
              <a:gd name="connsiteY699" fmla="*/ 190073 h 895572"/>
              <a:gd name="connsiteX700" fmla="*/ 1051034 w 1090712"/>
              <a:gd name="connsiteY700" fmla="*/ 186034 h 895572"/>
              <a:gd name="connsiteX701" fmla="*/ 1048896 w 1090712"/>
              <a:gd name="connsiteY701" fmla="*/ 182470 h 895572"/>
              <a:gd name="connsiteX702" fmla="*/ 1046045 w 1090712"/>
              <a:gd name="connsiteY702" fmla="*/ 179381 h 895572"/>
              <a:gd name="connsiteX703" fmla="*/ 1043906 w 1090712"/>
              <a:gd name="connsiteY703" fmla="*/ 176768 h 895572"/>
              <a:gd name="connsiteX704" fmla="*/ 1041293 w 1090712"/>
              <a:gd name="connsiteY704" fmla="*/ 174630 h 895572"/>
              <a:gd name="connsiteX705" fmla="*/ 1038680 w 1090712"/>
              <a:gd name="connsiteY705" fmla="*/ 172729 h 895572"/>
              <a:gd name="connsiteX706" fmla="*/ 1035828 w 1090712"/>
              <a:gd name="connsiteY706" fmla="*/ 171303 h 895572"/>
              <a:gd name="connsiteX707" fmla="*/ 1032740 w 1090712"/>
              <a:gd name="connsiteY707" fmla="*/ 170591 h 895572"/>
              <a:gd name="connsiteX708" fmla="*/ 1030126 w 1090712"/>
              <a:gd name="connsiteY708" fmla="*/ 170591 h 895572"/>
              <a:gd name="connsiteX709" fmla="*/ 1027038 w 1090712"/>
              <a:gd name="connsiteY709" fmla="*/ 170591 h 895572"/>
              <a:gd name="connsiteX710" fmla="*/ 1024424 w 1090712"/>
              <a:gd name="connsiteY710" fmla="*/ 171303 h 895572"/>
              <a:gd name="connsiteX711" fmla="*/ 1021335 w 1090712"/>
              <a:gd name="connsiteY711" fmla="*/ 172729 h 895572"/>
              <a:gd name="connsiteX712" fmla="*/ 1018247 w 1090712"/>
              <a:gd name="connsiteY712" fmla="*/ 174867 h 895572"/>
              <a:gd name="connsiteX713" fmla="*/ 1014920 w 1090712"/>
              <a:gd name="connsiteY713" fmla="*/ 177718 h 895572"/>
              <a:gd name="connsiteX714" fmla="*/ 1011832 w 1090712"/>
              <a:gd name="connsiteY714" fmla="*/ 180807 h 895572"/>
              <a:gd name="connsiteX715" fmla="*/ 1008743 w 1090712"/>
              <a:gd name="connsiteY715" fmla="*/ 184846 h 895572"/>
              <a:gd name="connsiteX716" fmla="*/ 991874 w 1090712"/>
              <a:gd name="connsiteY716" fmla="*/ 201240 h 895572"/>
              <a:gd name="connsiteX717" fmla="*/ 983321 w 1090712"/>
              <a:gd name="connsiteY717" fmla="*/ 209318 h 895572"/>
              <a:gd name="connsiteX718" fmla="*/ 974530 w 1090712"/>
              <a:gd name="connsiteY718" fmla="*/ 216683 h 895572"/>
              <a:gd name="connsiteX719" fmla="*/ 965739 w 1090712"/>
              <a:gd name="connsiteY719" fmla="*/ 223811 h 895572"/>
              <a:gd name="connsiteX720" fmla="*/ 956236 w 1090712"/>
              <a:gd name="connsiteY720" fmla="*/ 230226 h 895572"/>
              <a:gd name="connsiteX721" fmla="*/ 946494 w 1090712"/>
              <a:gd name="connsiteY721" fmla="*/ 235928 h 895572"/>
              <a:gd name="connsiteX722" fmla="*/ 941505 w 1090712"/>
              <a:gd name="connsiteY722" fmla="*/ 238066 h 895572"/>
              <a:gd name="connsiteX723" fmla="*/ 936753 w 1090712"/>
              <a:gd name="connsiteY723" fmla="*/ 240442 h 895572"/>
              <a:gd name="connsiteX724" fmla="*/ 932239 w 1090712"/>
              <a:gd name="connsiteY724" fmla="*/ 242581 h 895572"/>
              <a:gd name="connsiteX725" fmla="*/ 928675 w 1090712"/>
              <a:gd name="connsiteY725" fmla="*/ 245669 h 895572"/>
              <a:gd name="connsiteX726" fmla="*/ 925111 w 1090712"/>
              <a:gd name="connsiteY726" fmla="*/ 249233 h 895572"/>
              <a:gd name="connsiteX727" fmla="*/ 922022 w 1090712"/>
              <a:gd name="connsiteY727" fmla="*/ 252797 h 895572"/>
              <a:gd name="connsiteX728" fmla="*/ 919884 w 1090712"/>
              <a:gd name="connsiteY728" fmla="*/ 257311 h 895572"/>
              <a:gd name="connsiteX729" fmla="*/ 918934 w 1090712"/>
              <a:gd name="connsiteY729" fmla="*/ 259925 h 895572"/>
              <a:gd name="connsiteX730" fmla="*/ 918459 w 1090712"/>
              <a:gd name="connsiteY730" fmla="*/ 262538 h 895572"/>
              <a:gd name="connsiteX731" fmla="*/ 918459 w 1090712"/>
              <a:gd name="connsiteY731" fmla="*/ 265389 h 895572"/>
              <a:gd name="connsiteX732" fmla="*/ 918459 w 1090712"/>
              <a:gd name="connsiteY732" fmla="*/ 268003 h 895572"/>
              <a:gd name="connsiteX733" fmla="*/ 918934 w 1090712"/>
              <a:gd name="connsiteY733" fmla="*/ 271091 h 895572"/>
              <a:gd name="connsiteX734" fmla="*/ 919884 w 1090712"/>
              <a:gd name="connsiteY734" fmla="*/ 274180 h 895572"/>
              <a:gd name="connsiteX735" fmla="*/ 921547 w 1090712"/>
              <a:gd name="connsiteY735" fmla="*/ 282258 h 895572"/>
              <a:gd name="connsiteX736" fmla="*/ 922973 w 1090712"/>
              <a:gd name="connsiteY736" fmla="*/ 290574 h 895572"/>
              <a:gd name="connsiteX737" fmla="*/ 923923 w 1090712"/>
              <a:gd name="connsiteY737" fmla="*/ 299127 h 895572"/>
              <a:gd name="connsiteX738" fmla="*/ 924161 w 1090712"/>
              <a:gd name="connsiteY738" fmla="*/ 307443 h 895572"/>
              <a:gd name="connsiteX739" fmla="*/ 924161 w 1090712"/>
              <a:gd name="connsiteY739" fmla="*/ 315996 h 895572"/>
              <a:gd name="connsiteX740" fmla="*/ 923923 w 1090712"/>
              <a:gd name="connsiteY740" fmla="*/ 324550 h 895572"/>
              <a:gd name="connsiteX741" fmla="*/ 922973 w 1090712"/>
              <a:gd name="connsiteY741" fmla="*/ 332865 h 895572"/>
              <a:gd name="connsiteX742" fmla="*/ 922022 w 1090712"/>
              <a:gd name="connsiteY742" fmla="*/ 340943 h 895572"/>
              <a:gd name="connsiteX743" fmla="*/ 920597 w 1090712"/>
              <a:gd name="connsiteY743" fmla="*/ 349259 h 895572"/>
              <a:gd name="connsiteX744" fmla="*/ 918934 w 1090712"/>
              <a:gd name="connsiteY744" fmla="*/ 357812 h 895572"/>
              <a:gd name="connsiteX745" fmla="*/ 914420 w 1090712"/>
              <a:gd name="connsiteY745" fmla="*/ 374681 h 895572"/>
              <a:gd name="connsiteX746" fmla="*/ 909192 w 1090712"/>
              <a:gd name="connsiteY746" fmla="*/ 391075 h 895572"/>
              <a:gd name="connsiteX747" fmla="*/ 903253 w 1090712"/>
              <a:gd name="connsiteY747" fmla="*/ 408182 h 895572"/>
              <a:gd name="connsiteX748" fmla="*/ 903253 w 1090712"/>
              <a:gd name="connsiteY748" fmla="*/ 397965 h 895572"/>
              <a:gd name="connsiteX749" fmla="*/ 904203 w 1090712"/>
              <a:gd name="connsiteY749" fmla="*/ 387274 h 895572"/>
              <a:gd name="connsiteX750" fmla="*/ 906104 w 1090712"/>
              <a:gd name="connsiteY750" fmla="*/ 367078 h 895572"/>
              <a:gd name="connsiteX751" fmla="*/ 907767 w 1090712"/>
              <a:gd name="connsiteY751" fmla="*/ 347596 h 895572"/>
              <a:gd name="connsiteX752" fmla="*/ 908717 w 1090712"/>
              <a:gd name="connsiteY752" fmla="*/ 338567 h 895572"/>
              <a:gd name="connsiteX753" fmla="*/ 908717 w 1090712"/>
              <a:gd name="connsiteY753" fmla="*/ 329777 h 895572"/>
              <a:gd name="connsiteX754" fmla="*/ 908717 w 1090712"/>
              <a:gd name="connsiteY754" fmla="*/ 325738 h 895572"/>
              <a:gd name="connsiteX755" fmla="*/ 907767 w 1090712"/>
              <a:gd name="connsiteY755" fmla="*/ 322649 h 895572"/>
              <a:gd name="connsiteX756" fmla="*/ 906817 w 1090712"/>
              <a:gd name="connsiteY756" fmla="*/ 319560 h 895572"/>
              <a:gd name="connsiteX757" fmla="*/ 905154 w 1090712"/>
              <a:gd name="connsiteY757" fmla="*/ 316471 h 895572"/>
              <a:gd name="connsiteX758" fmla="*/ 903728 w 1090712"/>
              <a:gd name="connsiteY758" fmla="*/ 314096 h 895572"/>
              <a:gd name="connsiteX759" fmla="*/ 901590 w 1090712"/>
              <a:gd name="connsiteY759" fmla="*/ 311957 h 895572"/>
              <a:gd name="connsiteX760" fmla="*/ 897551 w 1090712"/>
              <a:gd name="connsiteY760" fmla="*/ 307443 h 895572"/>
              <a:gd name="connsiteX761" fmla="*/ 895412 w 1090712"/>
              <a:gd name="connsiteY761" fmla="*/ 309344 h 895572"/>
              <a:gd name="connsiteX762" fmla="*/ 892561 w 1090712"/>
              <a:gd name="connsiteY762" fmla="*/ 310769 h 895572"/>
              <a:gd name="connsiteX763" fmla="*/ 887334 w 1090712"/>
              <a:gd name="connsiteY763" fmla="*/ 313383 h 895572"/>
              <a:gd name="connsiteX764" fmla="*/ 884721 w 1090712"/>
              <a:gd name="connsiteY764" fmla="*/ 314096 h 895572"/>
              <a:gd name="connsiteX765" fmla="*/ 882820 w 1090712"/>
              <a:gd name="connsiteY765" fmla="*/ 315521 h 895572"/>
              <a:gd name="connsiteX766" fmla="*/ 881632 w 1090712"/>
              <a:gd name="connsiteY766" fmla="*/ 316947 h 895572"/>
              <a:gd name="connsiteX767" fmla="*/ 881157 w 1090712"/>
              <a:gd name="connsiteY767" fmla="*/ 318610 h 895572"/>
              <a:gd name="connsiteX768" fmla="*/ 872604 w 1090712"/>
              <a:gd name="connsiteY768" fmla="*/ 331915 h 895572"/>
              <a:gd name="connsiteX769" fmla="*/ 864288 w 1090712"/>
              <a:gd name="connsiteY769" fmla="*/ 346646 h 895572"/>
              <a:gd name="connsiteX770" fmla="*/ 856210 w 1090712"/>
              <a:gd name="connsiteY770" fmla="*/ 361376 h 895572"/>
              <a:gd name="connsiteX771" fmla="*/ 847656 w 1090712"/>
              <a:gd name="connsiteY771" fmla="*/ 374681 h 895572"/>
              <a:gd name="connsiteX772" fmla="*/ 841954 w 1090712"/>
              <a:gd name="connsiteY772" fmla="*/ 374681 h 895572"/>
              <a:gd name="connsiteX773" fmla="*/ 846468 w 1090712"/>
              <a:gd name="connsiteY773" fmla="*/ 357812 h 895572"/>
              <a:gd name="connsiteX774" fmla="*/ 850508 w 1090712"/>
              <a:gd name="connsiteY774" fmla="*/ 339518 h 895572"/>
              <a:gd name="connsiteX775" fmla="*/ 854784 w 1090712"/>
              <a:gd name="connsiteY775" fmla="*/ 319560 h 895572"/>
              <a:gd name="connsiteX776" fmla="*/ 858823 w 1090712"/>
              <a:gd name="connsiteY776" fmla="*/ 296514 h 895572"/>
              <a:gd name="connsiteX777" fmla="*/ 848132 w 1090712"/>
              <a:gd name="connsiteY777" fmla="*/ 303879 h 895572"/>
              <a:gd name="connsiteX778" fmla="*/ 840054 w 1090712"/>
              <a:gd name="connsiteY778" fmla="*/ 310294 h 895572"/>
              <a:gd name="connsiteX779" fmla="*/ 833163 w 1090712"/>
              <a:gd name="connsiteY779" fmla="*/ 316947 h 895572"/>
              <a:gd name="connsiteX780" fmla="*/ 825560 w 1090712"/>
              <a:gd name="connsiteY780" fmla="*/ 324550 h 895572"/>
              <a:gd name="connsiteX781" fmla="*/ 823185 w 1090712"/>
              <a:gd name="connsiteY781" fmla="*/ 326688 h 895572"/>
              <a:gd name="connsiteX782" fmla="*/ 821522 w 1090712"/>
              <a:gd name="connsiteY782" fmla="*/ 329301 h 895572"/>
              <a:gd name="connsiteX783" fmla="*/ 817007 w 1090712"/>
              <a:gd name="connsiteY783" fmla="*/ 335954 h 895572"/>
              <a:gd name="connsiteX784" fmla="*/ 812968 w 1090712"/>
              <a:gd name="connsiteY784" fmla="*/ 344032 h 895572"/>
              <a:gd name="connsiteX785" fmla="*/ 808929 w 1090712"/>
              <a:gd name="connsiteY785" fmla="*/ 352585 h 895572"/>
              <a:gd name="connsiteX786" fmla="*/ 809880 w 1090712"/>
              <a:gd name="connsiteY786" fmla="*/ 343557 h 895572"/>
              <a:gd name="connsiteX787" fmla="*/ 811305 w 1090712"/>
              <a:gd name="connsiteY787" fmla="*/ 335479 h 895572"/>
              <a:gd name="connsiteX788" fmla="*/ 812493 w 1090712"/>
              <a:gd name="connsiteY788" fmla="*/ 328826 h 895572"/>
              <a:gd name="connsiteX789" fmla="*/ 814394 w 1090712"/>
              <a:gd name="connsiteY789" fmla="*/ 323124 h 895572"/>
              <a:gd name="connsiteX790" fmla="*/ 816532 w 1090712"/>
              <a:gd name="connsiteY790" fmla="*/ 317659 h 895572"/>
              <a:gd name="connsiteX791" fmla="*/ 819146 w 1090712"/>
              <a:gd name="connsiteY791" fmla="*/ 313383 h 895572"/>
              <a:gd name="connsiteX792" fmla="*/ 822709 w 1090712"/>
              <a:gd name="connsiteY792" fmla="*/ 309344 h 895572"/>
              <a:gd name="connsiteX793" fmla="*/ 826748 w 1090712"/>
              <a:gd name="connsiteY793" fmla="*/ 306255 h 895572"/>
              <a:gd name="connsiteX794" fmla="*/ 832213 w 1090712"/>
              <a:gd name="connsiteY794" fmla="*/ 303166 h 895572"/>
              <a:gd name="connsiteX795" fmla="*/ 838390 w 1090712"/>
              <a:gd name="connsiteY795" fmla="*/ 300315 h 895572"/>
              <a:gd name="connsiteX796" fmla="*/ 845518 w 1090712"/>
              <a:gd name="connsiteY796" fmla="*/ 298177 h 895572"/>
              <a:gd name="connsiteX797" fmla="*/ 854071 w 1090712"/>
              <a:gd name="connsiteY797" fmla="*/ 295563 h 895572"/>
              <a:gd name="connsiteX798" fmla="*/ 875217 w 1090712"/>
              <a:gd name="connsiteY798" fmla="*/ 290574 h 895572"/>
              <a:gd name="connsiteX799" fmla="*/ 903253 w 1090712"/>
              <a:gd name="connsiteY799" fmla="*/ 285347 h 895572"/>
              <a:gd name="connsiteX800" fmla="*/ 886384 w 1090712"/>
              <a:gd name="connsiteY800" fmla="*/ 268478 h 895572"/>
              <a:gd name="connsiteX801" fmla="*/ 879731 w 1090712"/>
              <a:gd name="connsiteY801" fmla="*/ 270141 h 895572"/>
              <a:gd name="connsiteX802" fmla="*/ 873079 w 1090712"/>
              <a:gd name="connsiteY802" fmla="*/ 271091 h 895572"/>
              <a:gd name="connsiteX803" fmla="*/ 867376 w 1090712"/>
              <a:gd name="connsiteY803" fmla="*/ 271567 h 895572"/>
              <a:gd name="connsiteX804" fmla="*/ 862387 w 1090712"/>
              <a:gd name="connsiteY804" fmla="*/ 271091 h 895572"/>
              <a:gd name="connsiteX805" fmla="*/ 857398 w 1090712"/>
              <a:gd name="connsiteY805" fmla="*/ 269666 h 895572"/>
              <a:gd name="connsiteX806" fmla="*/ 853596 w 1090712"/>
              <a:gd name="connsiteY806" fmla="*/ 268003 h 895572"/>
              <a:gd name="connsiteX807" fmla="*/ 849557 w 1090712"/>
              <a:gd name="connsiteY807" fmla="*/ 265627 h 895572"/>
              <a:gd name="connsiteX808" fmla="*/ 846468 w 1090712"/>
              <a:gd name="connsiteY808" fmla="*/ 262538 h 895572"/>
              <a:gd name="connsiteX809" fmla="*/ 843380 w 1090712"/>
              <a:gd name="connsiteY809" fmla="*/ 259450 h 895572"/>
              <a:gd name="connsiteX810" fmla="*/ 840529 w 1090712"/>
              <a:gd name="connsiteY810" fmla="*/ 255411 h 895572"/>
              <a:gd name="connsiteX811" fmla="*/ 838390 w 1090712"/>
              <a:gd name="connsiteY811" fmla="*/ 251134 h 895572"/>
              <a:gd name="connsiteX812" fmla="*/ 836490 w 1090712"/>
              <a:gd name="connsiteY812" fmla="*/ 246620 h 895572"/>
              <a:gd name="connsiteX813" fmla="*/ 834827 w 1090712"/>
              <a:gd name="connsiteY813" fmla="*/ 241155 h 895572"/>
              <a:gd name="connsiteX814" fmla="*/ 833401 w 1090712"/>
              <a:gd name="connsiteY814" fmla="*/ 235453 h 895572"/>
              <a:gd name="connsiteX815" fmla="*/ 831263 w 1090712"/>
              <a:gd name="connsiteY815" fmla="*/ 223336 h 895572"/>
              <a:gd name="connsiteX816" fmla="*/ 897551 w 1090712"/>
              <a:gd name="connsiteY816" fmla="*/ 206942 h 895572"/>
              <a:gd name="connsiteX817" fmla="*/ 888997 w 1090712"/>
              <a:gd name="connsiteY817" fmla="*/ 194112 h 895572"/>
              <a:gd name="connsiteX818" fmla="*/ 880682 w 1090712"/>
              <a:gd name="connsiteY818" fmla="*/ 181282 h 895572"/>
              <a:gd name="connsiteX819" fmla="*/ 871416 w 1090712"/>
              <a:gd name="connsiteY819" fmla="*/ 168690 h 895572"/>
              <a:gd name="connsiteX820" fmla="*/ 866901 w 1090712"/>
              <a:gd name="connsiteY820" fmla="*/ 162988 h 895572"/>
              <a:gd name="connsiteX821" fmla="*/ 861437 w 1090712"/>
              <a:gd name="connsiteY821" fmla="*/ 157048 h 895572"/>
              <a:gd name="connsiteX822" fmla="*/ 856210 w 1090712"/>
              <a:gd name="connsiteY822" fmla="*/ 151821 h 895572"/>
              <a:gd name="connsiteX823" fmla="*/ 850745 w 1090712"/>
              <a:gd name="connsiteY823" fmla="*/ 146831 h 895572"/>
              <a:gd name="connsiteX824" fmla="*/ 844568 w 1090712"/>
              <a:gd name="connsiteY824" fmla="*/ 142555 h 895572"/>
              <a:gd name="connsiteX825" fmla="*/ 838390 w 1090712"/>
              <a:gd name="connsiteY825" fmla="*/ 138516 h 895572"/>
              <a:gd name="connsiteX826" fmla="*/ 831738 w 1090712"/>
              <a:gd name="connsiteY826" fmla="*/ 134952 h 895572"/>
              <a:gd name="connsiteX827" fmla="*/ 824610 w 1090712"/>
              <a:gd name="connsiteY827" fmla="*/ 132338 h 895572"/>
              <a:gd name="connsiteX828" fmla="*/ 817007 w 1090712"/>
              <a:gd name="connsiteY828" fmla="*/ 129963 h 895572"/>
              <a:gd name="connsiteX829" fmla="*/ 808929 w 1090712"/>
              <a:gd name="connsiteY829" fmla="*/ 128774 h 895572"/>
              <a:gd name="connsiteX830" fmla="*/ 806791 w 1090712"/>
              <a:gd name="connsiteY830" fmla="*/ 128299 h 895572"/>
              <a:gd name="connsiteX831" fmla="*/ 804652 w 1090712"/>
              <a:gd name="connsiteY831" fmla="*/ 127824 h 895572"/>
              <a:gd name="connsiteX832" fmla="*/ 802752 w 1090712"/>
              <a:gd name="connsiteY832" fmla="*/ 126399 h 895572"/>
              <a:gd name="connsiteX833" fmla="*/ 801089 w 1090712"/>
              <a:gd name="connsiteY833" fmla="*/ 125211 h 895572"/>
              <a:gd name="connsiteX834" fmla="*/ 799663 w 1090712"/>
              <a:gd name="connsiteY834" fmla="*/ 123310 h 895572"/>
              <a:gd name="connsiteX835" fmla="*/ 798713 w 1090712"/>
              <a:gd name="connsiteY835" fmla="*/ 121647 h 895572"/>
              <a:gd name="connsiteX836" fmla="*/ 798000 w 1090712"/>
              <a:gd name="connsiteY836" fmla="*/ 119271 h 895572"/>
              <a:gd name="connsiteX837" fmla="*/ 798000 w 1090712"/>
              <a:gd name="connsiteY837" fmla="*/ 117608 h 895572"/>
              <a:gd name="connsiteX838" fmla="*/ 785408 w 1090712"/>
              <a:gd name="connsiteY838" fmla="*/ 106916 h 895572"/>
              <a:gd name="connsiteX839" fmla="*/ 772578 w 1090712"/>
              <a:gd name="connsiteY839" fmla="*/ 95749 h 895572"/>
              <a:gd name="connsiteX840" fmla="*/ 747155 w 1090712"/>
              <a:gd name="connsiteY840" fmla="*/ 72703 h 895572"/>
              <a:gd name="connsiteX841" fmla="*/ 733850 w 1090712"/>
              <a:gd name="connsiteY841" fmla="*/ 61061 h 895572"/>
              <a:gd name="connsiteX842" fmla="*/ 720545 w 1090712"/>
              <a:gd name="connsiteY842" fmla="*/ 49894 h 895572"/>
              <a:gd name="connsiteX843" fmla="*/ 706765 w 1090712"/>
              <a:gd name="connsiteY843" fmla="*/ 38728 h 895572"/>
              <a:gd name="connsiteX844" fmla="*/ 692510 w 1090712"/>
              <a:gd name="connsiteY844" fmla="*/ 28036 h 895572"/>
              <a:gd name="connsiteX845" fmla="*/ 679442 w 1090712"/>
              <a:gd name="connsiteY845" fmla="*/ 21859 h 895572"/>
              <a:gd name="connsiteX846" fmla="*/ 666137 w 1090712"/>
              <a:gd name="connsiteY846" fmla="*/ 16632 h 895572"/>
              <a:gd name="connsiteX847" fmla="*/ 652832 w 1090712"/>
              <a:gd name="connsiteY847" fmla="*/ 11642 h 895572"/>
              <a:gd name="connsiteX848" fmla="*/ 639527 w 1090712"/>
              <a:gd name="connsiteY848" fmla="*/ 7603 h 895572"/>
              <a:gd name="connsiteX849" fmla="*/ 626222 w 1090712"/>
              <a:gd name="connsiteY849" fmla="*/ 4514 h 895572"/>
              <a:gd name="connsiteX850" fmla="*/ 612917 w 1090712"/>
              <a:gd name="connsiteY850" fmla="*/ 1901 h 895572"/>
              <a:gd name="connsiteX851" fmla="*/ 599374 w 1090712"/>
              <a:gd name="connsiteY851" fmla="*/ 475 h 89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Lst>
            <a:rect l="l" t="t" r="r" b="b"/>
            <a:pathLst>
              <a:path w="1090712" h="895572">
                <a:moveTo>
                  <a:pt x="603413" y="721327"/>
                </a:moveTo>
                <a:lnTo>
                  <a:pt x="578466" y="770746"/>
                </a:lnTo>
                <a:lnTo>
                  <a:pt x="553519" y="818264"/>
                </a:lnTo>
                <a:lnTo>
                  <a:pt x="528334" y="865069"/>
                </a:lnTo>
                <a:lnTo>
                  <a:pt x="511825" y="895572"/>
                </a:lnTo>
                <a:lnTo>
                  <a:pt x="624528" y="895572"/>
                </a:lnTo>
                <a:lnTo>
                  <a:pt x="624796" y="894768"/>
                </a:lnTo>
                <a:lnTo>
                  <a:pt x="625271" y="891679"/>
                </a:lnTo>
                <a:lnTo>
                  <a:pt x="625747" y="889066"/>
                </a:lnTo>
                <a:lnTo>
                  <a:pt x="625747" y="860555"/>
                </a:lnTo>
                <a:lnTo>
                  <a:pt x="624796" y="833945"/>
                </a:lnTo>
                <a:lnTo>
                  <a:pt x="624321" y="820877"/>
                </a:lnTo>
                <a:lnTo>
                  <a:pt x="623608" y="808047"/>
                </a:lnTo>
                <a:lnTo>
                  <a:pt x="621708" y="795218"/>
                </a:lnTo>
                <a:lnTo>
                  <a:pt x="620044" y="782625"/>
                </a:lnTo>
                <a:lnTo>
                  <a:pt x="616005" y="766707"/>
                </a:lnTo>
                <a:lnTo>
                  <a:pt x="611966" y="751976"/>
                </a:lnTo>
                <a:lnTo>
                  <a:pt x="607452" y="737245"/>
                </a:lnTo>
                <a:close/>
                <a:moveTo>
                  <a:pt x="698212" y="530778"/>
                </a:moveTo>
                <a:lnTo>
                  <a:pt x="693460" y="534818"/>
                </a:lnTo>
                <a:lnTo>
                  <a:pt x="688471" y="538857"/>
                </a:lnTo>
                <a:lnTo>
                  <a:pt x="678254" y="546935"/>
                </a:lnTo>
                <a:lnTo>
                  <a:pt x="669226" y="553587"/>
                </a:lnTo>
                <a:lnTo>
                  <a:pt x="663048" y="558814"/>
                </a:lnTo>
                <a:lnTo>
                  <a:pt x="663048" y="556676"/>
                </a:lnTo>
                <a:lnTo>
                  <a:pt x="663523" y="554538"/>
                </a:lnTo>
                <a:lnTo>
                  <a:pt x="665424" y="550498"/>
                </a:lnTo>
                <a:lnTo>
                  <a:pt x="668038" y="546459"/>
                </a:lnTo>
                <a:lnTo>
                  <a:pt x="671602" y="542420"/>
                </a:lnTo>
                <a:lnTo>
                  <a:pt x="676829" y="538857"/>
                </a:lnTo>
                <a:lnTo>
                  <a:pt x="682768" y="535768"/>
                </a:lnTo>
                <a:lnTo>
                  <a:pt x="689896" y="533154"/>
                </a:lnTo>
                <a:close/>
                <a:moveTo>
                  <a:pt x="654257" y="302216"/>
                </a:moveTo>
                <a:lnTo>
                  <a:pt x="651882" y="302691"/>
                </a:lnTo>
                <a:lnTo>
                  <a:pt x="649268" y="303166"/>
                </a:lnTo>
                <a:lnTo>
                  <a:pt x="647130" y="304354"/>
                </a:lnTo>
                <a:lnTo>
                  <a:pt x="644516" y="306255"/>
                </a:lnTo>
                <a:lnTo>
                  <a:pt x="642140" y="307918"/>
                </a:lnTo>
                <a:lnTo>
                  <a:pt x="640002" y="310294"/>
                </a:lnTo>
                <a:lnTo>
                  <a:pt x="638101" y="312432"/>
                </a:lnTo>
                <a:lnTo>
                  <a:pt x="636913" y="314571"/>
                </a:lnTo>
                <a:lnTo>
                  <a:pt x="635963" y="316946"/>
                </a:lnTo>
                <a:lnTo>
                  <a:pt x="635963" y="319085"/>
                </a:lnTo>
                <a:lnTo>
                  <a:pt x="636913" y="321223"/>
                </a:lnTo>
                <a:lnTo>
                  <a:pt x="637626" y="324074"/>
                </a:lnTo>
                <a:lnTo>
                  <a:pt x="639527" y="326688"/>
                </a:lnTo>
                <a:lnTo>
                  <a:pt x="643091" y="331677"/>
                </a:lnTo>
                <a:lnTo>
                  <a:pt x="647130" y="335954"/>
                </a:lnTo>
                <a:lnTo>
                  <a:pt x="655920" y="330727"/>
                </a:lnTo>
                <a:lnTo>
                  <a:pt x="663999" y="324787"/>
                </a:lnTo>
                <a:lnTo>
                  <a:pt x="679917" y="313383"/>
                </a:lnTo>
                <a:lnTo>
                  <a:pt x="676354" y="311007"/>
                </a:lnTo>
                <a:lnTo>
                  <a:pt x="672790" y="308393"/>
                </a:lnTo>
                <a:lnTo>
                  <a:pt x="668988" y="306730"/>
                </a:lnTo>
                <a:lnTo>
                  <a:pt x="664949" y="304829"/>
                </a:lnTo>
                <a:lnTo>
                  <a:pt x="660910" y="303641"/>
                </a:lnTo>
                <a:lnTo>
                  <a:pt x="657346" y="302691"/>
                </a:lnTo>
                <a:close/>
                <a:moveTo>
                  <a:pt x="696549" y="252322"/>
                </a:moveTo>
                <a:lnTo>
                  <a:pt x="696786" y="259925"/>
                </a:lnTo>
                <a:lnTo>
                  <a:pt x="698212" y="266102"/>
                </a:lnTo>
                <a:lnTo>
                  <a:pt x="700113" y="272042"/>
                </a:lnTo>
                <a:lnTo>
                  <a:pt x="701776" y="276794"/>
                </a:lnTo>
                <a:lnTo>
                  <a:pt x="704389" y="280833"/>
                </a:lnTo>
                <a:lnTo>
                  <a:pt x="707240" y="284397"/>
                </a:lnTo>
                <a:lnTo>
                  <a:pt x="710329" y="287010"/>
                </a:lnTo>
                <a:lnTo>
                  <a:pt x="713418" y="289624"/>
                </a:lnTo>
                <a:lnTo>
                  <a:pt x="716506" y="291524"/>
                </a:lnTo>
                <a:lnTo>
                  <a:pt x="719595" y="293187"/>
                </a:lnTo>
                <a:lnTo>
                  <a:pt x="725772" y="295088"/>
                </a:lnTo>
                <a:lnTo>
                  <a:pt x="731237" y="296514"/>
                </a:lnTo>
                <a:lnTo>
                  <a:pt x="734801" y="296751"/>
                </a:lnTo>
                <a:lnTo>
                  <a:pt x="722209" y="303879"/>
                </a:lnTo>
                <a:lnTo>
                  <a:pt x="710804" y="311007"/>
                </a:lnTo>
                <a:lnTo>
                  <a:pt x="688471" y="324787"/>
                </a:lnTo>
                <a:lnTo>
                  <a:pt x="667563" y="339043"/>
                </a:lnTo>
                <a:lnTo>
                  <a:pt x="646179" y="352823"/>
                </a:lnTo>
                <a:lnTo>
                  <a:pt x="620044" y="313383"/>
                </a:lnTo>
                <a:lnTo>
                  <a:pt x="617668" y="312432"/>
                </a:lnTo>
                <a:lnTo>
                  <a:pt x="615055" y="312432"/>
                </a:lnTo>
                <a:lnTo>
                  <a:pt x="612441" y="313383"/>
                </a:lnTo>
                <a:lnTo>
                  <a:pt x="609353" y="314095"/>
                </a:lnTo>
                <a:lnTo>
                  <a:pt x="602938" y="316946"/>
                </a:lnTo>
                <a:lnTo>
                  <a:pt x="599849" y="317659"/>
                </a:lnTo>
                <a:lnTo>
                  <a:pt x="596760" y="318610"/>
                </a:lnTo>
                <a:lnTo>
                  <a:pt x="607927" y="307205"/>
                </a:lnTo>
                <a:lnTo>
                  <a:pt x="618619" y="295088"/>
                </a:lnTo>
                <a:lnTo>
                  <a:pt x="623846" y="289386"/>
                </a:lnTo>
                <a:lnTo>
                  <a:pt x="629786" y="283921"/>
                </a:lnTo>
                <a:lnTo>
                  <a:pt x="635963" y="278694"/>
                </a:lnTo>
                <a:lnTo>
                  <a:pt x="642140" y="273705"/>
                </a:lnTo>
                <a:lnTo>
                  <a:pt x="648793" y="269191"/>
                </a:lnTo>
                <a:lnTo>
                  <a:pt x="655446" y="265627"/>
                </a:lnTo>
                <a:lnTo>
                  <a:pt x="662098" y="263013"/>
                </a:lnTo>
                <a:lnTo>
                  <a:pt x="668988" y="260400"/>
                </a:lnTo>
                <a:lnTo>
                  <a:pt x="682768" y="256361"/>
                </a:lnTo>
                <a:close/>
                <a:moveTo>
                  <a:pt x="1030602" y="200289"/>
                </a:moveTo>
                <a:lnTo>
                  <a:pt x="1027513" y="207892"/>
                </a:lnTo>
                <a:lnTo>
                  <a:pt x="1023949" y="214545"/>
                </a:lnTo>
                <a:lnTo>
                  <a:pt x="1019910" y="221197"/>
                </a:lnTo>
                <a:lnTo>
                  <a:pt x="1015396" y="226899"/>
                </a:lnTo>
                <a:lnTo>
                  <a:pt x="1011119" y="232839"/>
                </a:lnTo>
                <a:lnTo>
                  <a:pt x="1006130" y="237591"/>
                </a:lnTo>
                <a:lnTo>
                  <a:pt x="1001140" y="242105"/>
                </a:lnTo>
                <a:lnTo>
                  <a:pt x="996388" y="246144"/>
                </a:lnTo>
                <a:lnTo>
                  <a:pt x="990924" y="249708"/>
                </a:lnTo>
                <a:lnTo>
                  <a:pt x="985697" y="252797"/>
                </a:lnTo>
                <a:lnTo>
                  <a:pt x="980232" y="254935"/>
                </a:lnTo>
                <a:lnTo>
                  <a:pt x="975005" y="256836"/>
                </a:lnTo>
                <a:lnTo>
                  <a:pt x="969541" y="258262"/>
                </a:lnTo>
                <a:lnTo>
                  <a:pt x="963839" y="258499"/>
                </a:lnTo>
                <a:lnTo>
                  <a:pt x="958612" y="258499"/>
                </a:lnTo>
                <a:lnTo>
                  <a:pt x="953622" y="257786"/>
                </a:lnTo>
                <a:lnTo>
                  <a:pt x="970966" y="244006"/>
                </a:lnTo>
                <a:lnTo>
                  <a:pt x="990211" y="229275"/>
                </a:lnTo>
                <a:lnTo>
                  <a:pt x="1010169" y="214069"/>
                </a:lnTo>
                <a:lnTo>
                  <a:pt x="1020385" y="206942"/>
                </a:lnTo>
                <a:close/>
                <a:moveTo>
                  <a:pt x="389581" y="176768"/>
                </a:moveTo>
                <a:lnTo>
                  <a:pt x="397422" y="177243"/>
                </a:lnTo>
                <a:lnTo>
                  <a:pt x="414766" y="178906"/>
                </a:lnTo>
                <a:lnTo>
                  <a:pt x="405500" y="179856"/>
                </a:lnTo>
                <a:lnTo>
                  <a:pt x="396946" y="181995"/>
                </a:lnTo>
                <a:lnTo>
                  <a:pt x="389581" y="184371"/>
                </a:lnTo>
                <a:lnTo>
                  <a:pt x="381978" y="186984"/>
                </a:lnTo>
                <a:lnTo>
                  <a:pt x="375326" y="190548"/>
                </a:lnTo>
                <a:lnTo>
                  <a:pt x="368911" y="194112"/>
                </a:lnTo>
                <a:lnTo>
                  <a:pt x="363208" y="198626"/>
                </a:lnTo>
                <a:lnTo>
                  <a:pt x="357981" y="202903"/>
                </a:lnTo>
                <a:lnTo>
                  <a:pt x="352517" y="208367"/>
                </a:lnTo>
                <a:lnTo>
                  <a:pt x="348003" y="214070"/>
                </a:lnTo>
                <a:lnTo>
                  <a:pt x="343726" y="220247"/>
                </a:lnTo>
                <a:lnTo>
                  <a:pt x="339687" y="226662"/>
                </a:lnTo>
                <a:lnTo>
                  <a:pt x="335648" y="233790"/>
                </a:lnTo>
                <a:lnTo>
                  <a:pt x="332559" y="240917"/>
                </a:lnTo>
                <a:lnTo>
                  <a:pt x="328995" y="248758"/>
                </a:lnTo>
                <a:lnTo>
                  <a:pt x="325907" y="256836"/>
                </a:lnTo>
                <a:lnTo>
                  <a:pt x="325432" y="252797"/>
                </a:lnTo>
                <a:lnTo>
                  <a:pt x="324956" y="248283"/>
                </a:lnTo>
                <a:lnTo>
                  <a:pt x="323056" y="239492"/>
                </a:lnTo>
                <a:lnTo>
                  <a:pt x="320917" y="229275"/>
                </a:lnTo>
                <a:lnTo>
                  <a:pt x="320442" y="223811"/>
                </a:lnTo>
                <a:lnTo>
                  <a:pt x="319967" y="217633"/>
                </a:lnTo>
                <a:lnTo>
                  <a:pt x="314740" y="217633"/>
                </a:lnTo>
                <a:lnTo>
                  <a:pt x="302148" y="243056"/>
                </a:lnTo>
                <a:lnTo>
                  <a:pt x="289793" y="267528"/>
                </a:lnTo>
                <a:lnTo>
                  <a:pt x="277438" y="291049"/>
                </a:lnTo>
                <a:lnTo>
                  <a:pt x="264371" y="312907"/>
                </a:lnTo>
                <a:lnTo>
                  <a:pt x="267459" y="295088"/>
                </a:lnTo>
                <a:lnTo>
                  <a:pt x="271023" y="279170"/>
                </a:lnTo>
                <a:lnTo>
                  <a:pt x="274587" y="263964"/>
                </a:lnTo>
                <a:lnTo>
                  <a:pt x="279101" y="250183"/>
                </a:lnTo>
                <a:lnTo>
                  <a:pt x="284091" y="238066"/>
                </a:lnTo>
                <a:lnTo>
                  <a:pt x="289318" y="226900"/>
                </a:lnTo>
                <a:lnTo>
                  <a:pt x="292406" y="221673"/>
                </a:lnTo>
                <a:lnTo>
                  <a:pt x="295495" y="217158"/>
                </a:lnTo>
                <a:lnTo>
                  <a:pt x="298584" y="212406"/>
                </a:lnTo>
                <a:lnTo>
                  <a:pt x="302148" y="208367"/>
                </a:lnTo>
                <a:lnTo>
                  <a:pt x="305711" y="204328"/>
                </a:lnTo>
                <a:lnTo>
                  <a:pt x="309275" y="200765"/>
                </a:lnTo>
                <a:lnTo>
                  <a:pt x="313314" y="197201"/>
                </a:lnTo>
                <a:lnTo>
                  <a:pt x="317354" y="194112"/>
                </a:lnTo>
                <a:lnTo>
                  <a:pt x="321868" y="191498"/>
                </a:lnTo>
                <a:lnTo>
                  <a:pt x="326382" y="188647"/>
                </a:lnTo>
                <a:lnTo>
                  <a:pt x="330659" y="186509"/>
                </a:lnTo>
                <a:lnTo>
                  <a:pt x="335648" y="184371"/>
                </a:lnTo>
                <a:lnTo>
                  <a:pt x="340637" y="182470"/>
                </a:lnTo>
                <a:lnTo>
                  <a:pt x="345864" y="181282"/>
                </a:lnTo>
                <a:lnTo>
                  <a:pt x="351091" y="179856"/>
                </a:lnTo>
                <a:lnTo>
                  <a:pt x="357031" y="178431"/>
                </a:lnTo>
                <a:lnTo>
                  <a:pt x="368911" y="177243"/>
                </a:lnTo>
                <a:lnTo>
                  <a:pt x="381978" y="176768"/>
                </a:lnTo>
                <a:close/>
                <a:moveTo>
                  <a:pt x="609353" y="174629"/>
                </a:moveTo>
                <a:lnTo>
                  <a:pt x="602463" y="180807"/>
                </a:lnTo>
                <a:lnTo>
                  <a:pt x="596285" y="187459"/>
                </a:lnTo>
                <a:lnTo>
                  <a:pt x="583931" y="201715"/>
                </a:lnTo>
                <a:lnTo>
                  <a:pt x="571101" y="215495"/>
                </a:lnTo>
                <a:lnTo>
                  <a:pt x="564686" y="222148"/>
                </a:lnTo>
                <a:lnTo>
                  <a:pt x="558508" y="228325"/>
                </a:lnTo>
                <a:lnTo>
                  <a:pt x="557558" y="223335"/>
                </a:lnTo>
                <a:lnTo>
                  <a:pt x="557083" y="219059"/>
                </a:lnTo>
                <a:lnTo>
                  <a:pt x="557083" y="215020"/>
                </a:lnTo>
                <a:lnTo>
                  <a:pt x="557558" y="210981"/>
                </a:lnTo>
                <a:lnTo>
                  <a:pt x="558508" y="207417"/>
                </a:lnTo>
                <a:lnTo>
                  <a:pt x="560409" y="203853"/>
                </a:lnTo>
                <a:lnTo>
                  <a:pt x="562072" y="200764"/>
                </a:lnTo>
                <a:lnTo>
                  <a:pt x="564686" y="197676"/>
                </a:lnTo>
                <a:lnTo>
                  <a:pt x="567774" y="194587"/>
                </a:lnTo>
                <a:lnTo>
                  <a:pt x="571813" y="191973"/>
                </a:lnTo>
                <a:lnTo>
                  <a:pt x="576328" y="188647"/>
                </a:lnTo>
                <a:lnTo>
                  <a:pt x="581317" y="186034"/>
                </a:lnTo>
                <a:lnTo>
                  <a:pt x="587019" y="183420"/>
                </a:lnTo>
                <a:lnTo>
                  <a:pt x="593672" y="180332"/>
                </a:lnTo>
                <a:close/>
                <a:moveTo>
                  <a:pt x="586544" y="0"/>
                </a:moveTo>
                <a:lnTo>
                  <a:pt x="570150" y="2851"/>
                </a:lnTo>
                <a:lnTo>
                  <a:pt x="553519" y="5940"/>
                </a:lnTo>
                <a:lnTo>
                  <a:pt x="536650" y="10454"/>
                </a:lnTo>
                <a:lnTo>
                  <a:pt x="520256" y="14731"/>
                </a:lnTo>
                <a:lnTo>
                  <a:pt x="486993" y="24472"/>
                </a:lnTo>
                <a:lnTo>
                  <a:pt x="469887" y="28986"/>
                </a:lnTo>
                <a:lnTo>
                  <a:pt x="453493" y="33500"/>
                </a:lnTo>
                <a:lnTo>
                  <a:pt x="438762" y="40153"/>
                </a:lnTo>
                <a:lnTo>
                  <a:pt x="424507" y="47281"/>
                </a:lnTo>
                <a:lnTo>
                  <a:pt x="417379" y="51320"/>
                </a:lnTo>
                <a:lnTo>
                  <a:pt x="410727" y="55834"/>
                </a:lnTo>
                <a:lnTo>
                  <a:pt x="403599" y="60111"/>
                </a:lnTo>
                <a:lnTo>
                  <a:pt x="397422" y="65100"/>
                </a:lnTo>
                <a:lnTo>
                  <a:pt x="390769" y="69852"/>
                </a:lnTo>
                <a:lnTo>
                  <a:pt x="384592" y="75792"/>
                </a:lnTo>
                <a:lnTo>
                  <a:pt x="378889" y="81494"/>
                </a:lnTo>
                <a:lnTo>
                  <a:pt x="372950" y="87671"/>
                </a:lnTo>
                <a:lnTo>
                  <a:pt x="367723" y="94324"/>
                </a:lnTo>
                <a:lnTo>
                  <a:pt x="362733" y="101452"/>
                </a:lnTo>
                <a:lnTo>
                  <a:pt x="357981" y="109055"/>
                </a:lnTo>
                <a:lnTo>
                  <a:pt x="353467" y="117608"/>
                </a:lnTo>
                <a:lnTo>
                  <a:pt x="409064" y="117608"/>
                </a:lnTo>
                <a:lnTo>
                  <a:pt x="406925" y="119271"/>
                </a:lnTo>
                <a:lnTo>
                  <a:pt x="404074" y="121647"/>
                </a:lnTo>
                <a:lnTo>
                  <a:pt x="400510" y="123310"/>
                </a:lnTo>
                <a:lnTo>
                  <a:pt x="397422" y="125211"/>
                </a:lnTo>
                <a:lnTo>
                  <a:pt x="393383" y="126399"/>
                </a:lnTo>
                <a:lnTo>
                  <a:pt x="389581" y="127824"/>
                </a:lnTo>
                <a:lnTo>
                  <a:pt x="385542" y="128299"/>
                </a:lnTo>
                <a:lnTo>
                  <a:pt x="381503" y="128774"/>
                </a:lnTo>
                <a:lnTo>
                  <a:pt x="375326" y="130438"/>
                </a:lnTo>
                <a:lnTo>
                  <a:pt x="368435" y="131863"/>
                </a:lnTo>
                <a:lnTo>
                  <a:pt x="361783" y="133051"/>
                </a:lnTo>
                <a:lnTo>
                  <a:pt x="355606" y="134001"/>
                </a:lnTo>
                <a:lnTo>
                  <a:pt x="342300" y="135427"/>
                </a:lnTo>
                <a:lnTo>
                  <a:pt x="329471" y="137090"/>
                </a:lnTo>
                <a:lnTo>
                  <a:pt x="322818" y="138040"/>
                </a:lnTo>
                <a:lnTo>
                  <a:pt x="316403" y="139704"/>
                </a:lnTo>
                <a:lnTo>
                  <a:pt x="310226" y="141604"/>
                </a:lnTo>
                <a:lnTo>
                  <a:pt x="304048" y="144218"/>
                </a:lnTo>
                <a:lnTo>
                  <a:pt x="298346" y="147307"/>
                </a:lnTo>
                <a:lnTo>
                  <a:pt x="292406" y="151346"/>
                </a:lnTo>
                <a:lnTo>
                  <a:pt x="286704" y="156335"/>
                </a:lnTo>
                <a:lnTo>
                  <a:pt x="281240" y="162037"/>
                </a:lnTo>
                <a:lnTo>
                  <a:pt x="262232" y="182945"/>
                </a:lnTo>
                <a:lnTo>
                  <a:pt x="242987" y="203378"/>
                </a:lnTo>
                <a:lnTo>
                  <a:pt x="203547" y="244006"/>
                </a:lnTo>
                <a:lnTo>
                  <a:pt x="183827" y="264439"/>
                </a:lnTo>
                <a:lnTo>
                  <a:pt x="164345" y="285822"/>
                </a:lnTo>
                <a:lnTo>
                  <a:pt x="144862" y="307443"/>
                </a:lnTo>
                <a:lnTo>
                  <a:pt x="126093" y="329777"/>
                </a:lnTo>
                <a:lnTo>
                  <a:pt x="122054" y="335004"/>
                </a:lnTo>
                <a:lnTo>
                  <a:pt x="118015" y="340468"/>
                </a:lnTo>
                <a:lnTo>
                  <a:pt x="110887" y="352110"/>
                </a:lnTo>
                <a:lnTo>
                  <a:pt x="104709" y="363514"/>
                </a:lnTo>
                <a:lnTo>
                  <a:pt x="99007" y="375156"/>
                </a:lnTo>
                <a:lnTo>
                  <a:pt x="87840" y="400103"/>
                </a:lnTo>
                <a:lnTo>
                  <a:pt x="82138" y="412458"/>
                </a:lnTo>
                <a:lnTo>
                  <a:pt x="75723" y="425050"/>
                </a:lnTo>
                <a:lnTo>
                  <a:pt x="75723" y="429802"/>
                </a:lnTo>
                <a:lnTo>
                  <a:pt x="76674" y="436217"/>
                </a:lnTo>
                <a:lnTo>
                  <a:pt x="77149" y="439306"/>
                </a:lnTo>
                <a:lnTo>
                  <a:pt x="78574" y="442395"/>
                </a:lnTo>
                <a:lnTo>
                  <a:pt x="79762" y="445008"/>
                </a:lnTo>
                <a:lnTo>
                  <a:pt x="81663" y="447147"/>
                </a:lnTo>
                <a:lnTo>
                  <a:pt x="94018" y="468055"/>
                </a:lnTo>
                <a:lnTo>
                  <a:pt x="106848" y="488963"/>
                </a:lnTo>
                <a:lnTo>
                  <a:pt x="113975" y="499654"/>
                </a:lnTo>
                <a:lnTo>
                  <a:pt x="121103" y="510346"/>
                </a:lnTo>
                <a:lnTo>
                  <a:pt x="128706" y="520562"/>
                </a:lnTo>
                <a:lnTo>
                  <a:pt x="137259" y="531254"/>
                </a:lnTo>
                <a:lnTo>
                  <a:pt x="149614" y="514385"/>
                </a:lnTo>
                <a:lnTo>
                  <a:pt x="162206" y="498466"/>
                </a:lnTo>
                <a:lnTo>
                  <a:pt x="174561" y="483260"/>
                </a:lnTo>
                <a:lnTo>
                  <a:pt x="180739" y="476133"/>
                </a:lnTo>
                <a:lnTo>
                  <a:pt x="186916" y="469480"/>
                </a:lnTo>
                <a:lnTo>
                  <a:pt x="182639" y="482310"/>
                </a:lnTo>
                <a:lnTo>
                  <a:pt x="178125" y="495615"/>
                </a:lnTo>
                <a:lnTo>
                  <a:pt x="172423" y="509871"/>
                </a:lnTo>
                <a:lnTo>
                  <a:pt x="164820" y="525552"/>
                </a:lnTo>
                <a:lnTo>
                  <a:pt x="156267" y="538381"/>
                </a:lnTo>
                <a:lnTo>
                  <a:pt x="152703" y="544559"/>
                </a:lnTo>
                <a:lnTo>
                  <a:pt x="148664" y="551449"/>
                </a:lnTo>
                <a:lnTo>
                  <a:pt x="145100" y="558339"/>
                </a:lnTo>
                <a:lnTo>
                  <a:pt x="142011" y="565467"/>
                </a:lnTo>
                <a:lnTo>
                  <a:pt x="139398" y="573070"/>
                </a:lnTo>
                <a:lnTo>
                  <a:pt x="137259" y="581623"/>
                </a:lnTo>
                <a:lnTo>
                  <a:pt x="136309" y="583761"/>
                </a:lnTo>
                <a:lnTo>
                  <a:pt x="135359" y="586137"/>
                </a:lnTo>
                <a:lnTo>
                  <a:pt x="134883" y="590889"/>
                </a:lnTo>
                <a:lnTo>
                  <a:pt x="134883" y="595879"/>
                </a:lnTo>
                <a:lnTo>
                  <a:pt x="135359" y="601106"/>
                </a:lnTo>
                <a:lnTo>
                  <a:pt x="136784" y="606095"/>
                </a:lnTo>
                <a:lnTo>
                  <a:pt x="138447" y="611322"/>
                </a:lnTo>
                <a:lnTo>
                  <a:pt x="140348" y="616311"/>
                </a:lnTo>
                <a:lnTo>
                  <a:pt x="142486" y="620826"/>
                </a:lnTo>
                <a:lnTo>
                  <a:pt x="148664" y="629616"/>
                </a:lnTo>
                <a:lnTo>
                  <a:pt x="155554" y="637219"/>
                </a:lnTo>
                <a:lnTo>
                  <a:pt x="162444" y="643872"/>
                </a:lnTo>
                <a:lnTo>
                  <a:pt x="169572" y="649099"/>
                </a:lnTo>
                <a:lnTo>
                  <a:pt x="177175" y="653613"/>
                </a:lnTo>
                <a:lnTo>
                  <a:pt x="184778" y="657177"/>
                </a:lnTo>
                <a:lnTo>
                  <a:pt x="192856" y="659553"/>
                </a:lnTo>
                <a:lnTo>
                  <a:pt x="200934" y="661216"/>
                </a:lnTo>
                <a:lnTo>
                  <a:pt x="209250" y="661691"/>
                </a:lnTo>
                <a:lnTo>
                  <a:pt x="218278" y="661691"/>
                </a:lnTo>
                <a:lnTo>
                  <a:pt x="227069" y="660266"/>
                </a:lnTo>
                <a:lnTo>
                  <a:pt x="236335" y="658603"/>
                </a:lnTo>
                <a:lnTo>
                  <a:pt x="245838" y="655514"/>
                </a:lnTo>
                <a:lnTo>
                  <a:pt x="255580" y="652425"/>
                </a:lnTo>
                <a:lnTo>
                  <a:pt x="265321" y="647911"/>
                </a:lnTo>
                <a:lnTo>
                  <a:pt x="276013" y="642922"/>
                </a:lnTo>
                <a:lnTo>
                  <a:pt x="288367" y="635081"/>
                </a:lnTo>
                <a:lnTo>
                  <a:pt x="301910" y="627478"/>
                </a:lnTo>
                <a:lnTo>
                  <a:pt x="315215" y="620350"/>
                </a:lnTo>
                <a:lnTo>
                  <a:pt x="329471" y="613698"/>
                </a:lnTo>
                <a:lnTo>
                  <a:pt x="343726" y="607283"/>
                </a:lnTo>
                <a:lnTo>
                  <a:pt x="357981" y="602056"/>
                </a:lnTo>
                <a:lnTo>
                  <a:pt x="371999" y="597066"/>
                </a:lnTo>
                <a:lnTo>
                  <a:pt x="386730" y="592790"/>
                </a:lnTo>
                <a:lnTo>
                  <a:pt x="394808" y="590414"/>
                </a:lnTo>
                <a:lnTo>
                  <a:pt x="402411" y="587325"/>
                </a:lnTo>
                <a:lnTo>
                  <a:pt x="409064" y="583761"/>
                </a:lnTo>
                <a:lnTo>
                  <a:pt x="411677" y="581623"/>
                </a:lnTo>
                <a:lnTo>
                  <a:pt x="414766" y="579247"/>
                </a:lnTo>
                <a:lnTo>
                  <a:pt x="417142" y="577109"/>
                </a:lnTo>
                <a:lnTo>
                  <a:pt x="419280" y="574495"/>
                </a:lnTo>
                <a:lnTo>
                  <a:pt x="420943" y="571407"/>
                </a:lnTo>
                <a:lnTo>
                  <a:pt x="422844" y="568318"/>
                </a:lnTo>
                <a:lnTo>
                  <a:pt x="424269" y="565229"/>
                </a:lnTo>
                <a:lnTo>
                  <a:pt x="424982" y="561665"/>
                </a:lnTo>
                <a:lnTo>
                  <a:pt x="425457" y="557626"/>
                </a:lnTo>
                <a:lnTo>
                  <a:pt x="425932" y="553587"/>
                </a:lnTo>
                <a:lnTo>
                  <a:pt x="425932" y="413884"/>
                </a:lnTo>
                <a:lnTo>
                  <a:pt x="425932" y="285347"/>
                </a:lnTo>
                <a:lnTo>
                  <a:pt x="429496" y="300078"/>
                </a:lnTo>
                <a:lnTo>
                  <a:pt x="433060" y="314096"/>
                </a:lnTo>
                <a:lnTo>
                  <a:pt x="436149" y="328826"/>
                </a:lnTo>
                <a:lnTo>
                  <a:pt x="438762" y="343082"/>
                </a:lnTo>
                <a:lnTo>
                  <a:pt x="443752" y="370642"/>
                </a:lnTo>
                <a:lnTo>
                  <a:pt x="447791" y="397015"/>
                </a:lnTo>
                <a:lnTo>
                  <a:pt x="451830" y="421962"/>
                </a:lnTo>
                <a:lnTo>
                  <a:pt x="454919" y="446434"/>
                </a:lnTo>
                <a:lnTo>
                  <a:pt x="456106" y="458313"/>
                </a:lnTo>
                <a:lnTo>
                  <a:pt x="457057" y="470430"/>
                </a:lnTo>
                <a:lnTo>
                  <a:pt x="457532" y="482310"/>
                </a:lnTo>
                <a:lnTo>
                  <a:pt x="457532" y="493952"/>
                </a:lnTo>
                <a:lnTo>
                  <a:pt x="457532" y="506069"/>
                </a:lnTo>
                <a:lnTo>
                  <a:pt x="456582" y="517473"/>
                </a:lnTo>
                <a:lnTo>
                  <a:pt x="455869" y="529116"/>
                </a:lnTo>
                <a:lnTo>
                  <a:pt x="453968" y="540757"/>
                </a:lnTo>
                <a:lnTo>
                  <a:pt x="452305" y="552162"/>
                </a:lnTo>
                <a:lnTo>
                  <a:pt x="449454" y="563804"/>
                </a:lnTo>
                <a:lnTo>
                  <a:pt x="446365" y="575446"/>
                </a:lnTo>
                <a:lnTo>
                  <a:pt x="442326" y="586850"/>
                </a:lnTo>
                <a:lnTo>
                  <a:pt x="440188" y="591364"/>
                </a:lnTo>
                <a:lnTo>
                  <a:pt x="437574" y="595403"/>
                </a:lnTo>
                <a:lnTo>
                  <a:pt x="434486" y="598967"/>
                </a:lnTo>
                <a:lnTo>
                  <a:pt x="431397" y="602531"/>
                </a:lnTo>
                <a:lnTo>
                  <a:pt x="428071" y="605145"/>
                </a:lnTo>
                <a:lnTo>
                  <a:pt x="424982" y="607283"/>
                </a:lnTo>
                <a:lnTo>
                  <a:pt x="422369" y="608708"/>
                </a:lnTo>
                <a:lnTo>
                  <a:pt x="420230" y="609659"/>
                </a:lnTo>
                <a:lnTo>
                  <a:pt x="410727" y="610847"/>
                </a:lnTo>
                <a:lnTo>
                  <a:pt x="401461" y="612748"/>
                </a:lnTo>
                <a:lnTo>
                  <a:pt x="392670" y="614886"/>
                </a:lnTo>
                <a:lnTo>
                  <a:pt x="383641" y="617262"/>
                </a:lnTo>
                <a:lnTo>
                  <a:pt x="374850" y="620350"/>
                </a:lnTo>
                <a:lnTo>
                  <a:pt x="365822" y="623914"/>
                </a:lnTo>
                <a:lnTo>
                  <a:pt x="348478" y="631042"/>
                </a:lnTo>
                <a:lnTo>
                  <a:pt x="331609" y="639358"/>
                </a:lnTo>
                <a:lnTo>
                  <a:pt x="314740" y="647911"/>
                </a:lnTo>
                <a:lnTo>
                  <a:pt x="281240" y="665255"/>
                </a:lnTo>
                <a:lnTo>
                  <a:pt x="274587" y="669294"/>
                </a:lnTo>
                <a:lnTo>
                  <a:pt x="267935" y="672858"/>
                </a:lnTo>
                <a:lnTo>
                  <a:pt x="261757" y="675947"/>
                </a:lnTo>
                <a:lnTo>
                  <a:pt x="255105" y="679035"/>
                </a:lnTo>
                <a:lnTo>
                  <a:pt x="248927" y="681174"/>
                </a:lnTo>
                <a:lnTo>
                  <a:pt x="242987" y="683075"/>
                </a:lnTo>
                <a:lnTo>
                  <a:pt x="236810" y="684738"/>
                </a:lnTo>
                <a:lnTo>
                  <a:pt x="231108" y="686163"/>
                </a:lnTo>
                <a:lnTo>
                  <a:pt x="225406" y="687114"/>
                </a:lnTo>
                <a:lnTo>
                  <a:pt x="219466" y="687589"/>
                </a:lnTo>
                <a:lnTo>
                  <a:pt x="213764" y="687589"/>
                </a:lnTo>
                <a:lnTo>
                  <a:pt x="208299" y="687589"/>
                </a:lnTo>
                <a:lnTo>
                  <a:pt x="203072" y="687114"/>
                </a:lnTo>
                <a:lnTo>
                  <a:pt x="197607" y="686163"/>
                </a:lnTo>
                <a:lnTo>
                  <a:pt x="192380" y="684738"/>
                </a:lnTo>
                <a:lnTo>
                  <a:pt x="186916" y="683550"/>
                </a:lnTo>
                <a:lnTo>
                  <a:pt x="181689" y="681649"/>
                </a:lnTo>
                <a:lnTo>
                  <a:pt x="176699" y="679986"/>
                </a:lnTo>
                <a:lnTo>
                  <a:pt x="171472" y="677610"/>
                </a:lnTo>
                <a:lnTo>
                  <a:pt x="166483" y="674996"/>
                </a:lnTo>
                <a:lnTo>
                  <a:pt x="156742" y="669294"/>
                </a:lnTo>
                <a:lnTo>
                  <a:pt x="147001" y="662167"/>
                </a:lnTo>
                <a:lnTo>
                  <a:pt x="137735" y="654564"/>
                </a:lnTo>
                <a:lnTo>
                  <a:pt x="127756" y="645535"/>
                </a:lnTo>
                <a:lnTo>
                  <a:pt x="118490" y="636269"/>
                </a:lnTo>
                <a:lnTo>
                  <a:pt x="109224" y="626053"/>
                </a:lnTo>
                <a:lnTo>
                  <a:pt x="107323" y="623914"/>
                </a:lnTo>
                <a:lnTo>
                  <a:pt x="106135" y="620350"/>
                </a:lnTo>
                <a:lnTo>
                  <a:pt x="105185" y="616311"/>
                </a:lnTo>
                <a:lnTo>
                  <a:pt x="105185" y="612272"/>
                </a:lnTo>
                <a:lnTo>
                  <a:pt x="105185" y="608233"/>
                </a:lnTo>
                <a:lnTo>
                  <a:pt x="106135" y="604194"/>
                </a:lnTo>
                <a:lnTo>
                  <a:pt x="107323" y="600630"/>
                </a:lnTo>
                <a:lnTo>
                  <a:pt x="109224" y="598017"/>
                </a:lnTo>
                <a:lnTo>
                  <a:pt x="111837" y="591840"/>
                </a:lnTo>
                <a:lnTo>
                  <a:pt x="113975" y="586137"/>
                </a:lnTo>
                <a:lnTo>
                  <a:pt x="115401" y="579722"/>
                </a:lnTo>
                <a:lnTo>
                  <a:pt x="115876" y="574020"/>
                </a:lnTo>
                <a:lnTo>
                  <a:pt x="115876" y="568318"/>
                </a:lnTo>
                <a:lnTo>
                  <a:pt x="115401" y="562378"/>
                </a:lnTo>
                <a:lnTo>
                  <a:pt x="114451" y="557151"/>
                </a:lnTo>
                <a:lnTo>
                  <a:pt x="112788" y="551449"/>
                </a:lnTo>
                <a:lnTo>
                  <a:pt x="110412" y="545984"/>
                </a:lnTo>
                <a:lnTo>
                  <a:pt x="108273" y="540757"/>
                </a:lnTo>
                <a:lnTo>
                  <a:pt x="105185" y="535293"/>
                </a:lnTo>
                <a:lnTo>
                  <a:pt x="102096" y="530066"/>
                </a:lnTo>
                <a:lnTo>
                  <a:pt x="94968" y="519374"/>
                </a:lnTo>
                <a:lnTo>
                  <a:pt x="86890" y="508683"/>
                </a:lnTo>
                <a:lnTo>
                  <a:pt x="78812" y="497991"/>
                </a:lnTo>
                <a:lnTo>
                  <a:pt x="70972" y="486824"/>
                </a:lnTo>
                <a:lnTo>
                  <a:pt x="67408" y="481122"/>
                </a:lnTo>
                <a:lnTo>
                  <a:pt x="64319" y="474707"/>
                </a:lnTo>
                <a:lnTo>
                  <a:pt x="61230" y="469005"/>
                </a:lnTo>
                <a:lnTo>
                  <a:pt x="58379" y="462828"/>
                </a:lnTo>
                <a:lnTo>
                  <a:pt x="56716" y="456175"/>
                </a:lnTo>
                <a:lnTo>
                  <a:pt x="54815" y="449998"/>
                </a:lnTo>
                <a:lnTo>
                  <a:pt x="54103" y="443345"/>
                </a:lnTo>
                <a:lnTo>
                  <a:pt x="53627" y="436455"/>
                </a:lnTo>
                <a:lnTo>
                  <a:pt x="53627" y="429327"/>
                </a:lnTo>
                <a:lnTo>
                  <a:pt x="54815" y="422675"/>
                </a:lnTo>
                <a:lnTo>
                  <a:pt x="56716" y="415547"/>
                </a:lnTo>
                <a:lnTo>
                  <a:pt x="59330" y="408182"/>
                </a:lnTo>
                <a:lnTo>
                  <a:pt x="60280" y="403192"/>
                </a:lnTo>
                <a:lnTo>
                  <a:pt x="61943" y="397965"/>
                </a:lnTo>
                <a:lnTo>
                  <a:pt x="65507" y="387986"/>
                </a:lnTo>
                <a:lnTo>
                  <a:pt x="69546" y="378720"/>
                </a:lnTo>
                <a:lnTo>
                  <a:pt x="74535" y="369929"/>
                </a:lnTo>
                <a:lnTo>
                  <a:pt x="79762" y="360901"/>
                </a:lnTo>
                <a:lnTo>
                  <a:pt x="85940" y="352585"/>
                </a:lnTo>
                <a:lnTo>
                  <a:pt x="98057" y="335479"/>
                </a:lnTo>
                <a:lnTo>
                  <a:pt x="102571" y="328113"/>
                </a:lnTo>
                <a:lnTo>
                  <a:pt x="106848" y="320986"/>
                </a:lnTo>
                <a:lnTo>
                  <a:pt x="116827" y="307205"/>
                </a:lnTo>
                <a:lnTo>
                  <a:pt x="127043" y="293188"/>
                </a:lnTo>
                <a:lnTo>
                  <a:pt x="137735" y="279407"/>
                </a:lnTo>
                <a:lnTo>
                  <a:pt x="159831" y="251847"/>
                </a:lnTo>
                <a:lnTo>
                  <a:pt x="170522" y="238066"/>
                </a:lnTo>
                <a:lnTo>
                  <a:pt x="181214" y="223336"/>
                </a:lnTo>
                <a:lnTo>
                  <a:pt x="164820" y="223336"/>
                </a:lnTo>
                <a:lnTo>
                  <a:pt x="137972" y="230226"/>
                </a:lnTo>
                <a:lnTo>
                  <a:pt x="125142" y="233790"/>
                </a:lnTo>
                <a:lnTo>
                  <a:pt x="112788" y="237591"/>
                </a:lnTo>
                <a:lnTo>
                  <a:pt x="100195" y="241630"/>
                </a:lnTo>
                <a:lnTo>
                  <a:pt x="87840" y="245669"/>
                </a:lnTo>
                <a:lnTo>
                  <a:pt x="75723" y="250183"/>
                </a:lnTo>
                <a:lnTo>
                  <a:pt x="64319" y="254935"/>
                </a:lnTo>
                <a:lnTo>
                  <a:pt x="52677" y="260400"/>
                </a:lnTo>
                <a:lnTo>
                  <a:pt x="41035" y="265627"/>
                </a:lnTo>
                <a:lnTo>
                  <a:pt x="29868" y="271567"/>
                </a:lnTo>
                <a:lnTo>
                  <a:pt x="18939" y="277744"/>
                </a:lnTo>
                <a:lnTo>
                  <a:pt x="7772" y="284397"/>
                </a:lnTo>
                <a:lnTo>
                  <a:pt x="0" y="289924"/>
                </a:lnTo>
                <a:lnTo>
                  <a:pt x="0" y="895572"/>
                </a:lnTo>
                <a:lnTo>
                  <a:pt x="125653" y="895572"/>
                </a:lnTo>
                <a:lnTo>
                  <a:pt x="127756" y="892155"/>
                </a:lnTo>
                <a:lnTo>
                  <a:pt x="131082" y="885502"/>
                </a:lnTo>
                <a:lnTo>
                  <a:pt x="133696" y="878374"/>
                </a:lnTo>
                <a:lnTo>
                  <a:pt x="135834" y="871722"/>
                </a:lnTo>
                <a:lnTo>
                  <a:pt x="137735" y="864594"/>
                </a:lnTo>
                <a:lnTo>
                  <a:pt x="138923" y="857466"/>
                </a:lnTo>
                <a:lnTo>
                  <a:pt x="140348" y="850339"/>
                </a:lnTo>
                <a:lnTo>
                  <a:pt x="141298" y="843211"/>
                </a:lnTo>
                <a:lnTo>
                  <a:pt x="142011" y="828955"/>
                </a:lnTo>
                <a:lnTo>
                  <a:pt x="142486" y="814225"/>
                </a:lnTo>
                <a:lnTo>
                  <a:pt x="142486" y="799494"/>
                </a:lnTo>
                <a:lnTo>
                  <a:pt x="142486" y="782625"/>
                </a:lnTo>
                <a:lnTo>
                  <a:pt x="142486" y="771458"/>
                </a:lnTo>
                <a:lnTo>
                  <a:pt x="143912" y="778586"/>
                </a:lnTo>
                <a:lnTo>
                  <a:pt x="145100" y="784526"/>
                </a:lnTo>
                <a:lnTo>
                  <a:pt x="147476" y="789753"/>
                </a:lnTo>
                <a:lnTo>
                  <a:pt x="149614" y="794267"/>
                </a:lnTo>
                <a:lnTo>
                  <a:pt x="152228" y="797831"/>
                </a:lnTo>
                <a:lnTo>
                  <a:pt x="155554" y="801395"/>
                </a:lnTo>
                <a:lnTo>
                  <a:pt x="158643" y="803533"/>
                </a:lnTo>
                <a:lnTo>
                  <a:pt x="162206" y="805909"/>
                </a:lnTo>
                <a:lnTo>
                  <a:pt x="165770" y="807572"/>
                </a:lnTo>
                <a:lnTo>
                  <a:pt x="169572" y="808523"/>
                </a:lnTo>
                <a:lnTo>
                  <a:pt x="174086" y="809473"/>
                </a:lnTo>
                <a:lnTo>
                  <a:pt x="178600" y="810186"/>
                </a:lnTo>
                <a:lnTo>
                  <a:pt x="187866" y="810661"/>
                </a:lnTo>
                <a:lnTo>
                  <a:pt x="198083" y="810661"/>
                </a:lnTo>
                <a:lnTo>
                  <a:pt x="236810" y="810661"/>
                </a:lnTo>
                <a:lnTo>
                  <a:pt x="249640" y="811136"/>
                </a:lnTo>
                <a:lnTo>
                  <a:pt x="263183" y="811611"/>
                </a:lnTo>
                <a:lnTo>
                  <a:pt x="270310" y="811611"/>
                </a:lnTo>
                <a:lnTo>
                  <a:pt x="276963" y="811136"/>
                </a:lnTo>
                <a:lnTo>
                  <a:pt x="283140" y="810186"/>
                </a:lnTo>
                <a:lnTo>
                  <a:pt x="289793" y="808523"/>
                </a:lnTo>
                <a:lnTo>
                  <a:pt x="295495" y="806147"/>
                </a:lnTo>
                <a:lnTo>
                  <a:pt x="301435" y="803058"/>
                </a:lnTo>
                <a:lnTo>
                  <a:pt x="304524" y="801395"/>
                </a:lnTo>
                <a:lnTo>
                  <a:pt x="307137" y="799256"/>
                </a:lnTo>
                <a:lnTo>
                  <a:pt x="309275" y="796881"/>
                </a:lnTo>
                <a:lnTo>
                  <a:pt x="312126" y="794267"/>
                </a:lnTo>
                <a:lnTo>
                  <a:pt x="314265" y="791178"/>
                </a:lnTo>
                <a:lnTo>
                  <a:pt x="316403" y="788090"/>
                </a:lnTo>
                <a:lnTo>
                  <a:pt x="318304" y="784051"/>
                </a:lnTo>
                <a:lnTo>
                  <a:pt x="319967" y="780012"/>
                </a:lnTo>
                <a:lnTo>
                  <a:pt x="321868" y="775973"/>
                </a:lnTo>
                <a:lnTo>
                  <a:pt x="323056" y="771221"/>
                </a:lnTo>
                <a:lnTo>
                  <a:pt x="324481" y="765756"/>
                </a:lnTo>
                <a:lnTo>
                  <a:pt x="325907" y="760529"/>
                </a:lnTo>
                <a:lnTo>
                  <a:pt x="325907" y="827530"/>
                </a:lnTo>
                <a:lnTo>
                  <a:pt x="310226" y="835608"/>
                </a:lnTo>
                <a:lnTo>
                  <a:pt x="295970" y="843686"/>
                </a:lnTo>
                <a:lnTo>
                  <a:pt x="282665" y="850339"/>
                </a:lnTo>
                <a:lnTo>
                  <a:pt x="276488" y="852952"/>
                </a:lnTo>
                <a:lnTo>
                  <a:pt x="270310" y="855565"/>
                </a:lnTo>
                <a:lnTo>
                  <a:pt x="266271" y="857942"/>
                </a:lnTo>
                <a:lnTo>
                  <a:pt x="262708" y="860080"/>
                </a:lnTo>
                <a:lnTo>
                  <a:pt x="259619" y="862693"/>
                </a:lnTo>
                <a:lnTo>
                  <a:pt x="256768" y="865544"/>
                </a:lnTo>
                <a:lnTo>
                  <a:pt x="254154" y="868633"/>
                </a:lnTo>
                <a:lnTo>
                  <a:pt x="252491" y="871722"/>
                </a:lnTo>
                <a:lnTo>
                  <a:pt x="250590" y="874810"/>
                </a:lnTo>
                <a:lnTo>
                  <a:pt x="249402" y="877899"/>
                </a:lnTo>
                <a:lnTo>
                  <a:pt x="248452" y="880988"/>
                </a:lnTo>
                <a:lnTo>
                  <a:pt x="247977" y="884076"/>
                </a:lnTo>
                <a:lnTo>
                  <a:pt x="247977" y="887165"/>
                </a:lnTo>
                <a:lnTo>
                  <a:pt x="248452" y="890016"/>
                </a:lnTo>
                <a:lnTo>
                  <a:pt x="249402" y="893105"/>
                </a:lnTo>
                <a:lnTo>
                  <a:pt x="250075" y="895572"/>
                </a:lnTo>
                <a:lnTo>
                  <a:pt x="474750" y="895572"/>
                </a:lnTo>
                <a:lnTo>
                  <a:pt x="475827" y="894768"/>
                </a:lnTo>
                <a:lnTo>
                  <a:pt x="486993" y="882889"/>
                </a:lnTo>
                <a:lnTo>
                  <a:pt x="497210" y="870296"/>
                </a:lnTo>
                <a:lnTo>
                  <a:pt x="506951" y="857942"/>
                </a:lnTo>
                <a:lnTo>
                  <a:pt x="515742" y="844636"/>
                </a:lnTo>
                <a:lnTo>
                  <a:pt x="523820" y="831094"/>
                </a:lnTo>
                <a:lnTo>
                  <a:pt x="531898" y="816838"/>
                </a:lnTo>
                <a:lnTo>
                  <a:pt x="539026" y="802583"/>
                </a:lnTo>
                <a:lnTo>
                  <a:pt x="545678" y="788565"/>
                </a:lnTo>
                <a:lnTo>
                  <a:pt x="552331" y="773359"/>
                </a:lnTo>
                <a:lnTo>
                  <a:pt x="558033" y="758628"/>
                </a:lnTo>
                <a:lnTo>
                  <a:pt x="563498" y="743185"/>
                </a:lnTo>
                <a:lnTo>
                  <a:pt x="568725" y="727979"/>
                </a:lnTo>
                <a:lnTo>
                  <a:pt x="573714" y="712298"/>
                </a:lnTo>
                <a:lnTo>
                  <a:pt x="577991" y="696855"/>
                </a:lnTo>
                <a:lnTo>
                  <a:pt x="586544" y="665255"/>
                </a:lnTo>
                <a:lnTo>
                  <a:pt x="586069" y="663117"/>
                </a:lnTo>
                <a:lnTo>
                  <a:pt x="584881" y="660266"/>
                </a:lnTo>
                <a:lnTo>
                  <a:pt x="582980" y="657177"/>
                </a:lnTo>
                <a:lnTo>
                  <a:pt x="580367" y="654088"/>
                </a:lnTo>
                <a:lnTo>
                  <a:pt x="574902" y="647911"/>
                </a:lnTo>
                <a:lnTo>
                  <a:pt x="570150" y="642922"/>
                </a:lnTo>
                <a:lnTo>
                  <a:pt x="565636" y="636744"/>
                </a:lnTo>
                <a:lnTo>
                  <a:pt x="560647" y="631517"/>
                </a:lnTo>
                <a:lnTo>
                  <a:pt x="555420" y="626053"/>
                </a:lnTo>
                <a:lnTo>
                  <a:pt x="550193" y="621301"/>
                </a:lnTo>
                <a:lnTo>
                  <a:pt x="544253" y="616787"/>
                </a:lnTo>
                <a:lnTo>
                  <a:pt x="538075" y="612272"/>
                </a:lnTo>
                <a:lnTo>
                  <a:pt x="525721" y="603719"/>
                </a:lnTo>
                <a:lnTo>
                  <a:pt x="563023" y="619875"/>
                </a:lnTo>
                <a:lnTo>
                  <a:pt x="581317" y="628191"/>
                </a:lnTo>
                <a:lnTo>
                  <a:pt x="599374" y="636744"/>
                </a:lnTo>
                <a:lnTo>
                  <a:pt x="607927" y="641259"/>
                </a:lnTo>
                <a:lnTo>
                  <a:pt x="616718" y="646010"/>
                </a:lnTo>
                <a:lnTo>
                  <a:pt x="625271" y="651000"/>
                </a:lnTo>
                <a:lnTo>
                  <a:pt x="633349" y="656227"/>
                </a:lnTo>
                <a:lnTo>
                  <a:pt x="641665" y="662167"/>
                </a:lnTo>
                <a:lnTo>
                  <a:pt x="649268" y="668344"/>
                </a:lnTo>
                <a:lnTo>
                  <a:pt x="656871" y="674996"/>
                </a:lnTo>
                <a:lnTo>
                  <a:pt x="664474" y="682124"/>
                </a:lnTo>
                <a:lnTo>
                  <a:pt x="668988" y="686163"/>
                </a:lnTo>
                <a:lnTo>
                  <a:pt x="672790" y="690202"/>
                </a:lnTo>
                <a:lnTo>
                  <a:pt x="677304" y="693291"/>
                </a:lnTo>
                <a:lnTo>
                  <a:pt x="682293" y="696855"/>
                </a:lnTo>
                <a:lnTo>
                  <a:pt x="686570" y="699468"/>
                </a:lnTo>
                <a:lnTo>
                  <a:pt x="691559" y="702082"/>
                </a:lnTo>
                <a:lnTo>
                  <a:pt x="696549" y="703983"/>
                </a:lnTo>
                <a:lnTo>
                  <a:pt x="701300" y="705646"/>
                </a:lnTo>
                <a:lnTo>
                  <a:pt x="706290" y="707071"/>
                </a:lnTo>
                <a:lnTo>
                  <a:pt x="711042" y="708497"/>
                </a:lnTo>
                <a:lnTo>
                  <a:pt x="716506" y="708734"/>
                </a:lnTo>
                <a:lnTo>
                  <a:pt x="721258" y="708734"/>
                </a:lnTo>
                <a:lnTo>
                  <a:pt x="726723" y="708497"/>
                </a:lnTo>
                <a:lnTo>
                  <a:pt x="731712" y="707546"/>
                </a:lnTo>
                <a:lnTo>
                  <a:pt x="736939" y="706121"/>
                </a:lnTo>
                <a:lnTo>
                  <a:pt x="742166" y="704458"/>
                </a:lnTo>
                <a:lnTo>
                  <a:pt x="749294" y="702082"/>
                </a:lnTo>
                <a:lnTo>
                  <a:pt x="756184" y="699468"/>
                </a:lnTo>
                <a:lnTo>
                  <a:pt x="762361" y="696380"/>
                </a:lnTo>
                <a:lnTo>
                  <a:pt x="768063" y="692816"/>
                </a:lnTo>
                <a:lnTo>
                  <a:pt x="773528" y="689252"/>
                </a:lnTo>
                <a:lnTo>
                  <a:pt x="778755" y="684738"/>
                </a:lnTo>
                <a:lnTo>
                  <a:pt x="783269" y="680461"/>
                </a:lnTo>
                <a:lnTo>
                  <a:pt x="787308" y="674996"/>
                </a:lnTo>
                <a:lnTo>
                  <a:pt x="791110" y="669769"/>
                </a:lnTo>
                <a:lnTo>
                  <a:pt x="794436" y="663830"/>
                </a:lnTo>
                <a:lnTo>
                  <a:pt x="797050" y="657652"/>
                </a:lnTo>
                <a:lnTo>
                  <a:pt x="799188" y="651000"/>
                </a:lnTo>
                <a:lnTo>
                  <a:pt x="801089" y="643872"/>
                </a:lnTo>
                <a:lnTo>
                  <a:pt x="802277" y="636744"/>
                </a:lnTo>
                <a:lnTo>
                  <a:pt x="803227" y="628666"/>
                </a:lnTo>
                <a:lnTo>
                  <a:pt x="803227" y="620826"/>
                </a:lnTo>
                <a:lnTo>
                  <a:pt x="801089" y="622489"/>
                </a:lnTo>
                <a:lnTo>
                  <a:pt x="798238" y="623914"/>
                </a:lnTo>
                <a:lnTo>
                  <a:pt x="793011" y="626053"/>
                </a:lnTo>
                <a:lnTo>
                  <a:pt x="790397" y="627478"/>
                </a:lnTo>
                <a:lnTo>
                  <a:pt x="788496" y="628191"/>
                </a:lnTo>
                <a:lnTo>
                  <a:pt x="787308" y="630092"/>
                </a:lnTo>
                <a:lnTo>
                  <a:pt x="786833" y="631755"/>
                </a:lnTo>
                <a:lnTo>
                  <a:pt x="785408" y="635794"/>
                </a:lnTo>
                <a:lnTo>
                  <a:pt x="784220" y="639833"/>
                </a:lnTo>
                <a:lnTo>
                  <a:pt x="780656" y="646485"/>
                </a:lnTo>
                <a:lnTo>
                  <a:pt x="776617" y="653138"/>
                </a:lnTo>
                <a:lnTo>
                  <a:pt x="772103" y="659078"/>
                </a:lnTo>
                <a:lnTo>
                  <a:pt x="762361" y="670007"/>
                </a:lnTo>
                <a:lnTo>
                  <a:pt x="757847" y="675947"/>
                </a:lnTo>
                <a:lnTo>
                  <a:pt x="753333" y="682124"/>
                </a:lnTo>
                <a:lnTo>
                  <a:pt x="750244" y="684738"/>
                </a:lnTo>
                <a:lnTo>
                  <a:pt x="747155" y="687589"/>
                </a:lnTo>
                <a:lnTo>
                  <a:pt x="744067" y="689252"/>
                </a:lnTo>
                <a:lnTo>
                  <a:pt x="740978" y="690915"/>
                </a:lnTo>
                <a:lnTo>
                  <a:pt x="737890" y="691865"/>
                </a:lnTo>
                <a:lnTo>
                  <a:pt x="734801" y="692816"/>
                </a:lnTo>
                <a:lnTo>
                  <a:pt x="731950" y="693291"/>
                </a:lnTo>
                <a:lnTo>
                  <a:pt x="728861" y="693291"/>
                </a:lnTo>
                <a:lnTo>
                  <a:pt x="723634" y="692816"/>
                </a:lnTo>
                <a:lnTo>
                  <a:pt x="718169" y="691390"/>
                </a:lnTo>
                <a:lnTo>
                  <a:pt x="713418" y="689727"/>
                </a:lnTo>
                <a:lnTo>
                  <a:pt x="708903" y="687826"/>
                </a:lnTo>
                <a:lnTo>
                  <a:pt x="706765" y="687589"/>
                </a:lnTo>
                <a:lnTo>
                  <a:pt x="704864" y="687114"/>
                </a:lnTo>
                <a:lnTo>
                  <a:pt x="703201" y="686163"/>
                </a:lnTo>
                <a:lnTo>
                  <a:pt x="701776" y="684738"/>
                </a:lnTo>
                <a:lnTo>
                  <a:pt x="698687" y="681649"/>
                </a:lnTo>
                <a:lnTo>
                  <a:pt x="696549" y="678085"/>
                </a:lnTo>
                <a:lnTo>
                  <a:pt x="694648" y="673571"/>
                </a:lnTo>
                <a:lnTo>
                  <a:pt x="693460" y="668819"/>
                </a:lnTo>
                <a:lnTo>
                  <a:pt x="692510" y="664305"/>
                </a:lnTo>
                <a:lnTo>
                  <a:pt x="692510" y="659790"/>
                </a:lnTo>
                <a:lnTo>
                  <a:pt x="692510" y="647436"/>
                </a:lnTo>
                <a:lnTo>
                  <a:pt x="693460" y="635319"/>
                </a:lnTo>
                <a:lnTo>
                  <a:pt x="694173" y="624389"/>
                </a:lnTo>
                <a:lnTo>
                  <a:pt x="695598" y="612748"/>
                </a:lnTo>
                <a:lnTo>
                  <a:pt x="699162" y="591364"/>
                </a:lnTo>
                <a:lnTo>
                  <a:pt x="703676" y="570456"/>
                </a:lnTo>
                <a:lnTo>
                  <a:pt x="720070" y="574971"/>
                </a:lnTo>
                <a:lnTo>
                  <a:pt x="736939" y="579247"/>
                </a:lnTo>
                <a:lnTo>
                  <a:pt x="770677" y="589226"/>
                </a:lnTo>
                <a:lnTo>
                  <a:pt x="788021" y="593503"/>
                </a:lnTo>
                <a:lnTo>
                  <a:pt x="805365" y="597542"/>
                </a:lnTo>
                <a:lnTo>
                  <a:pt x="823660" y="601106"/>
                </a:lnTo>
                <a:lnTo>
                  <a:pt x="841954" y="603719"/>
                </a:lnTo>
                <a:lnTo>
                  <a:pt x="861437" y="606570"/>
                </a:lnTo>
                <a:lnTo>
                  <a:pt x="880682" y="608233"/>
                </a:lnTo>
                <a:lnTo>
                  <a:pt x="889948" y="608708"/>
                </a:lnTo>
                <a:lnTo>
                  <a:pt x="898976" y="608708"/>
                </a:lnTo>
                <a:lnTo>
                  <a:pt x="908242" y="608708"/>
                </a:lnTo>
                <a:lnTo>
                  <a:pt x="916795" y="608233"/>
                </a:lnTo>
                <a:lnTo>
                  <a:pt x="925586" y="607283"/>
                </a:lnTo>
                <a:lnTo>
                  <a:pt x="934140" y="606095"/>
                </a:lnTo>
                <a:lnTo>
                  <a:pt x="942455" y="604669"/>
                </a:lnTo>
                <a:lnTo>
                  <a:pt x="950533" y="603006"/>
                </a:lnTo>
                <a:lnTo>
                  <a:pt x="958611" y="600630"/>
                </a:lnTo>
                <a:lnTo>
                  <a:pt x="966452" y="598017"/>
                </a:lnTo>
                <a:lnTo>
                  <a:pt x="974055" y="595403"/>
                </a:lnTo>
                <a:lnTo>
                  <a:pt x="981658" y="591840"/>
                </a:lnTo>
                <a:lnTo>
                  <a:pt x="989261" y="588276"/>
                </a:lnTo>
                <a:lnTo>
                  <a:pt x="996388" y="584237"/>
                </a:lnTo>
                <a:lnTo>
                  <a:pt x="1003041" y="579247"/>
                </a:lnTo>
                <a:lnTo>
                  <a:pt x="1009694" y="574495"/>
                </a:lnTo>
                <a:lnTo>
                  <a:pt x="1016346" y="569031"/>
                </a:lnTo>
                <a:lnTo>
                  <a:pt x="1022998" y="562853"/>
                </a:lnTo>
                <a:lnTo>
                  <a:pt x="1029176" y="556676"/>
                </a:lnTo>
                <a:lnTo>
                  <a:pt x="1035116" y="549548"/>
                </a:lnTo>
                <a:lnTo>
                  <a:pt x="1040818" y="541945"/>
                </a:lnTo>
                <a:lnTo>
                  <a:pt x="1046520" y="534342"/>
                </a:lnTo>
                <a:lnTo>
                  <a:pt x="1051985" y="526027"/>
                </a:lnTo>
                <a:lnTo>
                  <a:pt x="1056737" y="516523"/>
                </a:lnTo>
                <a:lnTo>
                  <a:pt x="1061726" y="507257"/>
                </a:lnTo>
                <a:lnTo>
                  <a:pt x="1066715" y="497041"/>
                </a:lnTo>
                <a:lnTo>
                  <a:pt x="1070992" y="486349"/>
                </a:lnTo>
                <a:lnTo>
                  <a:pt x="1075506" y="475182"/>
                </a:lnTo>
                <a:lnTo>
                  <a:pt x="1079070" y="462828"/>
                </a:lnTo>
                <a:lnTo>
                  <a:pt x="1082634" y="449998"/>
                </a:lnTo>
                <a:lnTo>
                  <a:pt x="1084772" y="437405"/>
                </a:lnTo>
                <a:lnTo>
                  <a:pt x="1087148" y="425050"/>
                </a:lnTo>
                <a:lnTo>
                  <a:pt x="1088811" y="411983"/>
                </a:lnTo>
                <a:lnTo>
                  <a:pt x="1089762" y="399628"/>
                </a:lnTo>
                <a:lnTo>
                  <a:pt x="1090712" y="386798"/>
                </a:lnTo>
                <a:lnTo>
                  <a:pt x="1090712" y="373731"/>
                </a:lnTo>
                <a:lnTo>
                  <a:pt x="1090712" y="360901"/>
                </a:lnTo>
                <a:lnTo>
                  <a:pt x="1089762" y="348071"/>
                </a:lnTo>
                <a:lnTo>
                  <a:pt x="1088811" y="335004"/>
                </a:lnTo>
                <a:lnTo>
                  <a:pt x="1088099" y="321698"/>
                </a:lnTo>
                <a:lnTo>
                  <a:pt x="1084772" y="295563"/>
                </a:lnTo>
                <a:lnTo>
                  <a:pt x="1080971" y="268478"/>
                </a:lnTo>
                <a:lnTo>
                  <a:pt x="1078595" y="258262"/>
                </a:lnTo>
                <a:lnTo>
                  <a:pt x="1075981" y="248283"/>
                </a:lnTo>
                <a:lnTo>
                  <a:pt x="1072417" y="238542"/>
                </a:lnTo>
                <a:lnTo>
                  <a:pt x="1069329" y="229275"/>
                </a:lnTo>
                <a:lnTo>
                  <a:pt x="1061251" y="210031"/>
                </a:lnTo>
                <a:lnTo>
                  <a:pt x="1053173" y="190073"/>
                </a:lnTo>
                <a:lnTo>
                  <a:pt x="1051034" y="186034"/>
                </a:lnTo>
                <a:lnTo>
                  <a:pt x="1048896" y="182470"/>
                </a:lnTo>
                <a:lnTo>
                  <a:pt x="1046045" y="179381"/>
                </a:lnTo>
                <a:lnTo>
                  <a:pt x="1043906" y="176768"/>
                </a:lnTo>
                <a:lnTo>
                  <a:pt x="1041293" y="174630"/>
                </a:lnTo>
                <a:lnTo>
                  <a:pt x="1038680" y="172729"/>
                </a:lnTo>
                <a:lnTo>
                  <a:pt x="1035828" y="171303"/>
                </a:lnTo>
                <a:lnTo>
                  <a:pt x="1032740" y="170591"/>
                </a:lnTo>
                <a:lnTo>
                  <a:pt x="1030126" y="170591"/>
                </a:lnTo>
                <a:lnTo>
                  <a:pt x="1027038" y="170591"/>
                </a:lnTo>
                <a:lnTo>
                  <a:pt x="1024424" y="171303"/>
                </a:lnTo>
                <a:lnTo>
                  <a:pt x="1021335" y="172729"/>
                </a:lnTo>
                <a:lnTo>
                  <a:pt x="1018247" y="174867"/>
                </a:lnTo>
                <a:lnTo>
                  <a:pt x="1014920" y="177718"/>
                </a:lnTo>
                <a:lnTo>
                  <a:pt x="1011832" y="180807"/>
                </a:lnTo>
                <a:lnTo>
                  <a:pt x="1008743" y="184846"/>
                </a:lnTo>
                <a:lnTo>
                  <a:pt x="991874" y="201240"/>
                </a:lnTo>
                <a:lnTo>
                  <a:pt x="983321" y="209318"/>
                </a:lnTo>
                <a:lnTo>
                  <a:pt x="974530" y="216683"/>
                </a:lnTo>
                <a:lnTo>
                  <a:pt x="965739" y="223811"/>
                </a:lnTo>
                <a:lnTo>
                  <a:pt x="956236" y="230226"/>
                </a:lnTo>
                <a:lnTo>
                  <a:pt x="946494" y="235928"/>
                </a:lnTo>
                <a:lnTo>
                  <a:pt x="941505" y="238066"/>
                </a:lnTo>
                <a:lnTo>
                  <a:pt x="936753" y="240442"/>
                </a:lnTo>
                <a:lnTo>
                  <a:pt x="932239" y="242581"/>
                </a:lnTo>
                <a:lnTo>
                  <a:pt x="928675" y="245669"/>
                </a:lnTo>
                <a:lnTo>
                  <a:pt x="925111" y="249233"/>
                </a:lnTo>
                <a:lnTo>
                  <a:pt x="922022" y="252797"/>
                </a:lnTo>
                <a:lnTo>
                  <a:pt x="919884" y="257311"/>
                </a:lnTo>
                <a:lnTo>
                  <a:pt x="918934" y="259925"/>
                </a:lnTo>
                <a:lnTo>
                  <a:pt x="918459" y="262538"/>
                </a:lnTo>
                <a:lnTo>
                  <a:pt x="918459" y="265389"/>
                </a:lnTo>
                <a:lnTo>
                  <a:pt x="918459" y="268003"/>
                </a:lnTo>
                <a:lnTo>
                  <a:pt x="918934" y="271091"/>
                </a:lnTo>
                <a:lnTo>
                  <a:pt x="919884" y="274180"/>
                </a:lnTo>
                <a:lnTo>
                  <a:pt x="921547" y="282258"/>
                </a:lnTo>
                <a:lnTo>
                  <a:pt x="922973" y="290574"/>
                </a:lnTo>
                <a:lnTo>
                  <a:pt x="923923" y="299127"/>
                </a:lnTo>
                <a:lnTo>
                  <a:pt x="924161" y="307443"/>
                </a:lnTo>
                <a:lnTo>
                  <a:pt x="924161" y="315996"/>
                </a:lnTo>
                <a:lnTo>
                  <a:pt x="923923" y="324550"/>
                </a:lnTo>
                <a:lnTo>
                  <a:pt x="922973" y="332865"/>
                </a:lnTo>
                <a:lnTo>
                  <a:pt x="922022" y="340943"/>
                </a:lnTo>
                <a:lnTo>
                  <a:pt x="920597" y="349259"/>
                </a:lnTo>
                <a:lnTo>
                  <a:pt x="918934" y="357812"/>
                </a:lnTo>
                <a:lnTo>
                  <a:pt x="914420" y="374681"/>
                </a:lnTo>
                <a:lnTo>
                  <a:pt x="909192" y="391075"/>
                </a:lnTo>
                <a:lnTo>
                  <a:pt x="903253" y="408182"/>
                </a:lnTo>
                <a:lnTo>
                  <a:pt x="903253" y="397965"/>
                </a:lnTo>
                <a:lnTo>
                  <a:pt x="904203" y="387274"/>
                </a:lnTo>
                <a:lnTo>
                  <a:pt x="906104" y="367078"/>
                </a:lnTo>
                <a:lnTo>
                  <a:pt x="907767" y="347596"/>
                </a:lnTo>
                <a:lnTo>
                  <a:pt x="908717" y="338567"/>
                </a:lnTo>
                <a:lnTo>
                  <a:pt x="908717" y="329777"/>
                </a:lnTo>
                <a:lnTo>
                  <a:pt x="908717" y="325738"/>
                </a:lnTo>
                <a:lnTo>
                  <a:pt x="907767" y="322649"/>
                </a:lnTo>
                <a:lnTo>
                  <a:pt x="906817" y="319560"/>
                </a:lnTo>
                <a:lnTo>
                  <a:pt x="905154" y="316471"/>
                </a:lnTo>
                <a:lnTo>
                  <a:pt x="903728" y="314096"/>
                </a:lnTo>
                <a:lnTo>
                  <a:pt x="901590" y="311957"/>
                </a:lnTo>
                <a:lnTo>
                  <a:pt x="897551" y="307443"/>
                </a:lnTo>
                <a:lnTo>
                  <a:pt x="895412" y="309344"/>
                </a:lnTo>
                <a:lnTo>
                  <a:pt x="892561" y="310769"/>
                </a:lnTo>
                <a:lnTo>
                  <a:pt x="887334" y="313383"/>
                </a:lnTo>
                <a:lnTo>
                  <a:pt x="884721" y="314096"/>
                </a:lnTo>
                <a:lnTo>
                  <a:pt x="882820" y="315521"/>
                </a:lnTo>
                <a:lnTo>
                  <a:pt x="881632" y="316947"/>
                </a:lnTo>
                <a:lnTo>
                  <a:pt x="881157" y="318610"/>
                </a:lnTo>
                <a:lnTo>
                  <a:pt x="872604" y="331915"/>
                </a:lnTo>
                <a:lnTo>
                  <a:pt x="864288" y="346646"/>
                </a:lnTo>
                <a:lnTo>
                  <a:pt x="856210" y="361376"/>
                </a:lnTo>
                <a:lnTo>
                  <a:pt x="847656" y="374681"/>
                </a:lnTo>
                <a:lnTo>
                  <a:pt x="841954" y="374681"/>
                </a:lnTo>
                <a:lnTo>
                  <a:pt x="846468" y="357812"/>
                </a:lnTo>
                <a:lnTo>
                  <a:pt x="850508" y="339518"/>
                </a:lnTo>
                <a:lnTo>
                  <a:pt x="854784" y="319560"/>
                </a:lnTo>
                <a:lnTo>
                  <a:pt x="858823" y="296514"/>
                </a:lnTo>
                <a:lnTo>
                  <a:pt x="848132" y="303879"/>
                </a:lnTo>
                <a:lnTo>
                  <a:pt x="840054" y="310294"/>
                </a:lnTo>
                <a:lnTo>
                  <a:pt x="833163" y="316947"/>
                </a:lnTo>
                <a:lnTo>
                  <a:pt x="825560" y="324550"/>
                </a:lnTo>
                <a:lnTo>
                  <a:pt x="823185" y="326688"/>
                </a:lnTo>
                <a:lnTo>
                  <a:pt x="821522" y="329301"/>
                </a:lnTo>
                <a:lnTo>
                  <a:pt x="817007" y="335954"/>
                </a:lnTo>
                <a:lnTo>
                  <a:pt x="812968" y="344032"/>
                </a:lnTo>
                <a:lnTo>
                  <a:pt x="808929" y="352585"/>
                </a:lnTo>
                <a:lnTo>
                  <a:pt x="809880" y="343557"/>
                </a:lnTo>
                <a:lnTo>
                  <a:pt x="811305" y="335479"/>
                </a:lnTo>
                <a:lnTo>
                  <a:pt x="812493" y="328826"/>
                </a:lnTo>
                <a:lnTo>
                  <a:pt x="814394" y="323124"/>
                </a:lnTo>
                <a:lnTo>
                  <a:pt x="816532" y="317659"/>
                </a:lnTo>
                <a:lnTo>
                  <a:pt x="819146" y="313383"/>
                </a:lnTo>
                <a:lnTo>
                  <a:pt x="822709" y="309344"/>
                </a:lnTo>
                <a:lnTo>
                  <a:pt x="826748" y="306255"/>
                </a:lnTo>
                <a:lnTo>
                  <a:pt x="832213" y="303166"/>
                </a:lnTo>
                <a:lnTo>
                  <a:pt x="838390" y="300315"/>
                </a:lnTo>
                <a:lnTo>
                  <a:pt x="845518" y="298177"/>
                </a:lnTo>
                <a:lnTo>
                  <a:pt x="854071" y="295563"/>
                </a:lnTo>
                <a:lnTo>
                  <a:pt x="875217" y="290574"/>
                </a:lnTo>
                <a:lnTo>
                  <a:pt x="903253" y="285347"/>
                </a:lnTo>
                <a:lnTo>
                  <a:pt x="886384" y="268478"/>
                </a:lnTo>
                <a:lnTo>
                  <a:pt x="879731" y="270141"/>
                </a:lnTo>
                <a:lnTo>
                  <a:pt x="873079" y="271091"/>
                </a:lnTo>
                <a:lnTo>
                  <a:pt x="867376" y="271567"/>
                </a:lnTo>
                <a:lnTo>
                  <a:pt x="862387" y="271091"/>
                </a:lnTo>
                <a:lnTo>
                  <a:pt x="857398" y="269666"/>
                </a:lnTo>
                <a:lnTo>
                  <a:pt x="853596" y="268003"/>
                </a:lnTo>
                <a:lnTo>
                  <a:pt x="849557" y="265627"/>
                </a:lnTo>
                <a:lnTo>
                  <a:pt x="846468" y="262538"/>
                </a:lnTo>
                <a:lnTo>
                  <a:pt x="843380" y="259450"/>
                </a:lnTo>
                <a:lnTo>
                  <a:pt x="840529" y="255411"/>
                </a:lnTo>
                <a:lnTo>
                  <a:pt x="838390" y="251134"/>
                </a:lnTo>
                <a:lnTo>
                  <a:pt x="836490" y="246620"/>
                </a:lnTo>
                <a:lnTo>
                  <a:pt x="834827" y="241155"/>
                </a:lnTo>
                <a:lnTo>
                  <a:pt x="833401" y="235453"/>
                </a:lnTo>
                <a:lnTo>
                  <a:pt x="831263" y="223336"/>
                </a:lnTo>
                <a:lnTo>
                  <a:pt x="897551" y="206942"/>
                </a:lnTo>
                <a:lnTo>
                  <a:pt x="888997" y="194112"/>
                </a:lnTo>
                <a:lnTo>
                  <a:pt x="880682" y="181282"/>
                </a:lnTo>
                <a:lnTo>
                  <a:pt x="871416" y="168690"/>
                </a:lnTo>
                <a:lnTo>
                  <a:pt x="866901" y="162988"/>
                </a:lnTo>
                <a:lnTo>
                  <a:pt x="861437" y="157048"/>
                </a:lnTo>
                <a:lnTo>
                  <a:pt x="856210" y="151821"/>
                </a:lnTo>
                <a:lnTo>
                  <a:pt x="850745" y="146831"/>
                </a:lnTo>
                <a:lnTo>
                  <a:pt x="844568" y="142555"/>
                </a:lnTo>
                <a:lnTo>
                  <a:pt x="838390" y="138516"/>
                </a:lnTo>
                <a:lnTo>
                  <a:pt x="831738" y="134952"/>
                </a:lnTo>
                <a:lnTo>
                  <a:pt x="824610" y="132338"/>
                </a:lnTo>
                <a:lnTo>
                  <a:pt x="817007" y="129963"/>
                </a:lnTo>
                <a:lnTo>
                  <a:pt x="808929" y="128774"/>
                </a:lnTo>
                <a:lnTo>
                  <a:pt x="806791" y="128299"/>
                </a:lnTo>
                <a:lnTo>
                  <a:pt x="804652" y="127824"/>
                </a:lnTo>
                <a:lnTo>
                  <a:pt x="802752" y="126399"/>
                </a:lnTo>
                <a:lnTo>
                  <a:pt x="801089" y="125211"/>
                </a:lnTo>
                <a:lnTo>
                  <a:pt x="799663" y="123310"/>
                </a:lnTo>
                <a:lnTo>
                  <a:pt x="798713" y="121647"/>
                </a:lnTo>
                <a:lnTo>
                  <a:pt x="798000" y="119271"/>
                </a:lnTo>
                <a:lnTo>
                  <a:pt x="798000" y="117608"/>
                </a:lnTo>
                <a:lnTo>
                  <a:pt x="785408" y="106916"/>
                </a:lnTo>
                <a:lnTo>
                  <a:pt x="772578" y="95749"/>
                </a:lnTo>
                <a:lnTo>
                  <a:pt x="747155" y="72703"/>
                </a:lnTo>
                <a:lnTo>
                  <a:pt x="733850" y="61061"/>
                </a:lnTo>
                <a:lnTo>
                  <a:pt x="720545" y="49894"/>
                </a:lnTo>
                <a:lnTo>
                  <a:pt x="706765" y="38728"/>
                </a:lnTo>
                <a:lnTo>
                  <a:pt x="692510" y="28036"/>
                </a:lnTo>
                <a:lnTo>
                  <a:pt x="679442" y="21859"/>
                </a:lnTo>
                <a:lnTo>
                  <a:pt x="666137" y="16632"/>
                </a:lnTo>
                <a:lnTo>
                  <a:pt x="652832" y="11642"/>
                </a:lnTo>
                <a:lnTo>
                  <a:pt x="639527" y="7603"/>
                </a:lnTo>
                <a:lnTo>
                  <a:pt x="626222" y="4514"/>
                </a:lnTo>
                <a:lnTo>
                  <a:pt x="612917" y="1901"/>
                </a:lnTo>
                <a:lnTo>
                  <a:pt x="599374" y="475"/>
                </a:lnTo>
                <a:close/>
              </a:path>
            </a:pathLst>
          </a:custGeom>
          <a:solidFill>
            <a:schemeClr val="bg1">
              <a:alpha val="25000"/>
            </a:schemeClr>
          </a:solidFill>
          <a:ln>
            <a:noFill/>
          </a:ln>
        </p:spPr>
        <p:txBody>
          <a:bodyPr vert="horz" wrap="square" lIns="91440" tIns="45720" rIns="91440" bIns="45720" numCol="1" anchor="t" anchorCtr="0" compatLnSpc="1">
            <a:prstTxWarp prst="textNoShape">
              <a:avLst/>
            </a:prstTxWarp>
            <a:noAutofit/>
          </a:bodyPr>
          <a:lstStyle/>
          <a:p>
            <a:endParaRPr lang="en-IN"/>
          </a:p>
        </p:txBody>
      </p:sp>
      <p:sp>
        <p:nvSpPr>
          <p:cNvPr id="7" name="Rectangle 6"/>
          <p:cNvSpPr/>
          <p:nvPr/>
        </p:nvSpPr>
        <p:spPr>
          <a:xfrm>
            <a:off x="9108" y="1237136"/>
            <a:ext cx="5325034" cy="1588127"/>
          </a:xfrm>
          <a:prstGeom prst="rect">
            <a:avLst/>
          </a:prstGeom>
        </p:spPr>
        <p:txBody>
          <a:bodyPr wrap="square" lIns="274320">
            <a:spAutoFit/>
          </a:bodyPr>
          <a:lstStyle/>
          <a:p>
            <a:pPr defTabSz="932472" fontAlgn="base">
              <a:lnSpc>
                <a:spcPct val="90000"/>
              </a:lnSpc>
              <a:spcBef>
                <a:spcPct val="0"/>
              </a:spcBef>
              <a:spcAft>
                <a:spcPct val="0"/>
              </a:spcAft>
            </a:pPr>
            <a:r>
              <a:rPr lang="en-US" sz="5400" dirty="0" smtClean="0">
                <a:solidFill>
                  <a:schemeClr val="bg1"/>
                </a:solidFill>
                <a:latin typeface="+mj-lt"/>
                <a:ea typeface="Segoe UI" pitchFamily="34" charset="0"/>
                <a:cs typeface="Segoe UI" pitchFamily="34" charset="0"/>
              </a:rPr>
              <a:t>HDInsight Clusters</a:t>
            </a:r>
            <a:endParaRPr lang="en-US" sz="5400" dirty="0">
              <a:solidFill>
                <a:schemeClr val="bg1"/>
              </a:solidFill>
              <a:latin typeface="+mj-lt"/>
              <a:ea typeface="Segoe UI" pitchFamily="34" charset="0"/>
              <a:cs typeface="Segoe UI" pitchFamily="34" charset="0"/>
            </a:endParaRPr>
          </a:p>
        </p:txBody>
      </p:sp>
      <p:sp>
        <p:nvSpPr>
          <p:cNvPr id="2" name="Slide Number Placeholder 1"/>
          <p:cNvSpPr>
            <a:spLocks noGrp="1"/>
          </p:cNvSpPr>
          <p:nvPr>
            <p:ph type="sldNum" sz="quarter" idx="11"/>
          </p:nvPr>
        </p:nvSpPr>
        <p:spPr/>
        <p:txBody>
          <a:bodyPr/>
          <a:lstStyle/>
          <a:p>
            <a:pPr>
              <a:defRPr/>
            </a:pPr>
            <a:fld id="{F8A0AC42-AA1D-4944-8D96-660DE70C7E1B}" type="slidenum">
              <a:rPr lang="en-IN" smtClean="0"/>
              <a:pPr>
                <a:defRPr/>
              </a:pPr>
              <a:t>14</a:t>
            </a:fld>
            <a:endParaRPr lang="en-IN" dirty="0"/>
          </a:p>
        </p:txBody>
      </p:sp>
    </p:spTree>
    <p:extLst>
      <p:ext uri="{BB962C8B-B14F-4D97-AF65-F5344CB8AC3E}">
        <p14:creationId xmlns:p14="http://schemas.microsoft.com/office/powerpoint/2010/main" val="1481707795"/>
      </p:ext>
    </p:extLst>
  </p:cSld>
  <p:clrMapOvr>
    <a:masterClrMapping/>
  </p:clrMapOvr>
  <p:transition spd="med">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rot="5400000">
            <a:off x="6117083" y="2861763"/>
            <a:ext cx="531189" cy="6691310"/>
          </a:xfrm>
          <a:prstGeom prst="rect">
            <a:avLst/>
          </a:prstGeom>
          <a:solidFill>
            <a:schemeClr val="tx2"/>
          </a:solidFill>
          <a:ln w="10795">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000" dirty="0">
                <a:solidFill>
                  <a:schemeClr val="bg1"/>
                </a:solidFill>
                <a:latin typeface="Segoe UI Semibold" panose="020B0702040204020203" pitchFamily="34" charset="0"/>
                <a:cs typeface="Segoe UI Semibold" panose="020B0702040204020203" pitchFamily="34" charset="0"/>
              </a:rPr>
              <a:t>Azure Storage</a:t>
            </a:r>
          </a:p>
        </p:txBody>
      </p:sp>
      <p:sp>
        <p:nvSpPr>
          <p:cNvPr id="2" name="Title 1"/>
          <p:cNvSpPr>
            <a:spLocks noGrp="1"/>
          </p:cNvSpPr>
          <p:nvPr>
            <p:ph type="title"/>
          </p:nvPr>
        </p:nvSpPr>
        <p:spPr/>
        <p:txBody>
          <a:bodyPr/>
          <a:lstStyle/>
          <a:p>
            <a:r>
              <a:rPr lang="en-US" smtClean="0"/>
              <a:t>HDInsight cluster architecture</a:t>
            </a:r>
            <a:endParaRPr lang="en-US" dirty="0"/>
          </a:p>
        </p:txBody>
      </p:sp>
      <p:sp>
        <p:nvSpPr>
          <p:cNvPr id="3" name="Rectangle 2"/>
          <p:cNvSpPr/>
          <p:nvPr/>
        </p:nvSpPr>
        <p:spPr>
          <a:xfrm>
            <a:off x="1998921" y="2271951"/>
            <a:ext cx="8767512" cy="3669868"/>
          </a:xfrm>
          <a:prstGeom prst="rect">
            <a:avLst/>
          </a:prstGeom>
          <a:ln/>
        </p:spPr>
        <p:style>
          <a:lnRef idx="2">
            <a:schemeClr val="accent2"/>
          </a:lnRef>
          <a:fillRef idx="1">
            <a:schemeClr val="lt1"/>
          </a:fillRef>
          <a:effectRef idx="0">
            <a:schemeClr val="accent2"/>
          </a:effectRef>
          <a:fontRef idx="minor">
            <a:schemeClr val="dk1"/>
          </a:fontRef>
        </p:style>
        <p:txBody>
          <a:bodyPr vert="vert270" rtlCol="0" anchor="t"/>
          <a:lstStyle/>
          <a:p>
            <a:pPr lvl="0" algn="ctr"/>
            <a:r>
              <a:rPr lang="en-US" sz="2400" dirty="0">
                <a:solidFill>
                  <a:schemeClr val="tx2"/>
                </a:solidFill>
                <a:latin typeface="Segoe UI Semibold" panose="020B0702040204020203" pitchFamily="34" charset="0"/>
                <a:cs typeface="Segoe UI Semibold" panose="020B0702040204020203" pitchFamily="34" charset="0"/>
              </a:rPr>
              <a:t>Azure </a:t>
            </a:r>
            <a:r>
              <a:rPr lang="en-US" sz="2400" dirty="0" err="1" smtClean="0">
                <a:solidFill>
                  <a:schemeClr val="tx2"/>
                </a:solidFill>
                <a:latin typeface="Segoe UI Semibold" panose="020B0702040204020203" pitchFamily="34" charset="0"/>
                <a:cs typeface="Segoe UI Semibold" panose="020B0702040204020203" pitchFamily="34" charset="0"/>
              </a:rPr>
              <a:t>VNet</a:t>
            </a:r>
            <a:endParaRPr lang="en-US" sz="2400" dirty="0">
              <a:solidFill>
                <a:schemeClr val="tx2"/>
              </a:solidFill>
              <a:latin typeface="Segoe UI Semibold" panose="020B0702040204020203" pitchFamily="34" charset="0"/>
              <a:cs typeface="Segoe UI Semibold" panose="020B0702040204020203" pitchFamily="34" charset="0"/>
            </a:endParaRPr>
          </a:p>
        </p:txBody>
      </p:sp>
      <p:sp>
        <p:nvSpPr>
          <p:cNvPr id="10" name="TextBox 9"/>
          <p:cNvSpPr txBox="1"/>
          <p:nvPr/>
        </p:nvSpPr>
        <p:spPr>
          <a:xfrm>
            <a:off x="3147585" y="2370803"/>
            <a:ext cx="1828799" cy="923330"/>
          </a:xfrm>
          <a:prstGeom prst="rect">
            <a:avLst/>
          </a:prstGeom>
          <a:noFill/>
        </p:spPr>
        <p:txBody>
          <a:bodyPr wrap="square" rtlCol="0">
            <a:spAutoFit/>
          </a:bodyPr>
          <a:lstStyle/>
          <a:p>
            <a:pPr algn="r"/>
            <a:r>
              <a:rPr lang="en-US" dirty="0">
                <a:solidFill>
                  <a:schemeClr val="tx2"/>
                </a:solidFill>
                <a:latin typeface="Segoe UI Semibold" panose="020B0702040204020203" pitchFamily="34" charset="0"/>
                <a:cs typeface="Segoe UI Semibold" panose="020B0702040204020203" pitchFamily="34" charset="0"/>
              </a:rPr>
              <a:t>Secure g</a:t>
            </a:r>
            <a:r>
              <a:rPr lang="en-US" dirty="0" smtClean="0">
                <a:solidFill>
                  <a:schemeClr val="tx2"/>
                </a:solidFill>
                <a:latin typeface="Segoe UI Semibold" panose="020B0702040204020203" pitchFamily="34" charset="0"/>
                <a:cs typeface="Segoe UI Semibold" panose="020B0702040204020203" pitchFamily="34" charset="0"/>
              </a:rPr>
              <a:t>ateway</a:t>
            </a:r>
            <a:endParaRPr lang="en-US" dirty="0">
              <a:solidFill>
                <a:schemeClr val="tx2"/>
              </a:solidFill>
              <a:latin typeface="Segoe UI Semibold" panose="020B0702040204020203" pitchFamily="34" charset="0"/>
              <a:cs typeface="Segoe UI Semibold" panose="020B0702040204020203" pitchFamily="34" charset="0"/>
            </a:endParaRPr>
          </a:p>
          <a:p>
            <a:pPr algn="r"/>
            <a:r>
              <a:rPr lang="en-US" dirty="0" err="1">
                <a:solidFill>
                  <a:schemeClr val="tx2"/>
                </a:solidFill>
                <a:latin typeface="Segoe UI Semibold" panose="020B0702040204020203" pitchFamily="34" charset="0"/>
                <a:cs typeface="Segoe UI Semibold" panose="020B0702040204020203" pitchFamily="34" charset="0"/>
              </a:rPr>
              <a:t>AuthN</a:t>
            </a:r>
            <a:endParaRPr lang="en-US" dirty="0">
              <a:solidFill>
                <a:schemeClr val="tx2"/>
              </a:solidFill>
              <a:latin typeface="Segoe UI Semibold" panose="020B0702040204020203" pitchFamily="34" charset="0"/>
              <a:cs typeface="Segoe UI Semibold" panose="020B0702040204020203" pitchFamily="34" charset="0"/>
            </a:endParaRPr>
          </a:p>
          <a:p>
            <a:pPr algn="r"/>
            <a:r>
              <a:rPr lang="en-US" dirty="0">
                <a:solidFill>
                  <a:schemeClr val="tx2"/>
                </a:solidFill>
                <a:latin typeface="Segoe UI Semibold" panose="020B0702040204020203" pitchFamily="34" charset="0"/>
                <a:cs typeface="Segoe UI Semibold" panose="020B0702040204020203" pitchFamily="34" charset="0"/>
              </a:rPr>
              <a:t>HTTP Proxy</a:t>
            </a:r>
          </a:p>
        </p:txBody>
      </p:sp>
      <p:grpSp>
        <p:nvGrpSpPr>
          <p:cNvPr id="39" name="Group 38"/>
          <p:cNvGrpSpPr/>
          <p:nvPr/>
        </p:nvGrpSpPr>
        <p:grpSpPr>
          <a:xfrm rot="5400000">
            <a:off x="6028711" y="3007713"/>
            <a:ext cx="707932" cy="1696080"/>
            <a:chOff x="5835515" y="2993627"/>
            <a:chExt cx="1016991" cy="2436531"/>
          </a:xfrm>
        </p:grpSpPr>
        <p:sp>
          <p:nvSpPr>
            <p:cNvPr id="11" name="Rectangle 10"/>
            <p:cNvSpPr/>
            <p:nvPr/>
          </p:nvSpPr>
          <p:spPr>
            <a:xfrm>
              <a:off x="5835515" y="2993627"/>
              <a:ext cx="1016991" cy="2436531"/>
            </a:xfrm>
            <a:prstGeom prst="rect">
              <a:avLst/>
            </a:prstGeom>
            <a:noFill/>
            <a:ln w="28575">
              <a:solidFill>
                <a:schemeClr val="accent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solidFill>
                  <a:schemeClr val="tx2"/>
                </a:solidFill>
              </a:endParaRPr>
            </a:p>
          </p:txBody>
        </p:sp>
        <p:sp>
          <p:nvSpPr>
            <p:cNvPr id="12" name="Rectangle 11"/>
            <p:cNvSpPr/>
            <p:nvPr/>
          </p:nvSpPr>
          <p:spPr>
            <a:xfrm>
              <a:off x="5963390" y="3384226"/>
              <a:ext cx="756226" cy="7224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3" name="Rectangle 12"/>
            <p:cNvSpPr/>
            <p:nvPr/>
          </p:nvSpPr>
          <p:spPr>
            <a:xfrm>
              <a:off x="5965897" y="4360222"/>
              <a:ext cx="756226" cy="7224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grpSp>
      <p:sp>
        <p:nvSpPr>
          <p:cNvPr id="14" name="TextBox 13"/>
          <p:cNvSpPr txBox="1"/>
          <p:nvPr/>
        </p:nvSpPr>
        <p:spPr>
          <a:xfrm>
            <a:off x="3125236" y="3532588"/>
            <a:ext cx="1851148" cy="646331"/>
          </a:xfrm>
          <a:prstGeom prst="rect">
            <a:avLst/>
          </a:prstGeom>
          <a:noFill/>
        </p:spPr>
        <p:txBody>
          <a:bodyPr wrap="none" rtlCol="0">
            <a:spAutoFit/>
          </a:bodyPr>
          <a:lstStyle/>
          <a:p>
            <a:pPr algn="r"/>
            <a:r>
              <a:rPr lang="en-US" dirty="0">
                <a:solidFill>
                  <a:schemeClr val="tx2"/>
                </a:solidFill>
                <a:latin typeface="Segoe UI Semibold" panose="020B0702040204020203" pitchFamily="34" charset="0"/>
                <a:cs typeface="Segoe UI Semibold" panose="020B0702040204020203" pitchFamily="34" charset="0"/>
              </a:rPr>
              <a:t>Highly a</a:t>
            </a:r>
            <a:r>
              <a:rPr lang="en-US" dirty="0" smtClean="0">
                <a:solidFill>
                  <a:schemeClr val="tx2"/>
                </a:solidFill>
                <a:latin typeface="Segoe UI Semibold" panose="020B0702040204020203" pitchFamily="34" charset="0"/>
                <a:cs typeface="Segoe UI Semibold" panose="020B0702040204020203" pitchFamily="34" charset="0"/>
              </a:rPr>
              <a:t>vailable</a:t>
            </a:r>
            <a:br>
              <a:rPr lang="en-US" dirty="0" smtClean="0">
                <a:solidFill>
                  <a:schemeClr val="tx2"/>
                </a:solidFill>
                <a:latin typeface="Segoe UI Semibold" panose="020B0702040204020203" pitchFamily="34" charset="0"/>
                <a:cs typeface="Segoe UI Semibold" panose="020B0702040204020203" pitchFamily="34" charset="0"/>
              </a:rPr>
            </a:br>
            <a:r>
              <a:rPr lang="en-US" dirty="0" smtClean="0">
                <a:solidFill>
                  <a:schemeClr val="tx2"/>
                </a:solidFill>
                <a:latin typeface="Segoe UI Semibold" panose="020B0702040204020203" pitchFamily="34" charset="0"/>
                <a:cs typeface="Segoe UI Semibold" panose="020B0702040204020203" pitchFamily="34" charset="0"/>
              </a:rPr>
              <a:t>Head </a:t>
            </a:r>
            <a:r>
              <a:rPr lang="en-US" dirty="0">
                <a:solidFill>
                  <a:schemeClr val="tx2"/>
                </a:solidFill>
                <a:latin typeface="Segoe UI Semibold" panose="020B0702040204020203" pitchFamily="34" charset="0"/>
                <a:cs typeface="Segoe UI Semibold" panose="020B0702040204020203" pitchFamily="34" charset="0"/>
              </a:rPr>
              <a:t>n</a:t>
            </a:r>
            <a:r>
              <a:rPr lang="en-US" dirty="0" smtClean="0">
                <a:solidFill>
                  <a:schemeClr val="tx2"/>
                </a:solidFill>
                <a:latin typeface="Segoe UI Semibold" panose="020B0702040204020203" pitchFamily="34" charset="0"/>
                <a:cs typeface="Segoe UI Semibold" panose="020B0702040204020203" pitchFamily="34" charset="0"/>
              </a:rPr>
              <a:t>odes</a:t>
            </a:r>
            <a:endParaRPr lang="en-US" dirty="0">
              <a:solidFill>
                <a:schemeClr val="tx2"/>
              </a:solidFill>
              <a:latin typeface="Segoe UI Semibold" panose="020B0702040204020203" pitchFamily="34" charset="0"/>
              <a:cs typeface="Segoe UI Semibold" panose="020B0702040204020203" pitchFamily="34" charset="0"/>
            </a:endParaRPr>
          </a:p>
        </p:txBody>
      </p:sp>
      <p:sp>
        <p:nvSpPr>
          <p:cNvPr id="15" name="Rectangle 14"/>
          <p:cNvSpPr/>
          <p:nvPr/>
        </p:nvSpPr>
        <p:spPr>
          <a:xfrm>
            <a:off x="5180111" y="4447275"/>
            <a:ext cx="611116" cy="583825"/>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6" name="Rectangle 15"/>
          <p:cNvSpPr/>
          <p:nvPr/>
        </p:nvSpPr>
        <p:spPr>
          <a:xfrm>
            <a:off x="5285642" y="4495114"/>
            <a:ext cx="611116" cy="583825"/>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7" name="Rectangle 16"/>
          <p:cNvSpPr/>
          <p:nvPr/>
        </p:nvSpPr>
        <p:spPr>
          <a:xfrm>
            <a:off x="5391172" y="4542952"/>
            <a:ext cx="611116" cy="583825"/>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8" name="Rectangle 17"/>
          <p:cNvSpPr/>
          <p:nvPr/>
        </p:nvSpPr>
        <p:spPr>
          <a:xfrm>
            <a:off x="5496703" y="4590791"/>
            <a:ext cx="611116" cy="583825"/>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9" name="Rectangle 18"/>
          <p:cNvSpPr/>
          <p:nvPr/>
        </p:nvSpPr>
        <p:spPr>
          <a:xfrm>
            <a:off x="5602234" y="4638630"/>
            <a:ext cx="611116" cy="583825"/>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0" name="Rectangle 19"/>
          <p:cNvSpPr/>
          <p:nvPr/>
        </p:nvSpPr>
        <p:spPr>
          <a:xfrm>
            <a:off x="5707765" y="4686468"/>
            <a:ext cx="611116" cy="583825"/>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1" name="Rectangle 20"/>
          <p:cNvSpPr/>
          <p:nvPr/>
        </p:nvSpPr>
        <p:spPr>
          <a:xfrm>
            <a:off x="5813295" y="4734307"/>
            <a:ext cx="611116" cy="583825"/>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2" name="Rectangle 21"/>
          <p:cNvSpPr/>
          <p:nvPr/>
        </p:nvSpPr>
        <p:spPr>
          <a:xfrm>
            <a:off x="5918826" y="4782146"/>
            <a:ext cx="611116" cy="583825"/>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3" name="Rectangle 22"/>
          <p:cNvSpPr/>
          <p:nvPr/>
        </p:nvSpPr>
        <p:spPr>
          <a:xfrm>
            <a:off x="6024357" y="4829985"/>
            <a:ext cx="611116" cy="583825"/>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2"/>
                </a:solidFill>
              </a:rPr>
              <a:t> x</a:t>
            </a:r>
            <a:endParaRPr lang="en-US" dirty="0">
              <a:solidFill>
                <a:schemeClr val="tx2"/>
              </a:solidFill>
            </a:endParaRPr>
          </a:p>
        </p:txBody>
      </p:sp>
      <p:sp>
        <p:nvSpPr>
          <p:cNvPr id="24" name="Rectangle 23"/>
          <p:cNvSpPr/>
          <p:nvPr/>
        </p:nvSpPr>
        <p:spPr>
          <a:xfrm>
            <a:off x="6129887" y="4877823"/>
            <a:ext cx="611116" cy="583825"/>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5" name="Rectangle 24"/>
          <p:cNvSpPr/>
          <p:nvPr/>
        </p:nvSpPr>
        <p:spPr>
          <a:xfrm>
            <a:off x="6235418" y="4925662"/>
            <a:ext cx="611116" cy="583825"/>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6" name="Rectangle 25"/>
          <p:cNvSpPr/>
          <p:nvPr/>
        </p:nvSpPr>
        <p:spPr>
          <a:xfrm>
            <a:off x="6340949" y="4973501"/>
            <a:ext cx="611116" cy="583825"/>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7" name="Rectangle 26"/>
          <p:cNvSpPr/>
          <p:nvPr/>
        </p:nvSpPr>
        <p:spPr>
          <a:xfrm>
            <a:off x="6446480" y="5021339"/>
            <a:ext cx="611116" cy="583825"/>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8" name="Rectangle 27"/>
          <p:cNvSpPr/>
          <p:nvPr/>
        </p:nvSpPr>
        <p:spPr>
          <a:xfrm>
            <a:off x="6552010" y="5069178"/>
            <a:ext cx="611116" cy="583825"/>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9" name="Rectangle 28"/>
          <p:cNvSpPr/>
          <p:nvPr/>
        </p:nvSpPr>
        <p:spPr>
          <a:xfrm>
            <a:off x="6657541" y="5117017"/>
            <a:ext cx="611116" cy="583825"/>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30" name="Rectangle 29"/>
          <p:cNvSpPr/>
          <p:nvPr/>
        </p:nvSpPr>
        <p:spPr>
          <a:xfrm>
            <a:off x="6763072" y="5164855"/>
            <a:ext cx="611116" cy="583825"/>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31" name="Rectangle 30"/>
          <p:cNvSpPr/>
          <p:nvPr/>
        </p:nvSpPr>
        <p:spPr>
          <a:xfrm>
            <a:off x="6868602" y="5212694"/>
            <a:ext cx="611116" cy="583825"/>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32" name="Rectangle 31"/>
          <p:cNvSpPr/>
          <p:nvPr/>
        </p:nvSpPr>
        <p:spPr>
          <a:xfrm>
            <a:off x="6974127" y="5260538"/>
            <a:ext cx="611116" cy="583825"/>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33" name="TextBox 32"/>
          <p:cNvSpPr txBox="1"/>
          <p:nvPr/>
        </p:nvSpPr>
        <p:spPr>
          <a:xfrm>
            <a:off x="3326830" y="4865736"/>
            <a:ext cx="1649554" cy="369332"/>
          </a:xfrm>
          <a:prstGeom prst="rect">
            <a:avLst/>
          </a:prstGeom>
          <a:noFill/>
        </p:spPr>
        <p:txBody>
          <a:bodyPr wrap="none" rtlCol="0">
            <a:spAutoFit/>
          </a:bodyPr>
          <a:lstStyle/>
          <a:p>
            <a:pPr algn="r"/>
            <a:r>
              <a:rPr lang="en-US" dirty="0">
                <a:solidFill>
                  <a:schemeClr val="tx2"/>
                </a:solidFill>
                <a:latin typeface="Segoe UI Semibold" panose="020B0702040204020203" pitchFamily="34" charset="0"/>
                <a:cs typeface="Segoe UI Semibold" panose="020B0702040204020203" pitchFamily="34" charset="0"/>
              </a:rPr>
              <a:t>Worker </a:t>
            </a:r>
            <a:r>
              <a:rPr lang="en-US" dirty="0" smtClean="0">
                <a:solidFill>
                  <a:schemeClr val="tx2"/>
                </a:solidFill>
                <a:latin typeface="Segoe UI Semibold" panose="020B0702040204020203" pitchFamily="34" charset="0"/>
                <a:cs typeface="Segoe UI Semibold" panose="020B0702040204020203" pitchFamily="34" charset="0"/>
              </a:rPr>
              <a:t>nodes</a:t>
            </a:r>
            <a:endParaRPr lang="en-US" dirty="0">
              <a:solidFill>
                <a:schemeClr val="tx2"/>
              </a:solidFill>
              <a:latin typeface="Segoe UI Semibold" panose="020B0702040204020203" pitchFamily="34" charset="0"/>
              <a:cs typeface="Segoe UI Semibold" panose="020B0702040204020203" pitchFamily="34" charset="0"/>
            </a:endParaRPr>
          </a:p>
        </p:txBody>
      </p:sp>
      <p:grpSp>
        <p:nvGrpSpPr>
          <p:cNvPr id="89" name="Group 88"/>
          <p:cNvGrpSpPr/>
          <p:nvPr/>
        </p:nvGrpSpPr>
        <p:grpSpPr>
          <a:xfrm>
            <a:off x="3037023" y="1211263"/>
            <a:ext cx="6691309" cy="871537"/>
            <a:chOff x="6858743" y="2325513"/>
            <a:chExt cx="6691309" cy="871537"/>
          </a:xfrm>
        </p:grpSpPr>
        <p:sp>
          <p:nvSpPr>
            <p:cNvPr id="5" name="Rectangle 4"/>
            <p:cNvSpPr/>
            <p:nvPr/>
          </p:nvSpPr>
          <p:spPr bwMode="auto">
            <a:xfrm>
              <a:off x="6858743" y="2325513"/>
              <a:ext cx="6691309" cy="87153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r>
                <a:rPr lang="en-IN" sz="2000" dirty="0">
                  <a:solidFill>
                    <a:schemeClr val="tx2"/>
                  </a:solidFill>
                  <a:latin typeface="Segoe UI Semibold" panose="020B0702040204020203" pitchFamily="34" charset="0"/>
                  <a:ea typeface="Segoe UI" pitchFamily="34" charset="0"/>
                  <a:cs typeface="Segoe UI Semibold" panose="020B0702040204020203" pitchFamily="34" charset="0"/>
                </a:rPr>
                <a:t>HTTP traffic</a:t>
              </a:r>
            </a:p>
          </p:txBody>
        </p:sp>
        <p:grpSp>
          <p:nvGrpSpPr>
            <p:cNvPr id="88" name="Group 87"/>
            <p:cNvGrpSpPr/>
            <p:nvPr/>
          </p:nvGrpSpPr>
          <p:grpSpPr>
            <a:xfrm>
              <a:off x="7682536" y="2493134"/>
              <a:ext cx="5670857" cy="536294"/>
              <a:chOff x="7651739" y="2525033"/>
              <a:chExt cx="5670857" cy="536294"/>
            </a:xfrm>
          </p:grpSpPr>
          <p:sp>
            <p:nvSpPr>
              <p:cNvPr id="35" name="Rectangle 34"/>
              <p:cNvSpPr/>
              <p:nvPr/>
            </p:nvSpPr>
            <p:spPr bwMode="auto">
              <a:xfrm>
                <a:off x="7651739" y="2525033"/>
                <a:ext cx="1385160" cy="53629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1600" b="1" dirty="0">
                    <a:solidFill>
                      <a:schemeClr val="tx2"/>
                    </a:solidFill>
                    <a:latin typeface="+mj-lt"/>
                    <a:ea typeface="Segoe UI" pitchFamily="34" charset="0"/>
                    <a:cs typeface="Segoe UI" pitchFamily="34" charset="0"/>
                  </a:rPr>
                  <a:t>ODBC/JDBC</a:t>
                </a:r>
              </a:p>
            </p:txBody>
          </p:sp>
          <p:sp>
            <p:nvSpPr>
              <p:cNvPr id="85" name="Rectangle 84"/>
              <p:cNvSpPr/>
              <p:nvPr/>
            </p:nvSpPr>
            <p:spPr bwMode="auto">
              <a:xfrm>
                <a:off x="9080305" y="2525033"/>
                <a:ext cx="1385160" cy="53629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1600" b="1" dirty="0" err="1">
                    <a:solidFill>
                      <a:schemeClr val="tx2"/>
                    </a:solidFill>
                    <a:latin typeface="+mj-lt"/>
                    <a:ea typeface="Segoe UI" pitchFamily="34" charset="0"/>
                    <a:cs typeface="Segoe UI" pitchFamily="34" charset="0"/>
                  </a:rPr>
                  <a:t>WebHCatalog</a:t>
                </a:r>
                <a:endParaRPr lang="en-IN" sz="1600" b="1" dirty="0">
                  <a:solidFill>
                    <a:schemeClr val="tx2"/>
                  </a:solidFill>
                  <a:latin typeface="+mj-lt"/>
                  <a:ea typeface="Segoe UI" pitchFamily="34" charset="0"/>
                  <a:cs typeface="Segoe UI" pitchFamily="34" charset="0"/>
                </a:endParaRPr>
              </a:p>
            </p:txBody>
          </p:sp>
          <p:sp>
            <p:nvSpPr>
              <p:cNvPr id="86" name="Rectangle 85"/>
              <p:cNvSpPr/>
              <p:nvPr/>
            </p:nvSpPr>
            <p:spPr bwMode="auto">
              <a:xfrm>
                <a:off x="10508871" y="2525033"/>
                <a:ext cx="1385160" cy="53629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1600" b="1" dirty="0" err="1">
                    <a:solidFill>
                      <a:schemeClr val="tx2"/>
                    </a:solidFill>
                    <a:latin typeface="+mj-lt"/>
                    <a:ea typeface="Segoe UI" pitchFamily="34" charset="0"/>
                    <a:cs typeface="Segoe UI" pitchFamily="34" charset="0"/>
                  </a:rPr>
                  <a:t>Oozie</a:t>
                </a:r>
                <a:endParaRPr lang="en-IN" sz="1600" b="1" dirty="0">
                  <a:solidFill>
                    <a:schemeClr val="tx2"/>
                  </a:solidFill>
                  <a:latin typeface="+mj-lt"/>
                  <a:ea typeface="Segoe UI" pitchFamily="34" charset="0"/>
                  <a:cs typeface="Segoe UI" pitchFamily="34" charset="0"/>
                </a:endParaRPr>
              </a:p>
            </p:txBody>
          </p:sp>
          <p:sp>
            <p:nvSpPr>
              <p:cNvPr id="87" name="Rectangle 86"/>
              <p:cNvSpPr/>
              <p:nvPr/>
            </p:nvSpPr>
            <p:spPr bwMode="auto">
              <a:xfrm>
                <a:off x="11937436" y="2525033"/>
                <a:ext cx="1385160" cy="53629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1600" b="1" dirty="0" err="1">
                    <a:solidFill>
                      <a:schemeClr val="tx2"/>
                    </a:solidFill>
                    <a:latin typeface="+mj-lt"/>
                    <a:ea typeface="Segoe UI" pitchFamily="34" charset="0"/>
                    <a:cs typeface="Segoe UI" pitchFamily="34" charset="0"/>
                  </a:rPr>
                  <a:t>Ambari</a:t>
                </a:r>
                <a:endParaRPr lang="en-IN" sz="1600" b="1" dirty="0">
                  <a:solidFill>
                    <a:schemeClr val="tx2"/>
                  </a:solidFill>
                  <a:latin typeface="+mj-lt"/>
                  <a:ea typeface="Segoe UI" pitchFamily="34" charset="0"/>
                  <a:cs typeface="Segoe UI" pitchFamily="34" charset="0"/>
                </a:endParaRPr>
              </a:p>
            </p:txBody>
          </p:sp>
        </p:grpSp>
      </p:grpSp>
      <p:cxnSp>
        <p:nvCxnSpPr>
          <p:cNvPr id="92" name="Straight Connector 91"/>
          <p:cNvCxnSpPr/>
          <p:nvPr/>
        </p:nvCxnSpPr>
        <p:spPr>
          <a:xfrm flipH="1">
            <a:off x="3271398" y="3327609"/>
            <a:ext cx="5936398" cy="0"/>
          </a:xfrm>
          <a:prstGeom prst="line">
            <a:avLst/>
          </a:prstGeom>
          <a:ln w="3175">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flipH="1">
            <a:off x="3271398" y="4383897"/>
            <a:ext cx="5936398" cy="0"/>
          </a:xfrm>
          <a:prstGeom prst="line">
            <a:avLst/>
          </a:prstGeom>
          <a:ln w="3175">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H="1">
            <a:off x="6382678" y="2082800"/>
            <a:ext cx="1" cy="439730"/>
          </a:xfrm>
          <a:prstGeom prst="straightConnector1">
            <a:avLst/>
          </a:prstGeom>
          <a:ln w="25400">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99" name="Straight Arrow Connector 98"/>
          <p:cNvCxnSpPr>
            <a:stCxn id="9" idx="3"/>
            <a:endCxn id="11" idx="1"/>
          </p:cNvCxnSpPr>
          <p:nvPr/>
        </p:nvCxnSpPr>
        <p:spPr>
          <a:xfrm>
            <a:off x="6382677" y="3125788"/>
            <a:ext cx="0" cy="375999"/>
          </a:xfrm>
          <a:prstGeom prst="straightConnector1">
            <a:avLst/>
          </a:prstGeom>
          <a:ln w="25400">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40" name="Group 39"/>
          <p:cNvGrpSpPr/>
          <p:nvPr/>
        </p:nvGrpSpPr>
        <p:grpSpPr>
          <a:xfrm rot="5400000">
            <a:off x="6089358" y="2122243"/>
            <a:ext cx="586639" cy="1420451"/>
            <a:chOff x="4094531" y="2325003"/>
            <a:chExt cx="586639" cy="1420451"/>
          </a:xfrm>
        </p:grpSpPr>
        <p:sp>
          <p:nvSpPr>
            <p:cNvPr id="9" name="Rectangle 8"/>
            <p:cNvSpPr/>
            <p:nvPr/>
          </p:nvSpPr>
          <p:spPr>
            <a:xfrm>
              <a:off x="4094531" y="2325003"/>
              <a:ext cx="586639" cy="1420451"/>
            </a:xfrm>
            <a:prstGeom prst="rect">
              <a:avLst/>
            </a:prstGeom>
            <a:noFill/>
            <a:ln w="28575">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chemeClr val="tx2"/>
                </a:solidFill>
              </a:endParaRPr>
            </a:p>
          </p:txBody>
        </p:sp>
        <p:sp>
          <p:nvSpPr>
            <p:cNvPr id="7" name="Rectangle 6"/>
            <p:cNvSpPr/>
            <p:nvPr/>
          </p:nvSpPr>
          <p:spPr>
            <a:xfrm>
              <a:off x="4169741" y="2557138"/>
              <a:ext cx="436218" cy="4211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8" name="Rectangle 7"/>
            <p:cNvSpPr/>
            <p:nvPr/>
          </p:nvSpPr>
          <p:spPr>
            <a:xfrm>
              <a:off x="4169741" y="3091129"/>
              <a:ext cx="436218" cy="4211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grpSp>
      <p:cxnSp>
        <p:nvCxnSpPr>
          <p:cNvPr id="103" name="Straight Arrow Connector 102"/>
          <p:cNvCxnSpPr>
            <a:stCxn id="11" idx="3"/>
          </p:cNvCxnSpPr>
          <p:nvPr/>
        </p:nvCxnSpPr>
        <p:spPr>
          <a:xfrm>
            <a:off x="6382677" y="4209719"/>
            <a:ext cx="0" cy="471425"/>
          </a:xfrm>
          <a:prstGeom prst="straightConnector1">
            <a:avLst/>
          </a:prstGeom>
          <a:ln w="25400">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p:nvCxnSpPr>
        <p:spPr>
          <a:xfrm>
            <a:off x="6382677" y="5557326"/>
            <a:ext cx="0" cy="367874"/>
          </a:xfrm>
          <a:prstGeom prst="straightConnector1">
            <a:avLst/>
          </a:prstGeom>
          <a:ln w="25400">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540039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9"/>
                                        </p:tgtEl>
                                        <p:attrNameLst>
                                          <p:attrName>style.visibility</p:attrName>
                                        </p:attrNameLst>
                                      </p:cBhvr>
                                      <p:to>
                                        <p:strVal val="visible"/>
                                      </p:to>
                                    </p:set>
                                    <p:animEffect transition="in" filter="fade">
                                      <p:cBhvr>
                                        <p:cTn id="7" dur="500"/>
                                        <p:tgtEl>
                                          <p:spTgt spid="89"/>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95"/>
                                        </p:tgtEl>
                                        <p:attrNameLst>
                                          <p:attrName>style.visibility</p:attrName>
                                        </p:attrNameLst>
                                      </p:cBhvr>
                                      <p:to>
                                        <p:strVal val="visible"/>
                                      </p:to>
                                    </p:set>
                                    <p:animEffect transition="in" filter="wipe(up)">
                                      <p:cBhvr>
                                        <p:cTn id="11" dur="500"/>
                                        <p:tgtEl>
                                          <p:spTgt spid="95"/>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childTnLst>
                          </p:cTn>
                        </p:par>
                        <p:par>
                          <p:cTn id="15" fill="hold">
                            <p:stCondLst>
                              <p:cond delay="1250"/>
                            </p:stCondLst>
                            <p:childTnLst>
                              <p:par>
                                <p:cTn id="16" presetID="22" presetClass="entr" presetSubtype="8"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wipe(left)">
                                      <p:cBhvr>
                                        <p:cTn id="18" dur="500"/>
                                        <p:tgtEl>
                                          <p:spTgt spid="10"/>
                                        </p:tgtEl>
                                      </p:cBhvr>
                                    </p:animEffect>
                                  </p:childTnLst>
                                </p:cTn>
                              </p:par>
                            </p:childTnLst>
                          </p:cTn>
                        </p:par>
                        <p:par>
                          <p:cTn id="19" fill="hold">
                            <p:stCondLst>
                              <p:cond delay="1750"/>
                            </p:stCondLst>
                            <p:childTnLst>
                              <p:par>
                                <p:cTn id="20" presetID="10" presetClass="entr" presetSubtype="0" fill="hold" nodeType="after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nodeType="with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par>
                          <p:cTn id="26" fill="hold">
                            <p:stCondLst>
                              <p:cond delay="2250"/>
                            </p:stCondLst>
                            <p:childTnLst>
                              <p:par>
                                <p:cTn id="27" presetID="22" presetClass="entr" presetSubtype="1" fill="hold" nodeType="afterEffect">
                                  <p:stCondLst>
                                    <p:cond delay="0"/>
                                  </p:stCondLst>
                                  <p:childTnLst>
                                    <p:set>
                                      <p:cBhvr>
                                        <p:cTn id="28" dur="1" fill="hold">
                                          <p:stCondLst>
                                            <p:cond delay="0"/>
                                          </p:stCondLst>
                                        </p:cTn>
                                        <p:tgtEl>
                                          <p:spTgt spid="99"/>
                                        </p:tgtEl>
                                        <p:attrNameLst>
                                          <p:attrName>style.visibility</p:attrName>
                                        </p:attrNameLst>
                                      </p:cBhvr>
                                      <p:to>
                                        <p:strVal val="visible"/>
                                      </p:to>
                                    </p:set>
                                    <p:animEffect transition="in" filter="wipe(up)">
                                      <p:cBhvr>
                                        <p:cTn id="29" dur="500"/>
                                        <p:tgtEl>
                                          <p:spTgt spid="99"/>
                                        </p:tgtEl>
                                      </p:cBhvr>
                                    </p:animEffect>
                                  </p:childTnLst>
                                </p:cTn>
                              </p:par>
                            </p:childTnLst>
                          </p:cTn>
                        </p:par>
                        <p:par>
                          <p:cTn id="30" fill="hold">
                            <p:stCondLst>
                              <p:cond delay="2750"/>
                            </p:stCondLst>
                            <p:childTnLst>
                              <p:par>
                                <p:cTn id="31" presetID="22" presetClass="entr" presetSubtype="8" fill="hold" grpId="0"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wipe(left)">
                                      <p:cBhvr>
                                        <p:cTn id="33" dur="500"/>
                                        <p:tgtEl>
                                          <p:spTgt spid="14"/>
                                        </p:tgtEl>
                                      </p:cBhvr>
                                    </p:animEffect>
                                  </p:childTnLst>
                                </p:cTn>
                              </p:par>
                            </p:childTnLst>
                          </p:cTn>
                        </p:par>
                        <p:par>
                          <p:cTn id="34" fill="hold">
                            <p:stCondLst>
                              <p:cond delay="3250"/>
                            </p:stCondLst>
                            <p:childTnLst>
                              <p:par>
                                <p:cTn id="35" presetID="10" presetClass="entr" presetSubtype="0" fill="hold" nodeType="afterEffect">
                                  <p:stCondLst>
                                    <p:cond delay="0"/>
                                  </p:stCondLst>
                                  <p:childTnLst>
                                    <p:set>
                                      <p:cBhvr>
                                        <p:cTn id="36" dur="1" fill="hold">
                                          <p:stCondLst>
                                            <p:cond delay="0"/>
                                          </p:stCondLst>
                                        </p:cTn>
                                        <p:tgtEl>
                                          <p:spTgt spid="39"/>
                                        </p:tgtEl>
                                        <p:attrNameLst>
                                          <p:attrName>style.visibility</p:attrName>
                                        </p:attrNameLst>
                                      </p:cBhvr>
                                      <p:to>
                                        <p:strVal val="visible"/>
                                      </p:to>
                                    </p:set>
                                    <p:animEffect transition="in" filter="fade">
                                      <p:cBhvr>
                                        <p:cTn id="37" dur="500"/>
                                        <p:tgtEl>
                                          <p:spTgt spid="39"/>
                                        </p:tgtEl>
                                      </p:cBhvr>
                                    </p:animEffect>
                                  </p:childTnLst>
                                </p:cTn>
                              </p:par>
                              <p:par>
                                <p:cTn id="38" presetID="10" presetClass="entr" presetSubtype="0" fill="hold" nodeType="withEffect">
                                  <p:stCondLst>
                                    <p:cond delay="0"/>
                                  </p:stCondLst>
                                  <p:childTnLst>
                                    <p:set>
                                      <p:cBhvr>
                                        <p:cTn id="39" dur="1" fill="hold">
                                          <p:stCondLst>
                                            <p:cond delay="0"/>
                                          </p:stCondLst>
                                        </p:cTn>
                                        <p:tgtEl>
                                          <p:spTgt spid="94"/>
                                        </p:tgtEl>
                                        <p:attrNameLst>
                                          <p:attrName>style.visibility</p:attrName>
                                        </p:attrNameLst>
                                      </p:cBhvr>
                                      <p:to>
                                        <p:strVal val="visible"/>
                                      </p:to>
                                    </p:set>
                                    <p:animEffect transition="in" filter="fade">
                                      <p:cBhvr>
                                        <p:cTn id="40" dur="500"/>
                                        <p:tgtEl>
                                          <p:spTgt spid="94"/>
                                        </p:tgtEl>
                                      </p:cBhvr>
                                    </p:animEffect>
                                  </p:childTnLst>
                                </p:cTn>
                              </p:par>
                            </p:childTnLst>
                          </p:cTn>
                        </p:par>
                        <p:par>
                          <p:cTn id="41" fill="hold">
                            <p:stCondLst>
                              <p:cond delay="3750"/>
                            </p:stCondLst>
                            <p:childTnLst>
                              <p:par>
                                <p:cTn id="42" presetID="22" presetClass="entr" presetSubtype="1" fill="hold" nodeType="afterEffect">
                                  <p:stCondLst>
                                    <p:cond delay="0"/>
                                  </p:stCondLst>
                                  <p:childTnLst>
                                    <p:set>
                                      <p:cBhvr>
                                        <p:cTn id="43" dur="1" fill="hold">
                                          <p:stCondLst>
                                            <p:cond delay="0"/>
                                          </p:stCondLst>
                                        </p:cTn>
                                        <p:tgtEl>
                                          <p:spTgt spid="103"/>
                                        </p:tgtEl>
                                        <p:attrNameLst>
                                          <p:attrName>style.visibility</p:attrName>
                                        </p:attrNameLst>
                                      </p:cBhvr>
                                      <p:to>
                                        <p:strVal val="visible"/>
                                      </p:to>
                                    </p:set>
                                    <p:animEffect transition="in" filter="wipe(up)">
                                      <p:cBhvr>
                                        <p:cTn id="44" dur="500"/>
                                        <p:tgtEl>
                                          <p:spTgt spid="103"/>
                                        </p:tgtEl>
                                      </p:cBhvr>
                                    </p:animEffect>
                                  </p:childTnLst>
                                </p:cTn>
                              </p:par>
                            </p:childTnLst>
                          </p:cTn>
                        </p:par>
                        <p:par>
                          <p:cTn id="45" fill="hold">
                            <p:stCondLst>
                              <p:cond delay="4250"/>
                            </p:stCondLst>
                            <p:childTnLst>
                              <p:par>
                                <p:cTn id="46" presetID="22" presetClass="entr" presetSubtype="8" fill="hold" grpId="0" nodeType="afterEffect">
                                  <p:stCondLst>
                                    <p:cond delay="0"/>
                                  </p:stCondLst>
                                  <p:childTnLst>
                                    <p:set>
                                      <p:cBhvr>
                                        <p:cTn id="47" dur="1" fill="hold">
                                          <p:stCondLst>
                                            <p:cond delay="0"/>
                                          </p:stCondLst>
                                        </p:cTn>
                                        <p:tgtEl>
                                          <p:spTgt spid="33"/>
                                        </p:tgtEl>
                                        <p:attrNameLst>
                                          <p:attrName>style.visibility</p:attrName>
                                        </p:attrNameLst>
                                      </p:cBhvr>
                                      <p:to>
                                        <p:strVal val="visible"/>
                                      </p:to>
                                    </p:set>
                                    <p:animEffect transition="in" filter="wipe(left)">
                                      <p:cBhvr>
                                        <p:cTn id="48" dur="500"/>
                                        <p:tgtEl>
                                          <p:spTgt spid="33"/>
                                        </p:tgtEl>
                                      </p:cBhvr>
                                    </p:animEffect>
                                  </p:childTnLst>
                                </p:cTn>
                              </p:par>
                            </p:childTnLst>
                          </p:cTn>
                        </p:par>
                        <p:par>
                          <p:cTn id="49" fill="hold">
                            <p:stCondLst>
                              <p:cond delay="4750"/>
                            </p:stCondLst>
                            <p:childTnLst>
                              <p:par>
                                <p:cTn id="50" presetID="10" presetClass="entr" presetSubtype="0" fill="hold" grpId="0"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10"/>
                                        <p:tgtEl>
                                          <p:spTgt spid="15"/>
                                        </p:tgtEl>
                                      </p:cBhvr>
                                    </p:animEffect>
                                  </p:childTnLst>
                                </p:cTn>
                              </p:par>
                            </p:childTnLst>
                          </p:cTn>
                        </p:par>
                        <p:par>
                          <p:cTn id="53" fill="hold">
                            <p:stCondLst>
                              <p:cond delay="4760"/>
                            </p:stCondLst>
                            <p:childTnLst>
                              <p:par>
                                <p:cTn id="54" presetID="10" presetClass="entr" presetSubtype="0" fill="hold" grpId="0" nodeType="afterEffect">
                                  <p:stCondLst>
                                    <p:cond delay="50"/>
                                  </p:stCondLst>
                                  <p:childTnLst>
                                    <p:set>
                                      <p:cBhvr>
                                        <p:cTn id="55" dur="1" fill="hold">
                                          <p:stCondLst>
                                            <p:cond delay="0"/>
                                          </p:stCondLst>
                                        </p:cTn>
                                        <p:tgtEl>
                                          <p:spTgt spid="16"/>
                                        </p:tgtEl>
                                        <p:attrNameLst>
                                          <p:attrName>style.visibility</p:attrName>
                                        </p:attrNameLst>
                                      </p:cBhvr>
                                      <p:to>
                                        <p:strVal val="visible"/>
                                      </p:to>
                                    </p:set>
                                    <p:animEffect transition="in" filter="fade">
                                      <p:cBhvr>
                                        <p:cTn id="56" dur="10"/>
                                        <p:tgtEl>
                                          <p:spTgt spid="16"/>
                                        </p:tgtEl>
                                      </p:cBhvr>
                                    </p:animEffect>
                                  </p:childTnLst>
                                </p:cTn>
                              </p:par>
                            </p:childTnLst>
                          </p:cTn>
                        </p:par>
                        <p:par>
                          <p:cTn id="57" fill="hold">
                            <p:stCondLst>
                              <p:cond delay="4820"/>
                            </p:stCondLst>
                            <p:childTnLst>
                              <p:par>
                                <p:cTn id="58" presetID="10" presetClass="entr" presetSubtype="0" fill="hold" grpId="0" nodeType="afterEffect">
                                  <p:stCondLst>
                                    <p:cond delay="50"/>
                                  </p:stCondLst>
                                  <p:childTnLst>
                                    <p:set>
                                      <p:cBhvr>
                                        <p:cTn id="59" dur="1" fill="hold">
                                          <p:stCondLst>
                                            <p:cond delay="0"/>
                                          </p:stCondLst>
                                        </p:cTn>
                                        <p:tgtEl>
                                          <p:spTgt spid="17"/>
                                        </p:tgtEl>
                                        <p:attrNameLst>
                                          <p:attrName>style.visibility</p:attrName>
                                        </p:attrNameLst>
                                      </p:cBhvr>
                                      <p:to>
                                        <p:strVal val="visible"/>
                                      </p:to>
                                    </p:set>
                                    <p:animEffect transition="in" filter="fade">
                                      <p:cBhvr>
                                        <p:cTn id="60" dur="10"/>
                                        <p:tgtEl>
                                          <p:spTgt spid="17"/>
                                        </p:tgtEl>
                                      </p:cBhvr>
                                    </p:animEffect>
                                  </p:childTnLst>
                                </p:cTn>
                              </p:par>
                            </p:childTnLst>
                          </p:cTn>
                        </p:par>
                        <p:par>
                          <p:cTn id="61" fill="hold">
                            <p:stCondLst>
                              <p:cond delay="4880"/>
                            </p:stCondLst>
                            <p:childTnLst>
                              <p:par>
                                <p:cTn id="62" presetID="10" presetClass="entr" presetSubtype="0" fill="hold" grpId="0" nodeType="afterEffect">
                                  <p:stCondLst>
                                    <p:cond delay="5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
                                        <p:tgtEl>
                                          <p:spTgt spid="18"/>
                                        </p:tgtEl>
                                      </p:cBhvr>
                                    </p:animEffect>
                                  </p:childTnLst>
                                </p:cTn>
                              </p:par>
                            </p:childTnLst>
                          </p:cTn>
                        </p:par>
                        <p:par>
                          <p:cTn id="65" fill="hold">
                            <p:stCondLst>
                              <p:cond delay="4940"/>
                            </p:stCondLst>
                            <p:childTnLst>
                              <p:par>
                                <p:cTn id="66" presetID="10" presetClass="entr" presetSubtype="0" fill="hold" grpId="0" nodeType="afterEffect">
                                  <p:stCondLst>
                                    <p:cond delay="50"/>
                                  </p:stCondLst>
                                  <p:childTnLst>
                                    <p:set>
                                      <p:cBhvr>
                                        <p:cTn id="67" dur="1" fill="hold">
                                          <p:stCondLst>
                                            <p:cond delay="0"/>
                                          </p:stCondLst>
                                        </p:cTn>
                                        <p:tgtEl>
                                          <p:spTgt spid="19"/>
                                        </p:tgtEl>
                                        <p:attrNameLst>
                                          <p:attrName>style.visibility</p:attrName>
                                        </p:attrNameLst>
                                      </p:cBhvr>
                                      <p:to>
                                        <p:strVal val="visible"/>
                                      </p:to>
                                    </p:set>
                                    <p:animEffect transition="in" filter="fade">
                                      <p:cBhvr>
                                        <p:cTn id="68" dur="10"/>
                                        <p:tgtEl>
                                          <p:spTgt spid="19"/>
                                        </p:tgtEl>
                                      </p:cBhvr>
                                    </p:animEffect>
                                  </p:childTnLst>
                                </p:cTn>
                              </p:par>
                            </p:childTnLst>
                          </p:cTn>
                        </p:par>
                        <p:par>
                          <p:cTn id="69" fill="hold">
                            <p:stCondLst>
                              <p:cond delay="5000"/>
                            </p:stCondLst>
                            <p:childTnLst>
                              <p:par>
                                <p:cTn id="70" presetID="10" presetClass="entr" presetSubtype="0" fill="hold" grpId="0" nodeType="afterEffect">
                                  <p:stCondLst>
                                    <p:cond delay="50"/>
                                  </p:stCondLst>
                                  <p:childTnLst>
                                    <p:set>
                                      <p:cBhvr>
                                        <p:cTn id="71" dur="1" fill="hold">
                                          <p:stCondLst>
                                            <p:cond delay="0"/>
                                          </p:stCondLst>
                                        </p:cTn>
                                        <p:tgtEl>
                                          <p:spTgt spid="20"/>
                                        </p:tgtEl>
                                        <p:attrNameLst>
                                          <p:attrName>style.visibility</p:attrName>
                                        </p:attrNameLst>
                                      </p:cBhvr>
                                      <p:to>
                                        <p:strVal val="visible"/>
                                      </p:to>
                                    </p:set>
                                    <p:animEffect transition="in" filter="fade">
                                      <p:cBhvr>
                                        <p:cTn id="72" dur="10"/>
                                        <p:tgtEl>
                                          <p:spTgt spid="20"/>
                                        </p:tgtEl>
                                      </p:cBhvr>
                                    </p:animEffect>
                                  </p:childTnLst>
                                </p:cTn>
                              </p:par>
                            </p:childTnLst>
                          </p:cTn>
                        </p:par>
                        <p:par>
                          <p:cTn id="73" fill="hold">
                            <p:stCondLst>
                              <p:cond delay="5060"/>
                            </p:stCondLst>
                            <p:childTnLst>
                              <p:par>
                                <p:cTn id="74" presetID="10" presetClass="entr" presetSubtype="0" fill="hold" grpId="0" nodeType="afterEffect">
                                  <p:stCondLst>
                                    <p:cond delay="5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10"/>
                                        <p:tgtEl>
                                          <p:spTgt spid="21"/>
                                        </p:tgtEl>
                                      </p:cBhvr>
                                    </p:animEffect>
                                  </p:childTnLst>
                                </p:cTn>
                              </p:par>
                            </p:childTnLst>
                          </p:cTn>
                        </p:par>
                        <p:par>
                          <p:cTn id="77" fill="hold">
                            <p:stCondLst>
                              <p:cond delay="5120"/>
                            </p:stCondLst>
                            <p:childTnLst>
                              <p:par>
                                <p:cTn id="78" presetID="10" presetClass="entr" presetSubtype="0" fill="hold" grpId="0" nodeType="afterEffect">
                                  <p:stCondLst>
                                    <p:cond delay="50"/>
                                  </p:stCondLst>
                                  <p:childTnLst>
                                    <p:set>
                                      <p:cBhvr>
                                        <p:cTn id="79" dur="1" fill="hold">
                                          <p:stCondLst>
                                            <p:cond delay="0"/>
                                          </p:stCondLst>
                                        </p:cTn>
                                        <p:tgtEl>
                                          <p:spTgt spid="22"/>
                                        </p:tgtEl>
                                        <p:attrNameLst>
                                          <p:attrName>style.visibility</p:attrName>
                                        </p:attrNameLst>
                                      </p:cBhvr>
                                      <p:to>
                                        <p:strVal val="visible"/>
                                      </p:to>
                                    </p:set>
                                    <p:animEffect transition="in" filter="fade">
                                      <p:cBhvr>
                                        <p:cTn id="80" dur="10"/>
                                        <p:tgtEl>
                                          <p:spTgt spid="22"/>
                                        </p:tgtEl>
                                      </p:cBhvr>
                                    </p:animEffect>
                                  </p:childTnLst>
                                </p:cTn>
                              </p:par>
                            </p:childTnLst>
                          </p:cTn>
                        </p:par>
                        <p:par>
                          <p:cTn id="81" fill="hold">
                            <p:stCondLst>
                              <p:cond delay="5180"/>
                            </p:stCondLst>
                            <p:childTnLst>
                              <p:par>
                                <p:cTn id="82" presetID="10" presetClass="entr" presetSubtype="0" fill="hold" grpId="0" nodeType="afterEffect">
                                  <p:stCondLst>
                                    <p:cond delay="50"/>
                                  </p:stCondLst>
                                  <p:childTnLst>
                                    <p:set>
                                      <p:cBhvr>
                                        <p:cTn id="83" dur="1" fill="hold">
                                          <p:stCondLst>
                                            <p:cond delay="0"/>
                                          </p:stCondLst>
                                        </p:cTn>
                                        <p:tgtEl>
                                          <p:spTgt spid="23"/>
                                        </p:tgtEl>
                                        <p:attrNameLst>
                                          <p:attrName>style.visibility</p:attrName>
                                        </p:attrNameLst>
                                      </p:cBhvr>
                                      <p:to>
                                        <p:strVal val="visible"/>
                                      </p:to>
                                    </p:set>
                                    <p:animEffect transition="in" filter="fade">
                                      <p:cBhvr>
                                        <p:cTn id="84" dur="10"/>
                                        <p:tgtEl>
                                          <p:spTgt spid="23"/>
                                        </p:tgtEl>
                                      </p:cBhvr>
                                    </p:animEffect>
                                  </p:childTnLst>
                                </p:cTn>
                              </p:par>
                            </p:childTnLst>
                          </p:cTn>
                        </p:par>
                        <p:par>
                          <p:cTn id="85" fill="hold">
                            <p:stCondLst>
                              <p:cond delay="5240"/>
                            </p:stCondLst>
                            <p:childTnLst>
                              <p:par>
                                <p:cTn id="86" presetID="10" presetClass="entr" presetSubtype="0" fill="hold" grpId="0" nodeType="afterEffect">
                                  <p:stCondLst>
                                    <p:cond delay="50"/>
                                  </p:stCondLst>
                                  <p:childTnLst>
                                    <p:set>
                                      <p:cBhvr>
                                        <p:cTn id="87" dur="1" fill="hold">
                                          <p:stCondLst>
                                            <p:cond delay="0"/>
                                          </p:stCondLst>
                                        </p:cTn>
                                        <p:tgtEl>
                                          <p:spTgt spid="24"/>
                                        </p:tgtEl>
                                        <p:attrNameLst>
                                          <p:attrName>style.visibility</p:attrName>
                                        </p:attrNameLst>
                                      </p:cBhvr>
                                      <p:to>
                                        <p:strVal val="visible"/>
                                      </p:to>
                                    </p:set>
                                    <p:animEffect transition="in" filter="fade">
                                      <p:cBhvr>
                                        <p:cTn id="88" dur="10"/>
                                        <p:tgtEl>
                                          <p:spTgt spid="24"/>
                                        </p:tgtEl>
                                      </p:cBhvr>
                                    </p:animEffect>
                                  </p:childTnLst>
                                </p:cTn>
                              </p:par>
                            </p:childTnLst>
                          </p:cTn>
                        </p:par>
                        <p:par>
                          <p:cTn id="89" fill="hold">
                            <p:stCondLst>
                              <p:cond delay="5300"/>
                            </p:stCondLst>
                            <p:childTnLst>
                              <p:par>
                                <p:cTn id="90" presetID="10" presetClass="entr" presetSubtype="0" fill="hold" grpId="0" nodeType="afterEffect">
                                  <p:stCondLst>
                                    <p:cond delay="50"/>
                                  </p:stCondLst>
                                  <p:childTnLst>
                                    <p:set>
                                      <p:cBhvr>
                                        <p:cTn id="91" dur="1" fill="hold">
                                          <p:stCondLst>
                                            <p:cond delay="0"/>
                                          </p:stCondLst>
                                        </p:cTn>
                                        <p:tgtEl>
                                          <p:spTgt spid="25"/>
                                        </p:tgtEl>
                                        <p:attrNameLst>
                                          <p:attrName>style.visibility</p:attrName>
                                        </p:attrNameLst>
                                      </p:cBhvr>
                                      <p:to>
                                        <p:strVal val="visible"/>
                                      </p:to>
                                    </p:set>
                                    <p:animEffect transition="in" filter="fade">
                                      <p:cBhvr>
                                        <p:cTn id="92" dur="10"/>
                                        <p:tgtEl>
                                          <p:spTgt spid="25"/>
                                        </p:tgtEl>
                                      </p:cBhvr>
                                    </p:animEffect>
                                  </p:childTnLst>
                                </p:cTn>
                              </p:par>
                            </p:childTnLst>
                          </p:cTn>
                        </p:par>
                        <p:par>
                          <p:cTn id="93" fill="hold">
                            <p:stCondLst>
                              <p:cond delay="5360"/>
                            </p:stCondLst>
                            <p:childTnLst>
                              <p:par>
                                <p:cTn id="94" presetID="10" presetClass="entr" presetSubtype="0" fill="hold" grpId="0" nodeType="afterEffect">
                                  <p:stCondLst>
                                    <p:cond delay="50"/>
                                  </p:stCondLst>
                                  <p:childTnLst>
                                    <p:set>
                                      <p:cBhvr>
                                        <p:cTn id="95" dur="1" fill="hold">
                                          <p:stCondLst>
                                            <p:cond delay="0"/>
                                          </p:stCondLst>
                                        </p:cTn>
                                        <p:tgtEl>
                                          <p:spTgt spid="26"/>
                                        </p:tgtEl>
                                        <p:attrNameLst>
                                          <p:attrName>style.visibility</p:attrName>
                                        </p:attrNameLst>
                                      </p:cBhvr>
                                      <p:to>
                                        <p:strVal val="visible"/>
                                      </p:to>
                                    </p:set>
                                    <p:animEffect transition="in" filter="fade">
                                      <p:cBhvr>
                                        <p:cTn id="96" dur="10"/>
                                        <p:tgtEl>
                                          <p:spTgt spid="26"/>
                                        </p:tgtEl>
                                      </p:cBhvr>
                                    </p:animEffect>
                                  </p:childTnLst>
                                </p:cTn>
                              </p:par>
                            </p:childTnLst>
                          </p:cTn>
                        </p:par>
                        <p:par>
                          <p:cTn id="97" fill="hold">
                            <p:stCondLst>
                              <p:cond delay="5420"/>
                            </p:stCondLst>
                            <p:childTnLst>
                              <p:par>
                                <p:cTn id="98" presetID="10" presetClass="entr" presetSubtype="0" fill="hold" grpId="0" nodeType="afterEffect">
                                  <p:stCondLst>
                                    <p:cond delay="50"/>
                                  </p:stCondLst>
                                  <p:childTnLst>
                                    <p:set>
                                      <p:cBhvr>
                                        <p:cTn id="99" dur="1" fill="hold">
                                          <p:stCondLst>
                                            <p:cond delay="0"/>
                                          </p:stCondLst>
                                        </p:cTn>
                                        <p:tgtEl>
                                          <p:spTgt spid="27"/>
                                        </p:tgtEl>
                                        <p:attrNameLst>
                                          <p:attrName>style.visibility</p:attrName>
                                        </p:attrNameLst>
                                      </p:cBhvr>
                                      <p:to>
                                        <p:strVal val="visible"/>
                                      </p:to>
                                    </p:set>
                                    <p:animEffect transition="in" filter="fade">
                                      <p:cBhvr>
                                        <p:cTn id="100" dur="10"/>
                                        <p:tgtEl>
                                          <p:spTgt spid="27"/>
                                        </p:tgtEl>
                                      </p:cBhvr>
                                    </p:animEffect>
                                  </p:childTnLst>
                                </p:cTn>
                              </p:par>
                            </p:childTnLst>
                          </p:cTn>
                        </p:par>
                        <p:par>
                          <p:cTn id="101" fill="hold">
                            <p:stCondLst>
                              <p:cond delay="5480"/>
                            </p:stCondLst>
                            <p:childTnLst>
                              <p:par>
                                <p:cTn id="102" presetID="10" presetClass="entr" presetSubtype="0" fill="hold" grpId="0" nodeType="afterEffect">
                                  <p:stCondLst>
                                    <p:cond delay="50"/>
                                  </p:stCondLst>
                                  <p:childTnLst>
                                    <p:set>
                                      <p:cBhvr>
                                        <p:cTn id="103" dur="1" fill="hold">
                                          <p:stCondLst>
                                            <p:cond delay="0"/>
                                          </p:stCondLst>
                                        </p:cTn>
                                        <p:tgtEl>
                                          <p:spTgt spid="28"/>
                                        </p:tgtEl>
                                        <p:attrNameLst>
                                          <p:attrName>style.visibility</p:attrName>
                                        </p:attrNameLst>
                                      </p:cBhvr>
                                      <p:to>
                                        <p:strVal val="visible"/>
                                      </p:to>
                                    </p:set>
                                    <p:animEffect transition="in" filter="fade">
                                      <p:cBhvr>
                                        <p:cTn id="104" dur="10"/>
                                        <p:tgtEl>
                                          <p:spTgt spid="28"/>
                                        </p:tgtEl>
                                      </p:cBhvr>
                                    </p:animEffect>
                                  </p:childTnLst>
                                </p:cTn>
                              </p:par>
                            </p:childTnLst>
                          </p:cTn>
                        </p:par>
                        <p:par>
                          <p:cTn id="105" fill="hold">
                            <p:stCondLst>
                              <p:cond delay="5540"/>
                            </p:stCondLst>
                            <p:childTnLst>
                              <p:par>
                                <p:cTn id="106" presetID="10" presetClass="entr" presetSubtype="0" fill="hold" grpId="0" nodeType="afterEffect">
                                  <p:stCondLst>
                                    <p:cond delay="50"/>
                                  </p:stCondLst>
                                  <p:childTnLst>
                                    <p:set>
                                      <p:cBhvr>
                                        <p:cTn id="107" dur="1" fill="hold">
                                          <p:stCondLst>
                                            <p:cond delay="0"/>
                                          </p:stCondLst>
                                        </p:cTn>
                                        <p:tgtEl>
                                          <p:spTgt spid="29"/>
                                        </p:tgtEl>
                                        <p:attrNameLst>
                                          <p:attrName>style.visibility</p:attrName>
                                        </p:attrNameLst>
                                      </p:cBhvr>
                                      <p:to>
                                        <p:strVal val="visible"/>
                                      </p:to>
                                    </p:set>
                                    <p:animEffect transition="in" filter="fade">
                                      <p:cBhvr>
                                        <p:cTn id="108" dur="10"/>
                                        <p:tgtEl>
                                          <p:spTgt spid="29"/>
                                        </p:tgtEl>
                                      </p:cBhvr>
                                    </p:animEffect>
                                  </p:childTnLst>
                                </p:cTn>
                              </p:par>
                            </p:childTnLst>
                          </p:cTn>
                        </p:par>
                        <p:par>
                          <p:cTn id="109" fill="hold">
                            <p:stCondLst>
                              <p:cond delay="5600"/>
                            </p:stCondLst>
                            <p:childTnLst>
                              <p:par>
                                <p:cTn id="110" presetID="10" presetClass="entr" presetSubtype="0" fill="hold" grpId="0" nodeType="afterEffect">
                                  <p:stCondLst>
                                    <p:cond delay="50"/>
                                  </p:stCondLst>
                                  <p:childTnLst>
                                    <p:set>
                                      <p:cBhvr>
                                        <p:cTn id="111" dur="1" fill="hold">
                                          <p:stCondLst>
                                            <p:cond delay="0"/>
                                          </p:stCondLst>
                                        </p:cTn>
                                        <p:tgtEl>
                                          <p:spTgt spid="30"/>
                                        </p:tgtEl>
                                        <p:attrNameLst>
                                          <p:attrName>style.visibility</p:attrName>
                                        </p:attrNameLst>
                                      </p:cBhvr>
                                      <p:to>
                                        <p:strVal val="visible"/>
                                      </p:to>
                                    </p:set>
                                    <p:animEffect transition="in" filter="fade">
                                      <p:cBhvr>
                                        <p:cTn id="112" dur="10"/>
                                        <p:tgtEl>
                                          <p:spTgt spid="30"/>
                                        </p:tgtEl>
                                      </p:cBhvr>
                                    </p:animEffect>
                                  </p:childTnLst>
                                </p:cTn>
                              </p:par>
                            </p:childTnLst>
                          </p:cTn>
                        </p:par>
                        <p:par>
                          <p:cTn id="113" fill="hold">
                            <p:stCondLst>
                              <p:cond delay="5660"/>
                            </p:stCondLst>
                            <p:childTnLst>
                              <p:par>
                                <p:cTn id="114" presetID="10" presetClass="entr" presetSubtype="0" fill="hold" grpId="0" nodeType="afterEffect">
                                  <p:stCondLst>
                                    <p:cond delay="50"/>
                                  </p:stCondLst>
                                  <p:childTnLst>
                                    <p:set>
                                      <p:cBhvr>
                                        <p:cTn id="115" dur="1" fill="hold">
                                          <p:stCondLst>
                                            <p:cond delay="0"/>
                                          </p:stCondLst>
                                        </p:cTn>
                                        <p:tgtEl>
                                          <p:spTgt spid="31"/>
                                        </p:tgtEl>
                                        <p:attrNameLst>
                                          <p:attrName>style.visibility</p:attrName>
                                        </p:attrNameLst>
                                      </p:cBhvr>
                                      <p:to>
                                        <p:strVal val="visible"/>
                                      </p:to>
                                    </p:set>
                                    <p:animEffect transition="in" filter="fade">
                                      <p:cBhvr>
                                        <p:cTn id="116" dur="10"/>
                                        <p:tgtEl>
                                          <p:spTgt spid="31"/>
                                        </p:tgtEl>
                                      </p:cBhvr>
                                    </p:animEffect>
                                  </p:childTnLst>
                                </p:cTn>
                              </p:par>
                            </p:childTnLst>
                          </p:cTn>
                        </p:par>
                        <p:par>
                          <p:cTn id="117" fill="hold">
                            <p:stCondLst>
                              <p:cond delay="5720"/>
                            </p:stCondLst>
                            <p:childTnLst>
                              <p:par>
                                <p:cTn id="118" presetID="10" presetClass="entr" presetSubtype="0" fill="hold" grpId="0" nodeType="afterEffect">
                                  <p:stCondLst>
                                    <p:cond delay="50"/>
                                  </p:stCondLst>
                                  <p:childTnLst>
                                    <p:set>
                                      <p:cBhvr>
                                        <p:cTn id="119" dur="1" fill="hold">
                                          <p:stCondLst>
                                            <p:cond delay="0"/>
                                          </p:stCondLst>
                                        </p:cTn>
                                        <p:tgtEl>
                                          <p:spTgt spid="32"/>
                                        </p:tgtEl>
                                        <p:attrNameLst>
                                          <p:attrName>style.visibility</p:attrName>
                                        </p:attrNameLst>
                                      </p:cBhvr>
                                      <p:to>
                                        <p:strVal val="visible"/>
                                      </p:to>
                                    </p:set>
                                    <p:animEffect transition="in" filter="fade">
                                      <p:cBhvr>
                                        <p:cTn id="120" dur="10"/>
                                        <p:tgtEl>
                                          <p:spTgt spid="32"/>
                                        </p:tgtEl>
                                      </p:cBhvr>
                                    </p:animEffect>
                                  </p:childTnLst>
                                </p:cTn>
                              </p:par>
                            </p:childTnLst>
                          </p:cTn>
                        </p:par>
                        <p:par>
                          <p:cTn id="121" fill="hold">
                            <p:stCondLst>
                              <p:cond delay="5780"/>
                            </p:stCondLst>
                            <p:childTnLst>
                              <p:par>
                                <p:cTn id="122" presetID="22" presetClass="entr" presetSubtype="1" fill="hold" nodeType="afterEffect">
                                  <p:stCondLst>
                                    <p:cond delay="0"/>
                                  </p:stCondLst>
                                  <p:childTnLst>
                                    <p:set>
                                      <p:cBhvr>
                                        <p:cTn id="123" dur="1" fill="hold">
                                          <p:stCondLst>
                                            <p:cond delay="0"/>
                                          </p:stCondLst>
                                        </p:cTn>
                                        <p:tgtEl>
                                          <p:spTgt spid="106"/>
                                        </p:tgtEl>
                                        <p:attrNameLst>
                                          <p:attrName>style.visibility</p:attrName>
                                        </p:attrNameLst>
                                      </p:cBhvr>
                                      <p:to>
                                        <p:strVal val="visible"/>
                                      </p:to>
                                    </p:set>
                                    <p:animEffect transition="in" filter="wipe(up)">
                                      <p:cBhvr>
                                        <p:cTn id="124" dur="500"/>
                                        <p:tgtEl>
                                          <p:spTgt spid="106"/>
                                        </p:tgtEl>
                                      </p:cBhvr>
                                    </p:animEffect>
                                  </p:childTnLst>
                                </p:cTn>
                              </p:par>
                            </p:childTnLst>
                          </p:cTn>
                        </p:par>
                        <p:par>
                          <p:cTn id="125" fill="hold">
                            <p:stCondLst>
                              <p:cond delay="6280"/>
                            </p:stCondLst>
                            <p:childTnLst>
                              <p:par>
                                <p:cTn id="126" presetID="47" presetClass="entr" presetSubtype="0" fill="hold" grpId="0" nodeType="afterEffect">
                                  <p:stCondLst>
                                    <p:cond delay="0"/>
                                  </p:stCondLst>
                                  <p:childTnLst>
                                    <p:set>
                                      <p:cBhvr>
                                        <p:cTn id="127" dur="1" fill="hold">
                                          <p:stCondLst>
                                            <p:cond delay="0"/>
                                          </p:stCondLst>
                                        </p:cTn>
                                        <p:tgtEl>
                                          <p:spTgt spid="34"/>
                                        </p:tgtEl>
                                        <p:attrNameLst>
                                          <p:attrName>style.visibility</p:attrName>
                                        </p:attrNameLst>
                                      </p:cBhvr>
                                      <p:to>
                                        <p:strVal val="visible"/>
                                      </p:to>
                                    </p:set>
                                    <p:animEffect transition="in" filter="fade">
                                      <p:cBhvr>
                                        <p:cTn id="128" dur="1000"/>
                                        <p:tgtEl>
                                          <p:spTgt spid="34"/>
                                        </p:tgtEl>
                                      </p:cBhvr>
                                    </p:animEffect>
                                    <p:anim calcmode="lin" valueType="num">
                                      <p:cBhvr>
                                        <p:cTn id="129" dur="1000" fill="hold"/>
                                        <p:tgtEl>
                                          <p:spTgt spid="34"/>
                                        </p:tgtEl>
                                        <p:attrNameLst>
                                          <p:attrName>ppt_x</p:attrName>
                                        </p:attrNameLst>
                                      </p:cBhvr>
                                      <p:tavLst>
                                        <p:tav tm="0">
                                          <p:val>
                                            <p:strVal val="#ppt_x"/>
                                          </p:val>
                                        </p:tav>
                                        <p:tav tm="100000">
                                          <p:val>
                                            <p:strVal val="#ppt_x"/>
                                          </p:val>
                                        </p:tav>
                                      </p:tavLst>
                                    </p:anim>
                                    <p:anim calcmode="lin" valueType="num">
                                      <p:cBhvr>
                                        <p:cTn id="130"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 grpId="0" animBg="1"/>
      <p:bldP spid="10" grpId="0"/>
      <p:bldP spid="14" grpId="0"/>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HDInsight service entry points</a:t>
            </a:r>
            <a:endParaRPr lang="en-US" dirty="0"/>
          </a:p>
        </p:txBody>
      </p:sp>
      <p:sp>
        <p:nvSpPr>
          <p:cNvPr id="30" name="Slide Number Placeholder 29"/>
          <p:cNvSpPr>
            <a:spLocks noGrp="1"/>
          </p:cNvSpPr>
          <p:nvPr>
            <p:ph type="sldNum" sz="quarter" idx="11"/>
          </p:nvPr>
        </p:nvSpPr>
        <p:spPr/>
        <p:txBody>
          <a:bodyPr/>
          <a:lstStyle/>
          <a:p>
            <a:fld id="{F8A0AC42-AA1D-4944-8D96-660DE70C7E1B}" type="slidenum">
              <a:rPr lang="en-IN" smtClean="0"/>
              <a:pPr/>
              <a:t>16</a:t>
            </a:fld>
            <a:endParaRPr lang="en-IN" dirty="0"/>
          </a:p>
        </p:txBody>
      </p:sp>
      <p:sp>
        <p:nvSpPr>
          <p:cNvPr id="4" name="Rectangle 3"/>
          <p:cNvSpPr/>
          <p:nvPr/>
        </p:nvSpPr>
        <p:spPr>
          <a:xfrm>
            <a:off x="2573057" y="1843464"/>
            <a:ext cx="2294218" cy="1200329"/>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wrap="none" rtlCol="0" anchor="ctr">
            <a:spAutoFit/>
          </a:bodyPr>
          <a:lstStyle/>
          <a:p>
            <a:pPr algn="r"/>
            <a:r>
              <a:rPr lang="en-US" sz="3600" dirty="0" smtClean="0">
                <a:solidFill>
                  <a:schemeClr val="accent3"/>
                </a:solidFill>
                <a:latin typeface="Segoe UI Semibold" panose="020B0702040204020203" pitchFamily="34" charset="0"/>
                <a:cs typeface="Segoe UI Semibold" panose="020B0702040204020203" pitchFamily="34" charset="0"/>
              </a:rPr>
              <a:t>HDInsight</a:t>
            </a:r>
            <a:br>
              <a:rPr lang="en-US" sz="3600" dirty="0" smtClean="0">
                <a:solidFill>
                  <a:schemeClr val="accent3"/>
                </a:solidFill>
                <a:latin typeface="Segoe UI Semibold" panose="020B0702040204020203" pitchFamily="34" charset="0"/>
                <a:cs typeface="Segoe UI Semibold" panose="020B0702040204020203" pitchFamily="34" charset="0"/>
              </a:rPr>
            </a:br>
            <a:r>
              <a:rPr lang="en-US" sz="3600" dirty="0" smtClean="0">
                <a:solidFill>
                  <a:schemeClr val="accent3"/>
                </a:solidFill>
                <a:latin typeface="Segoe UI Semibold" panose="020B0702040204020203" pitchFamily="34" charset="0"/>
                <a:cs typeface="Segoe UI Semibold" panose="020B0702040204020203" pitchFamily="34" charset="0"/>
              </a:rPr>
              <a:t>cluster</a:t>
            </a:r>
            <a:endParaRPr lang="en-US" sz="3600" dirty="0">
              <a:solidFill>
                <a:schemeClr val="accent3"/>
              </a:solidFill>
              <a:latin typeface="Segoe UI Semibold" panose="020B0702040204020203" pitchFamily="34" charset="0"/>
              <a:cs typeface="Segoe UI Semibold" panose="020B0702040204020203" pitchFamily="34" charset="0"/>
            </a:endParaRPr>
          </a:p>
        </p:txBody>
      </p:sp>
      <p:sp>
        <p:nvSpPr>
          <p:cNvPr id="8" name="TextBox 7"/>
          <p:cNvSpPr txBox="1"/>
          <p:nvPr/>
        </p:nvSpPr>
        <p:spPr>
          <a:xfrm>
            <a:off x="2528468" y="4305556"/>
            <a:ext cx="1978435" cy="772031"/>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602693" fontAlgn="base">
              <a:spcBef>
                <a:spcPct val="0"/>
              </a:spcBef>
              <a:spcAft>
                <a:spcPct val="0"/>
              </a:spcAft>
              <a:defRPr sz="1400" kern="0">
                <a:solidFill>
                  <a:schemeClr val="bg1"/>
                </a:solidFill>
                <a:ea typeface="Segoe UI" pitchFamily="34" charset="0"/>
                <a:cs typeface="Segoe UI" pitchFamily="34" charset="0"/>
              </a:defRPr>
            </a:lvl1pPr>
          </a:lstStyle>
          <a:p>
            <a:r>
              <a:rPr lang="en-US" sz="2400" dirty="0">
                <a:latin typeface="Segoe UI Semibold" panose="020B0702040204020203" pitchFamily="34" charset="0"/>
                <a:cs typeface="Segoe UI Semibold" panose="020B0702040204020203" pitchFamily="34" charset="0"/>
              </a:rPr>
              <a:t>REST </a:t>
            </a:r>
          </a:p>
        </p:txBody>
      </p:sp>
      <p:sp>
        <p:nvSpPr>
          <p:cNvPr id="11" name="TextBox 10"/>
          <p:cNvSpPr txBox="1"/>
          <p:nvPr/>
        </p:nvSpPr>
        <p:spPr>
          <a:xfrm>
            <a:off x="465138" y="5229225"/>
            <a:ext cx="2581964" cy="1239838"/>
          </a:xfrm>
          <a:prstGeom prst="rect">
            <a:avLst/>
          </a:prstGeom>
          <a:solidFill>
            <a:schemeClr val="bg1">
              <a:lumMod val="95000"/>
            </a:schemeClr>
          </a:solidFill>
        </p:spPr>
        <p:txBody>
          <a:bodyPr wrap="none" lIns="182880" tIns="45720" rIns="182880" bIns="182880" rtlCol="0" anchor="t">
            <a:noAutofit/>
          </a:bodyPr>
          <a:lstStyle/>
          <a:p>
            <a:pPr algn="ctr"/>
            <a:r>
              <a:rPr lang="en-US" sz="2400" dirty="0">
                <a:solidFill>
                  <a:schemeClr val="tx2"/>
                </a:solidFill>
                <a:latin typeface="Segoe UI Semibold" panose="020B0702040204020203" pitchFamily="34" charset="0"/>
                <a:cs typeface="Segoe UI Semibold" panose="020B0702040204020203" pitchFamily="34" charset="0"/>
              </a:rPr>
              <a:t>SDK</a:t>
            </a:r>
          </a:p>
        </p:txBody>
      </p:sp>
      <p:sp>
        <p:nvSpPr>
          <p:cNvPr id="12" name="TextBox 11"/>
          <p:cNvSpPr txBox="1"/>
          <p:nvPr/>
        </p:nvSpPr>
        <p:spPr>
          <a:xfrm>
            <a:off x="587410" y="5654040"/>
            <a:ext cx="2337419" cy="729300"/>
          </a:xfrm>
          <a:prstGeom prst="rect">
            <a:avLst/>
          </a:prstGeom>
          <a:solidFill>
            <a:schemeClr val="accent3"/>
          </a:solidFill>
        </p:spPr>
        <p:txBody>
          <a:bodyPr wrap="square" lIns="91440" tIns="45720" rIns="91440" bIns="45720" rtlCol="0" anchor="ctr">
            <a:noAutofit/>
          </a:bodyPr>
          <a:lstStyle/>
          <a:p>
            <a:pPr algn="ctr"/>
            <a:r>
              <a:rPr lang="en-US" sz="2000" dirty="0">
                <a:solidFill>
                  <a:schemeClr val="bg1"/>
                </a:solidFill>
              </a:rPr>
              <a:t>Query </a:t>
            </a:r>
            <a:r>
              <a:rPr lang="en-US" sz="2000" dirty="0" smtClean="0">
                <a:solidFill>
                  <a:schemeClr val="bg1"/>
                </a:solidFill>
              </a:rPr>
              <a:t>console</a:t>
            </a:r>
            <a:endParaRPr lang="en-US" sz="2000" dirty="0">
              <a:solidFill>
                <a:schemeClr val="bg1"/>
              </a:solidFill>
            </a:endParaRPr>
          </a:p>
          <a:p>
            <a:pPr algn="ctr"/>
            <a:r>
              <a:rPr lang="en-US" sz="2000" dirty="0">
                <a:solidFill>
                  <a:schemeClr val="bg1"/>
                </a:solidFill>
              </a:rPr>
              <a:t>PowerShell</a:t>
            </a:r>
          </a:p>
        </p:txBody>
      </p:sp>
      <p:sp>
        <p:nvSpPr>
          <p:cNvPr id="20" name="TextBox 19"/>
          <p:cNvSpPr txBox="1"/>
          <p:nvPr/>
        </p:nvSpPr>
        <p:spPr>
          <a:xfrm>
            <a:off x="3985173" y="5229225"/>
            <a:ext cx="2605817" cy="1239838"/>
          </a:xfrm>
          <a:prstGeom prst="rect">
            <a:avLst/>
          </a:prstGeom>
          <a:solidFill>
            <a:schemeClr val="bg1">
              <a:lumMod val="95000"/>
            </a:schemeClr>
          </a:solidFill>
        </p:spPr>
        <p:txBody>
          <a:bodyPr wrap="none" lIns="182880" tIns="45720" rIns="182880" bIns="182880" rtlCol="0" anchor="t">
            <a:noAutofit/>
          </a:bodyPr>
          <a:lstStyle/>
          <a:p>
            <a:pPr algn="ctr"/>
            <a:r>
              <a:rPr lang="en-US" sz="2400" dirty="0">
                <a:solidFill>
                  <a:schemeClr val="tx2"/>
                </a:solidFill>
                <a:latin typeface="Segoe UI Semibold" panose="020B0702040204020203" pitchFamily="34" charset="0"/>
                <a:cs typeface="Segoe UI Semibold" panose="020B0702040204020203" pitchFamily="34" charset="0"/>
              </a:rPr>
              <a:t>ODBC</a:t>
            </a:r>
          </a:p>
        </p:txBody>
      </p:sp>
      <p:sp>
        <p:nvSpPr>
          <p:cNvPr id="24" name="TextBox 23"/>
          <p:cNvSpPr txBox="1"/>
          <p:nvPr/>
        </p:nvSpPr>
        <p:spPr>
          <a:xfrm>
            <a:off x="4117408" y="5654040"/>
            <a:ext cx="2341346" cy="729300"/>
          </a:xfrm>
          <a:prstGeom prst="rect">
            <a:avLst/>
          </a:prstGeom>
          <a:solidFill>
            <a:schemeClr val="accent3"/>
          </a:solidFill>
        </p:spPr>
        <p:txBody>
          <a:bodyPr wrap="square" lIns="91440" tIns="45720" rIns="91440" bIns="45720" rtlCol="0" anchor="ctr">
            <a:noAutofit/>
          </a:bodyPr>
          <a:lstStyle/>
          <a:p>
            <a:pPr algn="ctr"/>
            <a:r>
              <a:rPr lang="en-US" sz="2000" dirty="0" smtClean="0">
                <a:solidFill>
                  <a:schemeClr val="bg1"/>
                </a:solidFill>
              </a:rPr>
              <a:t>Excel Visual </a:t>
            </a:r>
            <a:br>
              <a:rPr lang="en-US" sz="2000" dirty="0" smtClean="0">
                <a:solidFill>
                  <a:schemeClr val="bg1"/>
                </a:solidFill>
              </a:rPr>
            </a:br>
            <a:r>
              <a:rPr lang="en-US" sz="2000" dirty="0" smtClean="0">
                <a:solidFill>
                  <a:schemeClr val="bg1"/>
                </a:solidFill>
              </a:rPr>
              <a:t>Studio plugin</a:t>
            </a:r>
            <a:endParaRPr lang="en-US" sz="2000" dirty="0">
              <a:solidFill>
                <a:schemeClr val="bg1"/>
              </a:solidFill>
            </a:endParaRPr>
          </a:p>
        </p:txBody>
      </p:sp>
      <p:cxnSp>
        <p:nvCxnSpPr>
          <p:cNvPr id="69" name="Elbow Connector 68"/>
          <p:cNvCxnSpPr>
            <a:stCxn id="11" idx="0"/>
            <a:endCxn id="8" idx="1"/>
          </p:cNvCxnSpPr>
          <p:nvPr/>
        </p:nvCxnSpPr>
        <p:spPr>
          <a:xfrm rot="5400000" flipH="1" flipV="1">
            <a:off x="1873468" y="4574225"/>
            <a:ext cx="537653" cy="772348"/>
          </a:xfrm>
          <a:prstGeom prst="bentConnector2">
            <a:avLst/>
          </a:prstGeom>
          <a:ln>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2" name="Elbow Connector 71"/>
          <p:cNvCxnSpPr/>
          <p:nvPr/>
        </p:nvCxnSpPr>
        <p:spPr>
          <a:xfrm rot="16200000" flipV="1">
            <a:off x="4628667" y="4569809"/>
            <a:ext cx="537653" cy="781179"/>
          </a:xfrm>
          <a:prstGeom prst="bentConnector2">
            <a:avLst/>
          </a:prstGeom>
          <a:ln>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95" name="Oval 94"/>
          <p:cNvSpPr/>
          <p:nvPr/>
        </p:nvSpPr>
        <p:spPr bwMode="auto">
          <a:xfrm>
            <a:off x="1692112" y="5152143"/>
            <a:ext cx="128016" cy="124707"/>
          </a:xfrm>
          <a:prstGeom prst="ellipse">
            <a:avLst/>
          </a:prstGeom>
          <a:solidFill>
            <a:schemeClr val="accent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96" name="Oval 95"/>
          <p:cNvSpPr/>
          <p:nvPr/>
        </p:nvSpPr>
        <p:spPr bwMode="auto">
          <a:xfrm>
            <a:off x="5224073" y="5152143"/>
            <a:ext cx="128016" cy="124707"/>
          </a:xfrm>
          <a:prstGeom prst="ellipse">
            <a:avLst/>
          </a:prstGeom>
          <a:solidFill>
            <a:schemeClr val="accent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10" name="TextBox 9"/>
          <p:cNvSpPr txBox="1"/>
          <p:nvPr/>
        </p:nvSpPr>
        <p:spPr>
          <a:xfrm>
            <a:off x="6845302" y="4212873"/>
            <a:ext cx="5164658" cy="968727"/>
          </a:xfrm>
          <a:prstGeom prst="rect">
            <a:avLst/>
          </a:prstGeom>
          <a:noFill/>
          <a:ln w="3175">
            <a:solidFill>
              <a:schemeClr val="bg1">
                <a:lumMod val="75000"/>
              </a:schemeClr>
            </a:solidFill>
          </a:ln>
        </p:spPr>
        <p:txBody>
          <a:bodyPr wrap="square" lIns="502920" tIns="45720" rIns="91440" bIns="45720" rtlCol="0" anchor="ctr">
            <a:noAutofit/>
          </a:bodyPr>
          <a:lstStyle/>
          <a:p>
            <a:pPr marL="0" lvl="1" fontAlgn="base">
              <a:spcBef>
                <a:spcPts val="600"/>
              </a:spcBef>
              <a:spcAft>
                <a:spcPts val="600"/>
              </a:spcAft>
              <a:buClr>
                <a:schemeClr val="accent3">
                  <a:lumMod val="50000"/>
                </a:schemeClr>
              </a:buClr>
              <a:tabLst>
                <a:tab pos="658495" algn="l"/>
              </a:tabLst>
            </a:pPr>
            <a:r>
              <a:rPr lang="en-US" sz="2200" dirty="0" err="1">
                <a:solidFill>
                  <a:schemeClr val="tx2"/>
                </a:solidFill>
              </a:rPr>
              <a:t>Oozie</a:t>
            </a:r>
            <a:r>
              <a:rPr lang="en-US" sz="2200" dirty="0">
                <a:solidFill>
                  <a:schemeClr val="tx2"/>
                </a:solidFill>
              </a:rPr>
              <a:t> </a:t>
            </a:r>
          </a:p>
          <a:p>
            <a:pPr marL="0" lvl="1" fontAlgn="base">
              <a:spcBef>
                <a:spcPts val="600"/>
              </a:spcBef>
              <a:spcAft>
                <a:spcPts val="600"/>
              </a:spcAft>
              <a:buClr>
                <a:schemeClr val="accent3">
                  <a:lumMod val="50000"/>
                </a:schemeClr>
              </a:buClr>
              <a:tabLst>
                <a:tab pos="658495" algn="l"/>
              </a:tabLst>
            </a:pPr>
            <a:r>
              <a:rPr lang="en-US" sz="2200" dirty="0">
                <a:solidFill>
                  <a:schemeClr val="tx2"/>
                </a:solidFill>
              </a:rPr>
              <a:t>Command line</a:t>
            </a:r>
          </a:p>
        </p:txBody>
      </p:sp>
      <p:sp>
        <p:nvSpPr>
          <p:cNvPr id="9" name="TextBox 8"/>
          <p:cNvSpPr txBox="1"/>
          <p:nvPr/>
        </p:nvSpPr>
        <p:spPr>
          <a:xfrm>
            <a:off x="6845300" y="3694051"/>
            <a:ext cx="5164659" cy="525644"/>
          </a:xfrm>
          <a:prstGeom prst="rect">
            <a:avLst/>
          </a:prstGeom>
          <a:solidFill>
            <a:schemeClr val="accent3"/>
          </a:solidFill>
          <a:ln w="3175">
            <a:solidFill>
              <a:schemeClr val="accent3"/>
            </a:solidFill>
          </a:ln>
        </p:spPr>
        <p:txBody>
          <a:bodyPr wrap="square" lIns="91440" tIns="45720" rIns="91440" bIns="45720" rtlCol="0" anchor="ctr">
            <a:noAutofit/>
          </a:bodyPr>
          <a:lstStyle/>
          <a:p>
            <a:pPr defTabSz="602693" fontAlgn="base">
              <a:spcBef>
                <a:spcPct val="0"/>
              </a:spcBef>
              <a:spcAft>
                <a:spcPct val="0"/>
              </a:spcAft>
            </a:pPr>
            <a:r>
              <a:rPr lang="en-US" sz="2400" kern="0" dirty="0">
                <a:solidFill>
                  <a:schemeClr val="bg1"/>
                </a:solidFill>
                <a:latin typeface="Segoe UI Semibold" panose="020B0702040204020203" pitchFamily="34" charset="0"/>
                <a:ea typeface="Segoe UI" pitchFamily="34" charset="0"/>
                <a:cs typeface="Segoe UI Semibold" panose="020B0702040204020203" pitchFamily="34" charset="0"/>
              </a:rPr>
              <a:t>Remote </a:t>
            </a:r>
            <a:r>
              <a:rPr lang="en-US" sz="2400" kern="0" dirty="0" smtClean="0">
                <a:solidFill>
                  <a:schemeClr val="bg1"/>
                </a:solidFill>
                <a:latin typeface="Segoe UI Semibold" panose="020B0702040204020203" pitchFamily="34" charset="0"/>
                <a:ea typeface="Segoe UI" pitchFamily="34" charset="0"/>
                <a:cs typeface="Segoe UI Semibold" panose="020B0702040204020203" pitchFamily="34" charset="0"/>
              </a:rPr>
              <a:t>desktop</a:t>
            </a:r>
            <a:endParaRPr lang="en-US" sz="2400" kern="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84" name="Freeform 83"/>
          <p:cNvSpPr>
            <a:spLocks/>
          </p:cNvSpPr>
          <p:nvPr/>
        </p:nvSpPr>
        <p:spPr bwMode="auto">
          <a:xfrm>
            <a:off x="6948387" y="4292873"/>
            <a:ext cx="334807" cy="300572"/>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IN" sz="2000">
              <a:solidFill>
                <a:srgbClr val="000000"/>
              </a:solidFill>
            </a:endParaRPr>
          </a:p>
        </p:txBody>
      </p:sp>
      <p:sp>
        <p:nvSpPr>
          <p:cNvPr id="85" name="Freeform 84"/>
          <p:cNvSpPr>
            <a:spLocks/>
          </p:cNvSpPr>
          <p:nvPr/>
        </p:nvSpPr>
        <p:spPr bwMode="auto">
          <a:xfrm>
            <a:off x="6910503" y="4808600"/>
            <a:ext cx="334807" cy="300572"/>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IN" sz="2000">
              <a:solidFill>
                <a:srgbClr val="000000"/>
              </a:solidFill>
            </a:endParaRPr>
          </a:p>
        </p:txBody>
      </p:sp>
      <p:sp>
        <p:nvSpPr>
          <p:cNvPr id="17" name="TextBox 16"/>
          <p:cNvSpPr txBox="1"/>
          <p:nvPr/>
        </p:nvSpPr>
        <p:spPr>
          <a:xfrm>
            <a:off x="6845300" y="5229226"/>
            <a:ext cx="5164032" cy="12398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defTabSz="932133" fontAlgn="base">
              <a:spcBef>
                <a:spcPts val="200"/>
              </a:spcBef>
              <a:spcAft>
                <a:spcPts val="300"/>
              </a:spcAft>
              <a:defRPr sz="2000">
                <a:solidFill>
                  <a:schemeClr val="tx2"/>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742">
              <a:spcBef>
                <a:spcPts val="600"/>
              </a:spcBef>
              <a:spcAft>
                <a:spcPts val="600"/>
              </a:spcAft>
              <a:defRPr/>
            </a:pPr>
            <a:endParaRPr lang="en-US" b="1" dirty="0">
              <a:ea typeface="+mn-ea"/>
              <a:cs typeface="+mn-cs"/>
            </a:endParaRPr>
          </a:p>
        </p:txBody>
      </p:sp>
      <p:grpSp>
        <p:nvGrpSpPr>
          <p:cNvPr id="16" name="Group 15"/>
          <p:cNvGrpSpPr/>
          <p:nvPr/>
        </p:nvGrpSpPr>
        <p:grpSpPr>
          <a:xfrm>
            <a:off x="7289799" y="5705961"/>
            <a:ext cx="680989" cy="663174"/>
            <a:chOff x="306837" y="2966952"/>
            <a:chExt cx="1385600" cy="1352860"/>
          </a:xfrm>
        </p:grpSpPr>
        <p:sp>
          <p:nvSpPr>
            <p:cNvPr id="19" name="Freeform 18"/>
            <p:cNvSpPr/>
            <p:nvPr/>
          </p:nvSpPr>
          <p:spPr bwMode="auto">
            <a:xfrm>
              <a:off x="688501" y="3519487"/>
              <a:ext cx="752155" cy="800325"/>
            </a:xfrm>
            <a:custGeom>
              <a:avLst/>
              <a:gdLst>
                <a:gd name="connsiteX0" fmla="*/ 338138 w 728663"/>
                <a:gd name="connsiteY0" fmla="*/ 0 h 823912"/>
                <a:gd name="connsiteX1" fmla="*/ 73819 w 728663"/>
                <a:gd name="connsiteY1" fmla="*/ 97631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35719 w 728663"/>
                <a:gd name="connsiteY1" fmla="*/ 73819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21470 w 711995"/>
                <a:gd name="connsiteY0" fmla="*/ 0 h 823912"/>
                <a:gd name="connsiteX1" fmla="*/ 80963 w 711995"/>
                <a:gd name="connsiteY1" fmla="*/ 66675 h 823912"/>
                <a:gd name="connsiteX2" fmla="*/ 0 w 711995"/>
                <a:gd name="connsiteY2" fmla="*/ 497681 h 823912"/>
                <a:gd name="connsiteX3" fmla="*/ 450057 w 711995"/>
                <a:gd name="connsiteY3" fmla="*/ 823912 h 823912"/>
                <a:gd name="connsiteX4" fmla="*/ 711995 w 711995"/>
                <a:gd name="connsiteY4" fmla="*/ 733425 h 823912"/>
                <a:gd name="connsiteX5" fmla="*/ 476251 w 711995"/>
                <a:gd name="connsiteY5" fmla="*/ 707231 h 823912"/>
                <a:gd name="connsiteX6" fmla="*/ 495301 w 711995"/>
                <a:gd name="connsiteY6" fmla="*/ 621506 h 823912"/>
                <a:gd name="connsiteX7" fmla="*/ 497682 w 711995"/>
                <a:gd name="connsiteY7" fmla="*/ 571500 h 823912"/>
                <a:gd name="connsiteX8" fmla="*/ 350045 w 711995"/>
                <a:gd name="connsiteY8" fmla="*/ 423862 h 823912"/>
                <a:gd name="connsiteX9" fmla="*/ 521495 w 711995"/>
                <a:gd name="connsiteY9" fmla="*/ 528637 h 823912"/>
                <a:gd name="connsiteX10" fmla="*/ 521495 w 711995"/>
                <a:gd name="connsiteY10" fmla="*/ 302418 h 823912"/>
                <a:gd name="connsiteX11" fmla="*/ 357189 w 711995"/>
                <a:gd name="connsiteY11" fmla="*/ 54768 h 823912"/>
                <a:gd name="connsiteX12" fmla="*/ 321470 w 711995"/>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795337"/>
                <a:gd name="connsiteX1" fmla="*/ 106836 w 737868"/>
                <a:gd name="connsiteY1" fmla="*/ 66675 h 795337"/>
                <a:gd name="connsiteX2" fmla="*/ 25873 w 737868"/>
                <a:gd name="connsiteY2" fmla="*/ 497681 h 795337"/>
                <a:gd name="connsiteX3" fmla="*/ 487836 w 737868"/>
                <a:gd name="connsiteY3" fmla="*/ 795337 h 795337"/>
                <a:gd name="connsiteX4" fmla="*/ 737868 w 737868"/>
                <a:gd name="connsiteY4" fmla="*/ 733425 h 795337"/>
                <a:gd name="connsiteX5" fmla="*/ 502124 w 737868"/>
                <a:gd name="connsiteY5" fmla="*/ 707231 h 795337"/>
                <a:gd name="connsiteX6" fmla="*/ 521174 w 737868"/>
                <a:gd name="connsiteY6" fmla="*/ 621506 h 795337"/>
                <a:gd name="connsiteX7" fmla="*/ 523555 w 737868"/>
                <a:gd name="connsiteY7" fmla="*/ 571500 h 795337"/>
                <a:gd name="connsiteX8" fmla="*/ 375918 w 737868"/>
                <a:gd name="connsiteY8" fmla="*/ 423862 h 795337"/>
                <a:gd name="connsiteX9" fmla="*/ 547368 w 737868"/>
                <a:gd name="connsiteY9" fmla="*/ 528637 h 795337"/>
                <a:gd name="connsiteX10" fmla="*/ 547368 w 737868"/>
                <a:gd name="connsiteY10" fmla="*/ 302418 h 795337"/>
                <a:gd name="connsiteX11" fmla="*/ 383062 w 737868"/>
                <a:gd name="connsiteY11" fmla="*/ 54768 h 795337"/>
                <a:gd name="connsiteX12" fmla="*/ 347343 w 737868"/>
                <a:gd name="connsiteY12" fmla="*/ 0 h 795337"/>
                <a:gd name="connsiteX0" fmla="*/ 347343 w 737868"/>
                <a:gd name="connsiteY0" fmla="*/ 0 h 800325"/>
                <a:gd name="connsiteX1" fmla="*/ 106836 w 737868"/>
                <a:gd name="connsiteY1" fmla="*/ 66675 h 800325"/>
                <a:gd name="connsiteX2" fmla="*/ 25873 w 737868"/>
                <a:gd name="connsiteY2" fmla="*/ 497681 h 800325"/>
                <a:gd name="connsiteX3" fmla="*/ 487836 w 737868"/>
                <a:gd name="connsiteY3" fmla="*/ 795337 h 800325"/>
                <a:gd name="connsiteX4" fmla="*/ 737868 w 737868"/>
                <a:gd name="connsiteY4" fmla="*/ 733425 h 800325"/>
                <a:gd name="connsiteX5" fmla="*/ 502124 w 737868"/>
                <a:gd name="connsiteY5" fmla="*/ 707231 h 800325"/>
                <a:gd name="connsiteX6" fmla="*/ 521174 w 737868"/>
                <a:gd name="connsiteY6" fmla="*/ 621506 h 800325"/>
                <a:gd name="connsiteX7" fmla="*/ 523555 w 737868"/>
                <a:gd name="connsiteY7" fmla="*/ 571500 h 800325"/>
                <a:gd name="connsiteX8" fmla="*/ 375918 w 737868"/>
                <a:gd name="connsiteY8" fmla="*/ 423862 h 800325"/>
                <a:gd name="connsiteX9" fmla="*/ 547368 w 737868"/>
                <a:gd name="connsiteY9" fmla="*/ 528637 h 800325"/>
                <a:gd name="connsiteX10" fmla="*/ 547368 w 737868"/>
                <a:gd name="connsiteY10" fmla="*/ 302418 h 800325"/>
                <a:gd name="connsiteX11" fmla="*/ 383062 w 737868"/>
                <a:gd name="connsiteY11" fmla="*/ 54768 h 800325"/>
                <a:gd name="connsiteX12" fmla="*/ 347343 w 737868"/>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502124 w 752155"/>
                <a:gd name="connsiteY5" fmla="*/ 707231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11649 w 752155"/>
                <a:gd name="connsiteY6" fmla="*/ 666751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8318 w 752155"/>
                <a:gd name="connsiteY7" fmla="*/ 642938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47368 w 752155"/>
                <a:gd name="connsiteY9" fmla="*/ 545306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37843 w 752155"/>
                <a:gd name="connsiteY9" fmla="*/ 578644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447355 w 752155"/>
                <a:gd name="connsiteY10" fmla="*/ 552451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33080 w 752155"/>
                <a:gd name="connsiteY13" fmla="*/ 435768 h 800325"/>
                <a:gd name="connsiteX14" fmla="*/ 547368 w 752155"/>
                <a:gd name="connsiteY14" fmla="*/ 302418 h 800325"/>
                <a:gd name="connsiteX15" fmla="*/ 383062 w 752155"/>
                <a:gd name="connsiteY15" fmla="*/ 54768 h 800325"/>
                <a:gd name="connsiteX16" fmla="*/ 347343 w 752155"/>
                <a:gd name="connsiteY16" fmla="*/ 0 h 80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52155" h="800325">
                  <a:moveTo>
                    <a:pt x="347343" y="0"/>
                  </a:moveTo>
                  <a:cubicBezTo>
                    <a:pt x="267174" y="22225"/>
                    <a:pt x="165574" y="11112"/>
                    <a:pt x="106836" y="66675"/>
                  </a:cubicBezTo>
                  <a:cubicBezTo>
                    <a:pt x="-11433" y="199230"/>
                    <a:pt x="-20164" y="298450"/>
                    <a:pt x="25873" y="497681"/>
                  </a:cubicBezTo>
                  <a:cubicBezTo>
                    <a:pt x="106835" y="742156"/>
                    <a:pt x="421161" y="822324"/>
                    <a:pt x="487836" y="795337"/>
                  </a:cubicBezTo>
                  <a:lnTo>
                    <a:pt x="752155" y="709613"/>
                  </a:lnTo>
                  <a:cubicBezTo>
                    <a:pt x="660079" y="719138"/>
                    <a:pt x="534668" y="731044"/>
                    <a:pt x="464024" y="695325"/>
                  </a:cubicBezTo>
                  <a:cubicBezTo>
                    <a:pt x="423940" y="688181"/>
                    <a:pt x="518793" y="698103"/>
                    <a:pt x="528318" y="685800"/>
                  </a:cubicBezTo>
                  <a:cubicBezTo>
                    <a:pt x="539034" y="677069"/>
                    <a:pt x="431878" y="688975"/>
                    <a:pt x="387824" y="614363"/>
                  </a:cubicBezTo>
                  <a:cubicBezTo>
                    <a:pt x="469976" y="611188"/>
                    <a:pt x="524349" y="619123"/>
                    <a:pt x="523555" y="607217"/>
                  </a:cubicBezTo>
                  <a:cubicBezTo>
                    <a:pt x="474343" y="604837"/>
                    <a:pt x="408461" y="600074"/>
                    <a:pt x="366392" y="557212"/>
                  </a:cubicBezTo>
                  <a:lnTo>
                    <a:pt x="383061" y="483395"/>
                  </a:lnTo>
                  <a:cubicBezTo>
                    <a:pt x="425923" y="532607"/>
                    <a:pt x="473550" y="553243"/>
                    <a:pt x="533080" y="559594"/>
                  </a:cubicBezTo>
                  <a:cubicBezTo>
                    <a:pt x="466405" y="540544"/>
                    <a:pt x="418779" y="488155"/>
                    <a:pt x="399730" y="428624"/>
                  </a:cubicBezTo>
                  <a:lnTo>
                    <a:pt x="533080" y="435768"/>
                  </a:lnTo>
                  <a:lnTo>
                    <a:pt x="547368" y="302418"/>
                  </a:lnTo>
                  <a:lnTo>
                    <a:pt x="383062" y="54768"/>
                  </a:lnTo>
                  <a:lnTo>
                    <a:pt x="347343"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b="1" dirty="0" smtClean="0">
                <a:solidFill>
                  <a:schemeClr val="bg1"/>
                </a:solidFill>
                <a:ea typeface="Segoe UI" pitchFamily="34" charset="0"/>
                <a:cs typeface="Segoe UI" pitchFamily="34" charset="0"/>
              </a:endParaRPr>
            </a:p>
          </p:txBody>
        </p:sp>
        <p:grpSp>
          <p:nvGrpSpPr>
            <p:cNvPr id="21" name="Group 20"/>
            <p:cNvGrpSpPr/>
            <p:nvPr/>
          </p:nvGrpSpPr>
          <p:grpSpPr>
            <a:xfrm>
              <a:off x="306837" y="2966952"/>
              <a:ext cx="1385600" cy="1351044"/>
              <a:chOff x="1058398" y="3354141"/>
              <a:chExt cx="533724" cy="520412"/>
            </a:xfrm>
          </p:grpSpPr>
          <p:sp>
            <p:nvSpPr>
              <p:cNvPr id="22" name="Freeform 21"/>
              <p:cNvSpPr/>
              <p:nvPr/>
            </p:nvSpPr>
            <p:spPr bwMode="auto">
              <a:xfrm>
                <a:off x="1058398" y="3354142"/>
                <a:ext cx="533723" cy="415322"/>
              </a:xfrm>
              <a:custGeom>
                <a:avLst/>
                <a:gdLst>
                  <a:gd name="connsiteX0" fmla="*/ 528506 w 533723"/>
                  <a:gd name="connsiteY0" fmla="*/ 291832 h 418083"/>
                  <a:gd name="connsiteX1" fmla="*/ 510121 w 533723"/>
                  <a:gd name="connsiteY1" fmla="*/ 300446 h 418083"/>
                  <a:gd name="connsiteX2" fmla="*/ 500354 w 533723"/>
                  <a:gd name="connsiteY2" fmla="*/ 302312 h 418083"/>
                  <a:gd name="connsiteX3" fmla="*/ 489695 w 533723"/>
                  <a:gd name="connsiteY3" fmla="*/ 299159 h 418083"/>
                  <a:gd name="connsiteX4" fmla="*/ 490953 w 533723"/>
                  <a:gd name="connsiteY4" fmla="*/ 302242 h 418083"/>
                  <a:gd name="connsiteX5" fmla="*/ 490826 w 533723"/>
                  <a:gd name="connsiteY5" fmla="*/ 302554 h 418083"/>
                  <a:gd name="connsiteX6" fmla="*/ 497481 w 533723"/>
                  <a:gd name="connsiteY6" fmla="*/ 306188 h 418083"/>
                  <a:gd name="connsiteX7" fmla="*/ 505812 w 533723"/>
                  <a:gd name="connsiteY7" fmla="*/ 305901 h 418083"/>
                  <a:gd name="connsiteX8" fmla="*/ 523335 w 533723"/>
                  <a:gd name="connsiteY8" fmla="*/ 297575 h 418083"/>
                  <a:gd name="connsiteX9" fmla="*/ 528506 w 533723"/>
                  <a:gd name="connsiteY9" fmla="*/ 291832 h 418083"/>
                  <a:gd name="connsiteX10" fmla="*/ 459095 w 533723"/>
                  <a:gd name="connsiteY10" fmla="*/ 214354 h 418083"/>
                  <a:gd name="connsiteX11" fmla="*/ 470185 w 533723"/>
                  <a:gd name="connsiteY11" fmla="*/ 232917 h 418083"/>
                  <a:gd name="connsiteX12" fmla="*/ 469083 w 533723"/>
                  <a:gd name="connsiteY12" fmla="*/ 236710 h 418083"/>
                  <a:gd name="connsiteX13" fmla="*/ 465107 w 533723"/>
                  <a:gd name="connsiteY13" fmla="*/ 228628 h 418083"/>
                  <a:gd name="connsiteX14" fmla="*/ 462850 w 533723"/>
                  <a:gd name="connsiteY14" fmla="*/ 223907 h 418083"/>
                  <a:gd name="connsiteX15" fmla="*/ 461361 w 533723"/>
                  <a:gd name="connsiteY15" fmla="*/ 220754 h 418083"/>
                  <a:gd name="connsiteX16" fmla="*/ 458921 w 533723"/>
                  <a:gd name="connsiteY16" fmla="*/ 213862 h 418083"/>
                  <a:gd name="connsiteX17" fmla="*/ 459095 w 533723"/>
                  <a:gd name="connsiteY17" fmla="*/ 214354 h 418083"/>
                  <a:gd name="connsiteX18" fmla="*/ 458953 w 533723"/>
                  <a:gd name="connsiteY18" fmla="*/ 214116 h 418083"/>
                  <a:gd name="connsiteX19" fmla="*/ 231642 w 533723"/>
                  <a:gd name="connsiteY19" fmla="*/ 117869 h 418083"/>
                  <a:gd name="connsiteX20" fmla="*/ 245739 w 533723"/>
                  <a:gd name="connsiteY20" fmla="*/ 119960 h 418083"/>
                  <a:gd name="connsiteX21" fmla="*/ 247479 w 533723"/>
                  <a:gd name="connsiteY21" fmla="*/ 117948 h 418083"/>
                  <a:gd name="connsiteX22" fmla="*/ 241439 w 533723"/>
                  <a:gd name="connsiteY22" fmla="*/ 117896 h 418083"/>
                  <a:gd name="connsiteX23" fmla="*/ 231642 w 533723"/>
                  <a:gd name="connsiteY23" fmla="*/ 117869 h 418083"/>
                  <a:gd name="connsiteX24" fmla="*/ 393966 w 533723"/>
                  <a:gd name="connsiteY24" fmla="*/ 59548 h 418083"/>
                  <a:gd name="connsiteX25" fmla="*/ 394760 w 533723"/>
                  <a:gd name="connsiteY25" fmla="*/ 61641 h 418083"/>
                  <a:gd name="connsiteX26" fmla="*/ 396543 w 533723"/>
                  <a:gd name="connsiteY26" fmla="*/ 61922 h 418083"/>
                  <a:gd name="connsiteX27" fmla="*/ 135290 w 533723"/>
                  <a:gd name="connsiteY27" fmla="*/ 95 h 418083"/>
                  <a:gd name="connsiteX28" fmla="*/ 142002 w 533723"/>
                  <a:gd name="connsiteY28" fmla="*/ 118 h 418083"/>
                  <a:gd name="connsiteX29" fmla="*/ 184247 w 533723"/>
                  <a:gd name="connsiteY29" fmla="*/ 9888 h 418083"/>
                  <a:gd name="connsiteX30" fmla="*/ 237411 w 533723"/>
                  <a:gd name="connsiteY30" fmla="*/ 31727 h 418083"/>
                  <a:gd name="connsiteX31" fmla="*/ 273908 w 533723"/>
                  <a:gd name="connsiteY31" fmla="*/ 50693 h 418083"/>
                  <a:gd name="connsiteX32" fmla="*/ 300993 w 533723"/>
                  <a:gd name="connsiteY32" fmla="*/ 65241 h 418083"/>
                  <a:gd name="connsiteX33" fmla="*/ 313770 w 533723"/>
                  <a:gd name="connsiteY33" fmla="*/ 72415 h 418083"/>
                  <a:gd name="connsiteX34" fmla="*/ 317458 w 533723"/>
                  <a:gd name="connsiteY34" fmla="*/ 74704 h 418083"/>
                  <a:gd name="connsiteX35" fmla="*/ 321989 w 533723"/>
                  <a:gd name="connsiteY35" fmla="*/ 77518 h 418083"/>
                  <a:gd name="connsiteX36" fmla="*/ 328509 w 533723"/>
                  <a:gd name="connsiteY36" fmla="*/ 81728 h 418083"/>
                  <a:gd name="connsiteX37" fmla="*/ 329950 w 533723"/>
                  <a:gd name="connsiteY37" fmla="*/ 82770 h 418083"/>
                  <a:gd name="connsiteX38" fmla="*/ 322786 w 533723"/>
                  <a:gd name="connsiteY38" fmla="*/ 67357 h 418083"/>
                  <a:gd name="connsiteX39" fmla="*/ 318179 w 533723"/>
                  <a:gd name="connsiteY39" fmla="*/ 66024 h 418083"/>
                  <a:gd name="connsiteX40" fmla="*/ 315145 w 533723"/>
                  <a:gd name="connsiteY40" fmla="*/ 65146 h 418083"/>
                  <a:gd name="connsiteX41" fmla="*/ 315984 w 533723"/>
                  <a:gd name="connsiteY41" fmla="*/ 64282 h 418083"/>
                  <a:gd name="connsiteX42" fmla="*/ 336115 w 533723"/>
                  <a:gd name="connsiteY42" fmla="*/ 45493 h 418083"/>
                  <a:gd name="connsiteX43" fmla="*/ 339135 w 533723"/>
                  <a:gd name="connsiteY43" fmla="*/ 43303 h 418083"/>
                  <a:gd name="connsiteX44" fmla="*/ 344556 w 533723"/>
                  <a:gd name="connsiteY44" fmla="*/ 40552 h 418083"/>
                  <a:gd name="connsiteX45" fmla="*/ 348957 w 533723"/>
                  <a:gd name="connsiteY45" fmla="*/ 38760 h 418083"/>
                  <a:gd name="connsiteX46" fmla="*/ 368054 w 533723"/>
                  <a:gd name="connsiteY46" fmla="*/ 34807 h 418083"/>
                  <a:gd name="connsiteX47" fmla="*/ 382234 w 533723"/>
                  <a:gd name="connsiteY47" fmla="*/ 37952 h 418083"/>
                  <a:gd name="connsiteX48" fmla="*/ 390275 w 533723"/>
                  <a:gd name="connsiteY48" fmla="*/ 35652 h 418083"/>
                  <a:gd name="connsiteX49" fmla="*/ 390840 w 533723"/>
                  <a:gd name="connsiteY49" fmla="*/ 35749 h 418083"/>
                  <a:gd name="connsiteX50" fmla="*/ 391575 w 533723"/>
                  <a:gd name="connsiteY50" fmla="*/ 35894 h 418083"/>
                  <a:gd name="connsiteX51" fmla="*/ 391750 w 533723"/>
                  <a:gd name="connsiteY51" fmla="*/ 35955 h 418083"/>
                  <a:gd name="connsiteX52" fmla="*/ 392615 w 533723"/>
                  <a:gd name="connsiteY52" fmla="*/ 36327 h 418083"/>
                  <a:gd name="connsiteX53" fmla="*/ 393242 w 533723"/>
                  <a:gd name="connsiteY53" fmla="*/ 36306 h 418083"/>
                  <a:gd name="connsiteX54" fmla="*/ 393406 w 533723"/>
                  <a:gd name="connsiteY54" fmla="*/ 36317 h 418083"/>
                  <a:gd name="connsiteX55" fmla="*/ 397383 w 533723"/>
                  <a:gd name="connsiteY55" fmla="*/ 37341 h 418083"/>
                  <a:gd name="connsiteX56" fmla="*/ 408367 w 533723"/>
                  <a:gd name="connsiteY56" fmla="*/ 43126 h 418083"/>
                  <a:gd name="connsiteX57" fmla="*/ 459773 w 533723"/>
                  <a:gd name="connsiteY57" fmla="*/ 126491 h 418083"/>
                  <a:gd name="connsiteX58" fmla="*/ 441680 w 533723"/>
                  <a:gd name="connsiteY58" fmla="*/ 188008 h 418083"/>
                  <a:gd name="connsiteX59" fmla="*/ 442553 w 533723"/>
                  <a:gd name="connsiteY59" fmla="*/ 192637 h 418083"/>
                  <a:gd name="connsiteX60" fmla="*/ 443081 w 533723"/>
                  <a:gd name="connsiteY60" fmla="*/ 194875 h 418083"/>
                  <a:gd name="connsiteX61" fmla="*/ 451172 w 533723"/>
                  <a:gd name="connsiteY61" fmla="*/ 201092 h 418083"/>
                  <a:gd name="connsiteX62" fmla="*/ 458953 w 533723"/>
                  <a:gd name="connsiteY62" fmla="*/ 214116 h 418083"/>
                  <a:gd name="connsiteX63" fmla="*/ 459209 w 533723"/>
                  <a:gd name="connsiteY63" fmla="*/ 216161 h 418083"/>
                  <a:gd name="connsiteX64" fmla="*/ 460971 w 533723"/>
                  <a:gd name="connsiteY64" fmla="*/ 219929 h 418083"/>
                  <a:gd name="connsiteX65" fmla="*/ 461361 w 533723"/>
                  <a:gd name="connsiteY65" fmla="*/ 220754 h 418083"/>
                  <a:gd name="connsiteX66" fmla="*/ 470303 w 533723"/>
                  <a:gd name="connsiteY66" fmla="*/ 246015 h 418083"/>
                  <a:gd name="connsiteX67" fmla="*/ 469962 w 533723"/>
                  <a:gd name="connsiteY67" fmla="*/ 245448 h 418083"/>
                  <a:gd name="connsiteX68" fmla="*/ 468971 w 533723"/>
                  <a:gd name="connsiteY68" fmla="*/ 243799 h 418083"/>
                  <a:gd name="connsiteX69" fmla="*/ 464115 w 533723"/>
                  <a:gd name="connsiteY69" fmla="*/ 240660 h 418083"/>
                  <a:gd name="connsiteX70" fmla="*/ 457544 w 533723"/>
                  <a:gd name="connsiteY70" fmla="*/ 239804 h 418083"/>
                  <a:gd name="connsiteX71" fmla="*/ 463829 w 533723"/>
                  <a:gd name="connsiteY71" fmla="*/ 242086 h 418083"/>
                  <a:gd name="connsiteX72" fmla="*/ 469895 w 533723"/>
                  <a:gd name="connsiteY72" fmla="*/ 245979 h 418083"/>
                  <a:gd name="connsiteX73" fmla="*/ 470460 w 533723"/>
                  <a:gd name="connsiteY73" fmla="*/ 246460 h 418083"/>
                  <a:gd name="connsiteX74" fmla="*/ 485321 w 533723"/>
                  <a:gd name="connsiteY74" fmla="*/ 288443 h 418083"/>
                  <a:gd name="connsiteX75" fmla="*/ 485666 w 533723"/>
                  <a:gd name="connsiteY75" fmla="*/ 289289 h 418083"/>
                  <a:gd name="connsiteX76" fmla="*/ 485392 w 533723"/>
                  <a:gd name="connsiteY76" fmla="*/ 285754 h 418083"/>
                  <a:gd name="connsiteX77" fmla="*/ 485409 w 533723"/>
                  <a:gd name="connsiteY77" fmla="*/ 284254 h 418083"/>
                  <a:gd name="connsiteX78" fmla="*/ 485552 w 533723"/>
                  <a:gd name="connsiteY78" fmla="*/ 284634 h 418083"/>
                  <a:gd name="connsiteX79" fmla="*/ 487684 w 533723"/>
                  <a:gd name="connsiteY79" fmla="*/ 290297 h 418083"/>
                  <a:gd name="connsiteX80" fmla="*/ 487716 w 533723"/>
                  <a:gd name="connsiteY80" fmla="*/ 290381 h 418083"/>
                  <a:gd name="connsiteX81" fmla="*/ 487709 w 533723"/>
                  <a:gd name="connsiteY81" fmla="*/ 290382 h 418083"/>
                  <a:gd name="connsiteX82" fmla="*/ 486150 w 533723"/>
                  <a:gd name="connsiteY82" fmla="*/ 290474 h 418083"/>
                  <a:gd name="connsiteX83" fmla="*/ 488742 w 533723"/>
                  <a:gd name="connsiteY83" fmla="*/ 296824 h 418083"/>
                  <a:gd name="connsiteX84" fmla="*/ 494320 w 533723"/>
                  <a:gd name="connsiteY84" fmla="*/ 295556 h 418083"/>
                  <a:gd name="connsiteX85" fmla="*/ 512429 w 533723"/>
                  <a:gd name="connsiteY85" fmla="*/ 291820 h 418083"/>
                  <a:gd name="connsiteX86" fmla="*/ 519005 w 533723"/>
                  <a:gd name="connsiteY86" fmla="*/ 287509 h 418083"/>
                  <a:gd name="connsiteX87" fmla="*/ 520508 w 533723"/>
                  <a:gd name="connsiteY87" fmla="*/ 286839 h 418083"/>
                  <a:gd name="connsiteX88" fmla="*/ 522424 w 533723"/>
                  <a:gd name="connsiteY88" fmla="*/ 286502 h 418083"/>
                  <a:gd name="connsiteX89" fmla="*/ 523091 w 533723"/>
                  <a:gd name="connsiteY89" fmla="*/ 286385 h 418083"/>
                  <a:gd name="connsiteX90" fmla="*/ 525364 w 533723"/>
                  <a:gd name="connsiteY90" fmla="*/ 286646 h 418083"/>
                  <a:gd name="connsiteX91" fmla="*/ 533413 w 533723"/>
                  <a:gd name="connsiteY91" fmla="*/ 297855 h 418083"/>
                  <a:gd name="connsiteX92" fmla="*/ 530826 w 533723"/>
                  <a:gd name="connsiteY92" fmla="*/ 316249 h 418083"/>
                  <a:gd name="connsiteX93" fmla="*/ 530588 w 533723"/>
                  <a:gd name="connsiteY93" fmla="*/ 318085 h 418083"/>
                  <a:gd name="connsiteX94" fmla="*/ 530192 w 533723"/>
                  <a:gd name="connsiteY94" fmla="*/ 320320 h 418083"/>
                  <a:gd name="connsiteX95" fmla="*/ 529838 w 533723"/>
                  <a:gd name="connsiteY95" fmla="*/ 321637 h 418083"/>
                  <a:gd name="connsiteX96" fmla="*/ 526883 w 533723"/>
                  <a:gd name="connsiteY96" fmla="*/ 332653 h 418083"/>
                  <a:gd name="connsiteX97" fmla="*/ 524435 w 533723"/>
                  <a:gd name="connsiteY97" fmla="*/ 341781 h 418083"/>
                  <a:gd name="connsiteX98" fmla="*/ 519934 w 533723"/>
                  <a:gd name="connsiteY98" fmla="*/ 353045 h 418083"/>
                  <a:gd name="connsiteX99" fmla="*/ 493458 w 533723"/>
                  <a:gd name="connsiteY99" fmla="*/ 392987 h 418083"/>
                  <a:gd name="connsiteX100" fmla="*/ 421143 w 533723"/>
                  <a:gd name="connsiteY100" fmla="*/ 403455 h 418083"/>
                  <a:gd name="connsiteX101" fmla="*/ 416615 w 533723"/>
                  <a:gd name="connsiteY101" fmla="*/ 401105 h 418083"/>
                  <a:gd name="connsiteX102" fmla="*/ 415306 w 533723"/>
                  <a:gd name="connsiteY102" fmla="*/ 404311 h 418083"/>
                  <a:gd name="connsiteX103" fmla="*/ 382546 w 533723"/>
                  <a:gd name="connsiteY103" fmla="*/ 418083 h 418083"/>
                  <a:gd name="connsiteX104" fmla="*/ 364512 w 533723"/>
                  <a:gd name="connsiteY104" fmla="*/ 414388 h 418083"/>
                  <a:gd name="connsiteX105" fmla="*/ 362260 w 533723"/>
                  <a:gd name="connsiteY105" fmla="*/ 412847 h 418083"/>
                  <a:gd name="connsiteX106" fmla="*/ 359508 w 533723"/>
                  <a:gd name="connsiteY106" fmla="*/ 412530 h 418083"/>
                  <a:gd name="connsiteX107" fmla="*/ 354180 w 533723"/>
                  <a:gd name="connsiteY107" fmla="*/ 409493 h 418083"/>
                  <a:gd name="connsiteX108" fmla="*/ 351263 w 533723"/>
                  <a:gd name="connsiteY108" fmla="*/ 406931 h 418083"/>
                  <a:gd name="connsiteX109" fmla="*/ 351015 w 533723"/>
                  <a:gd name="connsiteY109" fmla="*/ 406713 h 418083"/>
                  <a:gd name="connsiteX110" fmla="*/ 348397 w 533723"/>
                  <a:gd name="connsiteY110" fmla="*/ 403432 h 418083"/>
                  <a:gd name="connsiteX111" fmla="*/ 347445 w 533723"/>
                  <a:gd name="connsiteY111" fmla="*/ 401927 h 418083"/>
                  <a:gd name="connsiteX112" fmla="*/ 345319 w 533723"/>
                  <a:gd name="connsiteY112" fmla="*/ 397536 h 418083"/>
                  <a:gd name="connsiteX113" fmla="*/ 344561 w 533723"/>
                  <a:gd name="connsiteY113" fmla="*/ 395286 h 418083"/>
                  <a:gd name="connsiteX114" fmla="*/ 335650 w 533723"/>
                  <a:gd name="connsiteY114" fmla="*/ 375455 h 418083"/>
                  <a:gd name="connsiteX115" fmla="*/ 322714 w 533723"/>
                  <a:gd name="connsiteY115" fmla="*/ 362234 h 418083"/>
                  <a:gd name="connsiteX116" fmla="*/ 319648 w 533723"/>
                  <a:gd name="connsiteY116" fmla="*/ 358159 h 418083"/>
                  <a:gd name="connsiteX117" fmla="*/ 319434 w 533723"/>
                  <a:gd name="connsiteY117" fmla="*/ 357823 h 418083"/>
                  <a:gd name="connsiteX118" fmla="*/ 314734 w 533723"/>
                  <a:gd name="connsiteY118" fmla="*/ 350455 h 418083"/>
                  <a:gd name="connsiteX119" fmla="*/ 319052 w 533723"/>
                  <a:gd name="connsiteY119" fmla="*/ 316733 h 418083"/>
                  <a:gd name="connsiteX120" fmla="*/ 323333 w 533723"/>
                  <a:gd name="connsiteY120" fmla="*/ 310656 h 418083"/>
                  <a:gd name="connsiteX121" fmla="*/ 320679 w 533723"/>
                  <a:gd name="connsiteY121" fmla="*/ 310837 h 418083"/>
                  <a:gd name="connsiteX122" fmla="*/ 316984 w 533723"/>
                  <a:gd name="connsiteY122" fmla="*/ 309959 h 418083"/>
                  <a:gd name="connsiteX123" fmla="*/ 278469 w 533723"/>
                  <a:gd name="connsiteY123" fmla="*/ 281787 h 418083"/>
                  <a:gd name="connsiteX124" fmla="*/ 279196 w 533723"/>
                  <a:gd name="connsiteY124" fmla="*/ 221148 h 418083"/>
                  <a:gd name="connsiteX125" fmla="*/ 281137 w 533723"/>
                  <a:gd name="connsiteY125" fmla="*/ 212759 h 418083"/>
                  <a:gd name="connsiteX126" fmla="*/ 280817 w 533723"/>
                  <a:gd name="connsiteY126" fmla="*/ 212855 h 418083"/>
                  <a:gd name="connsiteX127" fmla="*/ 280074 w 533723"/>
                  <a:gd name="connsiteY127" fmla="*/ 213019 h 418083"/>
                  <a:gd name="connsiteX128" fmla="*/ 208386 w 533723"/>
                  <a:gd name="connsiteY128" fmla="*/ 230868 h 418083"/>
                  <a:gd name="connsiteX129" fmla="*/ 129358 w 533723"/>
                  <a:gd name="connsiteY129" fmla="*/ 256155 h 418083"/>
                  <a:gd name="connsiteX130" fmla="*/ 76481 w 533723"/>
                  <a:gd name="connsiteY130" fmla="*/ 253856 h 418083"/>
                  <a:gd name="connsiteX131" fmla="*/ 56365 w 533723"/>
                  <a:gd name="connsiteY131" fmla="*/ 204718 h 418083"/>
                  <a:gd name="connsiteX132" fmla="*/ 6361 w 533723"/>
                  <a:gd name="connsiteY132" fmla="*/ 145234 h 418083"/>
                  <a:gd name="connsiteX133" fmla="*/ 4924 w 533723"/>
                  <a:gd name="connsiteY133" fmla="*/ 90923 h 418083"/>
                  <a:gd name="connsiteX134" fmla="*/ 26190 w 533723"/>
                  <a:gd name="connsiteY134" fmla="*/ 62762 h 418083"/>
                  <a:gd name="connsiteX135" fmla="*/ 51192 w 533723"/>
                  <a:gd name="connsiteY135" fmla="*/ 63624 h 418083"/>
                  <a:gd name="connsiteX136" fmla="*/ 92574 w 533723"/>
                  <a:gd name="connsiteY136" fmla="*/ 72245 h 418083"/>
                  <a:gd name="connsiteX137" fmla="*/ 148899 w 533723"/>
                  <a:gd name="connsiteY137" fmla="*/ 97533 h 418083"/>
                  <a:gd name="connsiteX138" fmla="*/ 100620 w 533723"/>
                  <a:gd name="connsiteY138" fmla="*/ 70233 h 418083"/>
                  <a:gd name="connsiteX139" fmla="*/ 68722 w 533723"/>
                  <a:gd name="connsiteY139" fmla="*/ 57877 h 418083"/>
                  <a:gd name="connsiteX140" fmla="*/ 95735 w 533723"/>
                  <a:gd name="connsiteY140" fmla="*/ 33739 h 418083"/>
                  <a:gd name="connsiteX141" fmla="*/ 118438 w 533723"/>
                  <a:gd name="connsiteY141" fmla="*/ 6440 h 418083"/>
                  <a:gd name="connsiteX142" fmla="*/ 135290 w 533723"/>
                  <a:gd name="connsiteY142" fmla="*/ 95 h 418083"/>
                  <a:gd name="connsiteX0" fmla="*/ 528506 w 533723"/>
                  <a:gd name="connsiteY0" fmla="*/ 291832 h 419386"/>
                  <a:gd name="connsiteX1" fmla="*/ 510121 w 533723"/>
                  <a:gd name="connsiteY1" fmla="*/ 300446 h 419386"/>
                  <a:gd name="connsiteX2" fmla="*/ 500354 w 533723"/>
                  <a:gd name="connsiteY2" fmla="*/ 302312 h 419386"/>
                  <a:gd name="connsiteX3" fmla="*/ 489695 w 533723"/>
                  <a:gd name="connsiteY3" fmla="*/ 299159 h 419386"/>
                  <a:gd name="connsiteX4" fmla="*/ 490953 w 533723"/>
                  <a:gd name="connsiteY4" fmla="*/ 302242 h 419386"/>
                  <a:gd name="connsiteX5" fmla="*/ 490826 w 533723"/>
                  <a:gd name="connsiteY5" fmla="*/ 302554 h 419386"/>
                  <a:gd name="connsiteX6" fmla="*/ 497481 w 533723"/>
                  <a:gd name="connsiteY6" fmla="*/ 306188 h 419386"/>
                  <a:gd name="connsiteX7" fmla="*/ 505812 w 533723"/>
                  <a:gd name="connsiteY7" fmla="*/ 305901 h 419386"/>
                  <a:gd name="connsiteX8" fmla="*/ 523335 w 533723"/>
                  <a:gd name="connsiteY8" fmla="*/ 297575 h 419386"/>
                  <a:gd name="connsiteX9" fmla="*/ 528506 w 533723"/>
                  <a:gd name="connsiteY9" fmla="*/ 291832 h 419386"/>
                  <a:gd name="connsiteX10" fmla="*/ 459095 w 533723"/>
                  <a:gd name="connsiteY10" fmla="*/ 214354 h 419386"/>
                  <a:gd name="connsiteX11" fmla="*/ 470185 w 533723"/>
                  <a:gd name="connsiteY11" fmla="*/ 232917 h 419386"/>
                  <a:gd name="connsiteX12" fmla="*/ 469083 w 533723"/>
                  <a:gd name="connsiteY12" fmla="*/ 236710 h 419386"/>
                  <a:gd name="connsiteX13" fmla="*/ 465107 w 533723"/>
                  <a:gd name="connsiteY13" fmla="*/ 228628 h 419386"/>
                  <a:gd name="connsiteX14" fmla="*/ 462850 w 533723"/>
                  <a:gd name="connsiteY14" fmla="*/ 223907 h 419386"/>
                  <a:gd name="connsiteX15" fmla="*/ 461361 w 533723"/>
                  <a:gd name="connsiteY15" fmla="*/ 220754 h 419386"/>
                  <a:gd name="connsiteX16" fmla="*/ 459095 w 533723"/>
                  <a:gd name="connsiteY16" fmla="*/ 214354 h 419386"/>
                  <a:gd name="connsiteX17" fmla="*/ 458921 w 533723"/>
                  <a:gd name="connsiteY17" fmla="*/ 213862 h 419386"/>
                  <a:gd name="connsiteX18" fmla="*/ 459095 w 533723"/>
                  <a:gd name="connsiteY18" fmla="*/ 214354 h 419386"/>
                  <a:gd name="connsiteX19" fmla="*/ 458953 w 533723"/>
                  <a:gd name="connsiteY19" fmla="*/ 214116 h 419386"/>
                  <a:gd name="connsiteX20" fmla="*/ 458921 w 533723"/>
                  <a:gd name="connsiteY20" fmla="*/ 213862 h 419386"/>
                  <a:gd name="connsiteX21" fmla="*/ 231642 w 533723"/>
                  <a:gd name="connsiteY21" fmla="*/ 117869 h 419386"/>
                  <a:gd name="connsiteX22" fmla="*/ 245739 w 533723"/>
                  <a:gd name="connsiteY22" fmla="*/ 119960 h 419386"/>
                  <a:gd name="connsiteX23" fmla="*/ 247479 w 533723"/>
                  <a:gd name="connsiteY23" fmla="*/ 117948 h 419386"/>
                  <a:gd name="connsiteX24" fmla="*/ 241439 w 533723"/>
                  <a:gd name="connsiteY24" fmla="*/ 117896 h 419386"/>
                  <a:gd name="connsiteX25" fmla="*/ 231642 w 533723"/>
                  <a:gd name="connsiteY25" fmla="*/ 117869 h 419386"/>
                  <a:gd name="connsiteX26" fmla="*/ 393966 w 533723"/>
                  <a:gd name="connsiteY26" fmla="*/ 59548 h 419386"/>
                  <a:gd name="connsiteX27" fmla="*/ 394760 w 533723"/>
                  <a:gd name="connsiteY27" fmla="*/ 61641 h 419386"/>
                  <a:gd name="connsiteX28" fmla="*/ 396543 w 533723"/>
                  <a:gd name="connsiteY28" fmla="*/ 61922 h 419386"/>
                  <a:gd name="connsiteX29" fmla="*/ 393966 w 533723"/>
                  <a:gd name="connsiteY29" fmla="*/ 59548 h 419386"/>
                  <a:gd name="connsiteX30" fmla="*/ 135290 w 533723"/>
                  <a:gd name="connsiteY30" fmla="*/ 95 h 419386"/>
                  <a:gd name="connsiteX31" fmla="*/ 142002 w 533723"/>
                  <a:gd name="connsiteY31" fmla="*/ 118 h 419386"/>
                  <a:gd name="connsiteX32" fmla="*/ 184247 w 533723"/>
                  <a:gd name="connsiteY32" fmla="*/ 9888 h 419386"/>
                  <a:gd name="connsiteX33" fmla="*/ 237411 w 533723"/>
                  <a:gd name="connsiteY33" fmla="*/ 31727 h 419386"/>
                  <a:gd name="connsiteX34" fmla="*/ 273908 w 533723"/>
                  <a:gd name="connsiteY34" fmla="*/ 50693 h 419386"/>
                  <a:gd name="connsiteX35" fmla="*/ 300993 w 533723"/>
                  <a:gd name="connsiteY35" fmla="*/ 65241 h 419386"/>
                  <a:gd name="connsiteX36" fmla="*/ 313770 w 533723"/>
                  <a:gd name="connsiteY36" fmla="*/ 72415 h 419386"/>
                  <a:gd name="connsiteX37" fmla="*/ 317458 w 533723"/>
                  <a:gd name="connsiteY37" fmla="*/ 74704 h 419386"/>
                  <a:gd name="connsiteX38" fmla="*/ 321989 w 533723"/>
                  <a:gd name="connsiteY38" fmla="*/ 77518 h 419386"/>
                  <a:gd name="connsiteX39" fmla="*/ 328509 w 533723"/>
                  <a:gd name="connsiteY39" fmla="*/ 81728 h 419386"/>
                  <a:gd name="connsiteX40" fmla="*/ 329950 w 533723"/>
                  <a:gd name="connsiteY40" fmla="*/ 82770 h 419386"/>
                  <a:gd name="connsiteX41" fmla="*/ 322786 w 533723"/>
                  <a:gd name="connsiteY41" fmla="*/ 67357 h 419386"/>
                  <a:gd name="connsiteX42" fmla="*/ 318179 w 533723"/>
                  <a:gd name="connsiteY42" fmla="*/ 66024 h 419386"/>
                  <a:gd name="connsiteX43" fmla="*/ 315145 w 533723"/>
                  <a:gd name="connsiteY43" fmla="*/ 65146 h 419386"/>
                  <a:gd name="connsiteX44" fmla="*/ 315984 w 533723"/>
                  <a:gd name="connsiteY44" fmla="*/ 64282 h 419386"/>
                  <a:gd name="connsiteX45" fmla="*/ 336115 w 533723"/>
                  <a:gd name="connsiteY45" fmla="*/ 45493 h 419386"/>
                  <a:gd name="connsiteX46" fmla="*/ 339135 w 533723"/>
                  <a:gd name="connsiteY46" fmla="*/ 43303 h 419386"/>
                  <a:gd name="connsiteX47" fmla="*/ 344556 w 533723"/>
                  <a:gd name="connsiteY47" fmla="*/ 40552 h 419386"/>
                  <a:gd name="connsiteX48" fmla="*/ 348957 w 533723"/>
                  <a:gd name="connsiteY48" fmla="*/ 38760 h 419386"/>
                  <a:gd name="connsiteX49" fmla="*/ 368054 w 533723"/>
                  <a:gd name="connsiteY49" fmla="*/ 34807 h 419386"/>
                  <a:gd name="connsiteX50" fmla="*/ 382234 w 533723"/>
                  <a:gd name="connsiteY50" fmla="*/ 37952 h 419386"/>
                  <a:gd name="connsiteX51" fmla="*/ 390275 w 533723"/>
                  <a:gd name="connsiteY51" fmla="*/ 35652 h 419386"/>
                  <a:gd name="connsiteX52" fmla="*/ 390840 w 533723"/>
                  <a:gd name="connsiteY52" fmla="*/ 35749 h 419386"/>
                  <a:gd name="connsiteX53" fmla="*/ 391575 w 533723"/>
                  <a:gd name="connsiteY53" fmla="*/ 35894 h 419386"/>
                  <a:gd name="connsiteX54" fmla="*/ 391750 w 533723"/>
                  <a:gd name="connsiteY54" fmla="*/ 35955 h 419386"/>
                  <a:gd name="connsiteX55" fmla="*/ 392615 w 533723"/>
                  <a:gd name="connsiteY55" fmla="*/ 36327 h 419386"/>
                  <a:gd name="connsiteX56" fmla="*/ 393242 w 533723"/>
                  <a:gd name="connsiteY56" fmla="*/ 36306 h 419386"/>
                  <a:gd name="connsiteX57" fmla="*/ 393406 w 533723"/>
                  <a:gd name="connsiteY57" fmla="*/ 36317 h 419386"/>
                  <a:gd name="connsiteX58" fmla="*/ 397383 w 533723"/>
                  <a:gd name="connsiteY58" fmla="*/ 37341 h 419386"/>
                  <a:gd name="connsiteX59" fmla="*/ 408367 w 533723"/>
                  <a:gd name="connsiteY59" fmla="*/ 43126 h 419386"/>
                  <a:gd name="connsiteX60" fmla="*/ 459773 w 533723"/>
                  <a:gd name="connsiteY60" fmla="*/ 126491 h 419386"/>
                  <a:gd name="connsiteX61" fmla="*/ 441680 w 533723"/>
                  <a:gd name="connsiteY61" fmla="*/ 188008 h 419386"/>
                  <a:gd name="connsiteX62" fmla="*/ 442553 w 533723"/>
                  <a:gd name="connsiteY62" fmla="*/ 192637 h 419386"/>
                  <a:gd name="connsiteX63" fmla="*/ 443081 w 533723"/>
                  <a:gd name="connsiteY63" fmla="*/ 194875 h 419386"/>
                  <a:gd name="connsiteX64" fmla="*/ 451172 w 533723"/>
                  <a:gd name="connsiteY64" fmla="*/ 201092 h 419386"/>
                  <a:gd name="connsiteX65" fmla="*/ 458953 w 533723"/>
                  <a:gd name="connsiteY65" fmla="*/ 214116 h 419386"/>
                  <a:gd name="connsiteX66" fmla="*/ 459209 w 533723"/>
                  <a:gd name="connsiteY66" fmla="*/ 216161 h 419386"/>
                  <a:gd name="connsiteX67" fmla="*/ 460971 w 533723"/>
                  <a:gd name="connsiteY67" fmla="*/ 219929 h 419386"/>
                  <a:gd name="connsiteX68" fmla="*/ 461361 w 533723"/>
                  <a:gd name="connsiteY68" fmla="*/ 220754 h 419386"/>
                  <a:gd name="connsiteX69" fmla="*/ 470303 w 533723"/>
                  <a:gd name="connsiteY69" fmla="*/ 246015 h 419386"/>
                  <a:gd name="connsiteX70" fmla="*/ 469962 w 533723"/>
                  <a:gd name="connsiteY70" fmla="*/ 245448 h 419386"/>
                  <a:gd name="connsiteX71" fmla="*/ 468971 w 533723"/>
                  <a:gd name="connsiteY71" fmla="*/ 243799 h 419386"/>
                  <a:gd name="connsiteX72" fmla="*/ 464115 w 533723"/>
                  <a:gd name="connsiteY72" fmla="*/ 240660 h 419386"/>
                  <a:gd name="connsiteX73" fmla="*/ 457544 w 533723"/>
                  <a:gd name="connsiteY73" fmla="*/ 239804 h 419386"/>
                  <a:gd name="connsiteX74" fmla="*/ 463829 w 533723"/>
                  <a:gd name="connsiteY74" fmla="*/ 242086 h 419386"/>
                  <a:gd name="connsiteX75" fmla="*/ 469895 w 533723"/>
                  <a:gd name="connsiteY75" fmla="*/ 245979 h 419386"/>
                  <a:gd name="connsiteX76" fmla="*/ 470460 w 533723"/>
                  <a:gd name="connsiteY76" fmla="*/ 246460 h 419386"/>
                  <a:gd name="connsiteX77" fmla="*/ 485321 w 533723"/>
                  <a:gd name="connsiteY77" fmla="*/ 288443 h 419386"/>
                  <a:gd name="connsiteX78" fmla="*/ 485666 w 533723"/>
                  <a:gd name="connsiteY78" fmla="*/ 289289 h 419386"/>
                  <a:gd name="connsiteX79" fmla="*/ 485392 w 533723"/>
                  <a:gd name="connsiteY79" fmla="*/ 285754 h 419386"/>
                  <a:gd name="connsiteX80" fmla="*/ 485409 w 533723"/>
                  <a:gd name="connsiteY80" fmla="*/ 284254 h 419386"/>
                  <a:gd name="connsiteX81" fmla="*/ 485552 w 533723"/>
                  <a:gd name="connsiteY81" fmla="*/ 284634 h 419386"/>
                  <a:gd name="connsiteX82" fmla="*/ 487684 w 533723"/>
                  <a:gd name="connsiteY82" fmla="*/ 290297 h 419386"/>
                  <a:gd name="connsiteX83" fmla="*/ 487716 w 533723"/>
                  <a:gd name="connsiteY83" fmla="*/ 290381 h 419386"/>
                  <a:gd name="connsiteX84" fmla="*/ 487709 w 533723"/>
                  <a:gd name="connsiteY84" fmla="*/ 290382 h 419386"/>
                  <a:gd name="connsiteX85" fmla="*/ 486150 w 533723"/>
                  <a:gd name="connsiteY85" fmla="*/ 290474 h 419386"/>
                  <a:gd name="connsiteX86" fmla="*/ 488742 w 533723"/>
                  <a:gd name="connsiteY86" fmla="*/ 296824 h 419386"/>
                  <a:gd name="connsiteX87" fmla="*/ 494320 w 533723"/>
                  <a:gd name="connsiteY87" fmla="*/ 295556 h 419386"/>
                  <a:gd name="connsiteX88" fmla="*/ 512429 w 533723"/>
                  <a:gd name="connsiteY88" fmla="*/ 291820 h 419386"/>
                  <a:gd name="connsiteX89" fmla="*/ 519005 w 533723"/>
                  <a:gd name="connsiteY89" fmla="*/ 287509 h 419386"/>
                  <a:gd name="connsiteX90" fmla="*/ 520508 w 533723"/>
                  <a:gd name="connsiteY90" fmla="*/ 286839 h 419386"/>
                  <a:gd name="connsiteX91" fmla="*/ 522424 w 533723"/>
                  <a:gd name="connsiteY91" fmla="*/ 286502 h 419386"/>
                  <a:gd name="connsiteX92" fmla="*/ 523091 w 533723"/>
                  <a:gd name="connsiteY92" fmla="*/ 286385 h 419386"/>
                  <a:gd name="connsiteX93" fmla="*/ 525364 w 533723"/>
                  <a:gd name="connsiteY93" fmla="*/ 286646 h 419386"/>
                  <a:gd name="connsiteX94" fmla="*/ 533413 w 533723"/>
                  <a:gd name="connsiteY94" fmla="*/ 297855 h 419386"/>
                  <a:gd name="connsiteX95" fmla="*/ 530826 w 533723"/>
                  <a:gd name="connsiteY95" fmla="*/ 316249 h 419386"/>
                  <a:gd name="connsiteX96" fmla="*/ 530588 w 533723"/>
                  <a:gd name="connsiteY96" fmla="*/ 318085 h 419386"/>
                  <a:gd name="connsiteX97" fmla="*/ 530192 w 533723"/>
                  <a:gd name="connsiteY97" fmla="*/ 320320 h 419386"/>
                  <a:gd name="connsiteX98" fmla="*/ 529838 w 533723"/>
                  <a:gd name="connsiteY98" fmla="*/ 321637 h 419386"/>
                  <a:gd name="connsiteX99" fmla="*/ 526883 w 533723"/>
                  <a:gd name="connsiteY99" fmla="*/ 332653 h 419386"/>
                  <a:gd name="connsiteX100" fmla="*/ 524435 w 533723"/>
                  <a:gd name="connsiteY100" fmla="*/ 341781 h 419386"/>
                  <a:gd name="connsiteX101" fmla="*/ 519934 w 533723"/>
                  <a:gd name="connsiteY101" fmla="*/ 353045 h 419386"/>
                  <a:gd name="connsiteX102" fmla="*/ 493458 w 533723"/>
                  <a:gd name="connsiteY102" fmla="*/ 392987 h 419386"/>
                  <a:gd name="connsiteX103" fmla="*/ 421143 w 533723"/>
                  <a:gd name="connsiteY103" fmla="*/ 403455 h 419386"/>
                  <a:gd name="connsiteX104" fmla="*/ 416615 w 533723"/>
                  <a:gd name="connsiteY104" fmla="*/ 401105 h 419386"/>
                  <a:gd name="connsiteX105" fmla="*/ 401019 w 533723"/>
                  <a:gd name="connsiteY105" fmla="*/ 392405 h 419386"/>
                  <a:gd name="connsiteX106" fmla="*/ 382546 w 533723"/>
                  <a:gd name="connsiteY106" fmla="*/ 418083 h 419386"/>
                  <a:gd name="connsiteX107" fmla="*/ 364512 w 533723"/>
                  <a:gd name="connsiteY107" fmla="*/ 414388 h 419386"/>
                  <a:gd name="connsiteX108" fmla="*/ 362260 w 533723"/>
                  <a:gd name="connsiteY108" fmla="*/ 412847 h 419386"/>
                  <a:gd name="connsiteX109" fmla="*/ 359508 w 533723"/>
                  <a:gd name="connsiteY109" fmla="*/ 412530 h 419386"/>
                  <a:gd name="connsiteX110" fmla="*/ 354180 w 533723"/>
                  <a:gd name="connsiteY110" fmla="*/ 409493 h 419386"/>
                  <a:gd name="connsiteX111" fmla="*/ 351263 w 533723"/>
                  <a:gd name="connsiteY111" fmla="*/ 406931 h 419386"/>
                  <a:gd name="connsiteX112" fmla="*/ 351015 w 533723"/>
                  <a:gd name="connsiteY112" fmla="*/ 406713 h 419386"/>
                  <a:gd name="connsiteX113" fmla="*/ 348397 w 533723"/>
                  <a:gd name="connsiteY113" fmla="*/ 403432 h 419386"/>
                  <a:gd name="connsiteX114" fmla="*/ 347445 w 533723"/>
                  <a:gd name="connsiteY114" fmla="*/ 401927 h 419386"/>
                  <a:gd name="connsiteX115" fmla="*/ 345319 w 533723"/>
                  <a:gd name="connsiteY115" fmla="*/ 397536 h 419386"/>
                  <a:gd name="connsiteX116" fmla="*/ 344561 w 533723"/>
                  <a:gd name="connsiteY116" fmla="*/ 395286 h 419386"/>
                  <a:gd name="connsiteX117" fmla="*/ 335650 w 533723"/>
                  <a:gd name="connsiteY117" fmla="*/ 375455 h 419386"/>
                  <a:gd name="connsiteX118" fmla="*/ 322714 w 533723"/>
                  <a:gd name="connsiteY118" fmla="*/ 362234 h 419386"/>
                  <a:gd name="connsiteX119" fmla="*/ 319648 w 533723"/>
                  <a:gd name="connsiteY119" fmla="*/ 358159 h 419386"/>
                  <a:gd name="connsiteX120" fmla="*/ 319434 w 533723"/>
                  <a:gd name="connsiteY120" fmla="*/ 357823 h 419386"/>
                  <a:gd name="connsiteX121" fmla="*/ 314734 w 533723"/>
                  <a:gd name="connsiteY121" fmla="*/ 350455 h 419386"/>
                  <a:gd name="connsiteX122" fmla="*/ 319052 w 533723"/>
                  <a:gd name="connsiteY122" fmla="*/ 316733 h 419386"/>
                  <a:gd name="connsiteX123" fmla="*/ 323333 w 533723"/>
                  <a:gd name="connsiteY123" fmla="*/ 310656 h 419386"/>
                  <a:gd name="connsiteX124" fmla="*/ 320679 w 533723"/>
                  <a:gd name="connsiteY124" fmla="*/ 310837 h 419386"/>
                  <a:gd name="connsiteX125" fmla="*/ 316984 w 533723"/>
                  <a:gd name="connsiteY125" fmla="*/ 309959 h 419386"/>
                  <a:gd name="connsiteX126" fmla="*/ 278469 w 533723"/>
                  <a:gd name="connsiteY126" fmla="*/ 281787 h 419386"/>
                  <a:gd name="connsiteX127" fmla="*/ 279196 w 533723"/>
                  <a:gd name="connsiteY127" fmla="*/ 221148 h 419386"/>
                  <a:gd name="connsiteX128" fmla="*/ 281137 w 533723"/>
                  <a:gd name="connsiteY128" fmla="*/ 212759 h 419386"/>
                  <a:gd name="connsiteX129" fmla="*/ 280817 w 533723"/>
                  <a:gd name="connsiteY129" fmla="*/ 212855 h 419386"/>
                  <a:gd name="connsiteX130" fmla="*/ 280074 w 533723"/>
                  <a:gd name="connsiteY130" fmla="*/ 213019 h 419386"/>
                  <a:gd name="connsiteX131" fmla="*/ 208386 w 533723"/>
                  <a:gd name="connsiteY131" fmla="*/ 230868 h 419386"/>
                  <a:gd name="connsiteX132" fmla="*/ 129358 w 533723"/>
                  <a:gd name="connsiteY132" fmla="*/ 256155 h 419386"/>
                  <a:gd name="connsiteX133" fmla="*/ 76481 w 533723"/>
                  <a:gd name="connsiteY133" fmla="*/ 253856 h 419386"/>
                  <a:gd name="connsiteX134" fmla="*/ 56365 w 533723"/>
                  <a:gd name="connsiteY134" fmla="*/ 204718 h 419386"/>
                  <a:gd name="connsiteX135" fmla="*/ 6361 w 533723"/>
                  <a:gd name="connsiteY135" fmla="*/ 145234 h 419386"/>
                  <a:gd name="connsiteX136" fmla="*/ 4924 w 533723"/>
                  <a:gd name="connsiteY136" fmla="*/ 90923 h 419386"/>
                  <a:gd name="connsiteX137" fmla="*/ 26190 w 533723"/>
                  <a:gd name="connsiteY137" fmla="*/ 62762 h 419386"/>
                  <a:gd name="connsiteX138" fmla="*/ 51192 w 533723"/>
                  <a:gd name="connsiteY138" fmla="*/ 63624 h 419386"/>
                  <a:gd name="connsiteX139" fmla="*/ 92574 w 533723"/>
                  <a:gd name="connsiteY139" fmla="*/ 72245 h 419386"/>
                  <a:gd name="connsiteX140" fmla="*/ 148899 w 533723"/>
                  <a:gd name="connsiteY140" fmla="*/ 97533 h 419386"/>
                  <a:gd name="connsiteX141" fmla="*/ 100620 w 533723"/>
                  <a:gd name="connsiteY141" fmla="*/ 70233 h 419386"/>
                  <a:gd name="connsiteX142" fmla="*/ 68722 w 533723"/>
                  <a:gd name="connsiteY142" fmla="*/ 57877 h 419386"/>
                  <a:gd name="connsiteX143" fmla="*/ 95735 w 533723"/>
                  <a:gd name="connsiteY143" fmla="*/ 33739 h 419386"/>
                  <a:gd name="connsiteX144" fmla="*/ 118438 w 533723"/>
                  <a:gd name="connsiteY144" fmla="*/ 6440 h 419386"/>
                  <a:gd name="connsiteX145" fmla="*/ 135290 w 533723"/>
                  <a:gd name="connsiteY145" fmla="*/ 95 h 419386"/>
                  <a:gd name="connsiteX0" fmla="*/ 528506 w 533723"/>
                  <a:gd name="connsiteY0" fmla="*/ 291832 h 415347"/>
                  <a:gd name="connsiteX1" fmla="*/ 510121 w 533723"/>
                  <a:gd name="connsiteY1" fmla="*/ 300446 h 415347"/>
                  <a:gd name="connsiteX2" fmla="*/ 500354 w 533723"/>
                  <a:gd name="connsiteY2" fmla="*/ 302312 h 415347"/>
                  <a:gd name="connsiteX3" fmla="*/ 489695 w 533723"/>
                  <a:gd name="connsiteY3" fmla="*/ 299159 h 415347"/>
                  <a:gd name="connsiteX4" fmla="*/ 490953 w 533723"/>
                  <a:gd name="connsiteY4" fmla="*/ 302242 h 415347"/>
                  <a:gd name="connsiteX5" fmla="*/ 490826 w 533723"/>
                  <a:gd name="connsiteY5" fmla="*/ 302554 h 415347"/>
                  <a:gd name="connsiteX6" fmla="*/ 497481 w 533723"/>
                  <a:gd name="connsiteY6" fmla="*/ 306188 h 415347"/>
                  <a:gd name="connsiteX7" fmla="*/ 505812 w 533723"/>
                  <a:gd name="connsiteY7" fmla="*/ 305901 h 415347"/>
                  <a:gd name="connsiteX8" fmla="*/ 523335 w 533723"/>
                  <a:gd name="connsiteY8" fmla="*/ 297575 h 415347"/>
                  <a:gd name="connsiteX9" fmla="*/ 528506 w 533723"/>
                  <a:gd name="connsiteY9" fmla="*/ 291832 h 415347"/>
                  <a:gd name="connsiteX10" fmla="*/ 459095 w 533723"/>
                  <a:gd name="connsiteY10" fmla="*/ 214354 h 415347"/>
                  <a:gd name="connsiteX11" fmla="*/ 470185 w 533723"/>
                  <a:gd name="connsiteY11" fmla="*/ 232917 h 415347"/>
                  <a:gd name="connsiteX12" fmla="*/ 469083 w 533723"/>
                  <a:gd name="connsiteY12" fmla="*/ 236710 h 415347"/>
                  <a:gd name="connsiteX13" fmla="*/ 465107 w 533723"/>
                  <a:gd name="connsiteY13" fmla="*/ 228628 h 415347"/>
                  <a:gd name="connsiteX14" fmla="*/ 462850 w 533723"/>
                  <a:gd name="connsiteY14" fmla="*/ 223907 h 415347"/>
                  <a:gd name="connsiteX15" fmla="*/ 461361 w 533723"/>
                  <a:gd name="connsiteY15" fmla="*/ 220754 h 415347"/>
                  <a:gd name="connsiteX16" fmla="*/ 459095 w 533723"/>
                  <a:gd name="connsiteY16" fmla="*/ 214354 h 415347"/>
                  <a:gd name="connsiteX17" fmla="*/ 458921 w 533723"/>
                  <a:gd name="connsiteY17" fmla="*/ 213862 h 415347"/>
                  <a:gd name="connsiteX18" fmla="*/ 459095 w 533723"/>
                  <a:gd name="connsiteY18" fmla="*/ 214354 h 415347"/>
                  <a:gd name="connsiteX19" fmla="*/ 458953 w 533723"/>
                  <a:gd name="connsiteY19" fmla="*/ 214116 h 415347"/>
                  <a:gd name="connsiteX20" fmla="*/ 458921 w 533723"/>
                  <a:gd name="connsiteY20" fmla="*/ 213862 h 415347"/>
                  <a:gd name="connsiteX21" fmla="*/ 231642 w 533723"/>
                  <a:gd name="connsiteY21" fmla="*/ 117869 h 415347"/>
                  <a:gd name="connsiteX22" fmla="*/ 245739 w 533723"/>
                  <a:gd name="connsiteY22" fmla="*/ 119960 h 415347"/>
                  <a:gd name="connsiteX23" fmla="*/ 247479 w 533723"/>
                  <a:gd name="connsiteY23" fmla="*/ 117948 h 415347"/>
                  <a:gd name="connsiteX24" fmla="*/ 241439 w 533723"/>
                  <a:gd name="connsiteY24" fmla="*/ 117896 h 415347"/>
                  <a:gd name="connsiteX25" fmla="*/ 231642 w 533723"/>
                  <a:gd name="connsiteY25" fmla="*/ 117869 h 415347"/>
                  <a:gd name="connsiteX26" fmla="*/ 393966 w 533723"/>
                  <a:gd name="connsiteY26" fmla="*/ 59548 h 415347"/>
                  <a:gd name="connsiteX27" fmla="*/ 394760 w 533723"/>
                  <a:gd name="connsiteY27" fmla="*/ 61641 h 415347"/>
                  <a:gd name="connsiteX28" fmla="*/ 396543 w 533723"/>
                  <a:gd name="connsiteY28" fmla="*/ 61922 h 415347"/>
                  <a:gd name="connsiteX29" fmla="*/ 393966 w 533723"/>
                  <a:gd name="connsiteY29" fmla="*/ 59548 h 415347"/>
                  <a:gd name="connsiteX30" fmla="*/ 135290 w 533723"/>
                  <a:gd name="connsiteY30" fmla="*/ 95 h 415347"/>
                  <a:gd name="connsiteX31" fmla="*/ 142002 w 533723"/>
                  <a:gd name="connsiteY31" fmla="*/ 118 h 415347"/>
                  <a:gd name="connsiteX32" fmla="*/ 184247 w 533723"/>
                  <a:gd name="connsiteY32" fmla="*/ 9888 h 415347"/>
                  <a:gd name="connsiteX33" fmla="*/ 237411 w 533723"/>
                  <a:gd name="connsiteY33" fmla="*/ 31727 h 415347"/>
                  <a:gd name="connsiteX34" fmla="*/ 273908 w 533723"/>
                  <a:gd name="connsiteY34" fmla="*/ 50693 h 415347"/>
                  <a:gd name="connsiteX35" fmla="*/ 300993 w 533723"/>
                  <a:gd name="connsiteY35" fmla="*/ 65241 h 415347"/>
                  <a:gd name="connsiteX36" fmla="*/ 313770 w 533723"/>
                  <a:gd name="connsiteY36" fmla="*/ 72415 h 415347"/>
                  <a:gd name="connsiteX37" fmla="*/ 317458 w 533723"/>
                  <a:gd name="connsiteY37" fmla="*/ 74704 h 415347"/>
                  <a:gd name="connsiteX38" fmla="*/ 321989 w 533723"/>
                  <a:gd name="connsiteY38" fmla="*/ 77518 h 415347"/>
                  <a:gd name="connsiteX39" fmla="*/ 328509 w 533723"/>
                  <a:gd name="connsiteY39" fmla="*/ 81728 h 415347"/>
                  <a:gd name="connsiteX40" fmla="*/ 329950 w 533723"/>
                  <a:gd name="connsiteY40" fmla="*/ 82770 h 415347"/>
                  <a:gd name="connsiteX41" fmla="*/ 322786 w 533723"/>
                  <a:gd name="connsiteY41" fmla="*/ 67357 h 415347"/>
                  <a:gd name="connsiteX42" fmla="*/ 318179 w 533723"/>
                  <a:gd name="connsiteY42" fmla="*/ 66024 h 415347"/>
                  <a:gd name="connsiteX43" fmla="*/ 315145 w 533723"/>
                  <a:gd name="connsiteY43" fmla="*/ 65146 h 415347"/>
                  <a:gd name="connsiteX44" fmla="*/ 315984 w 533723"/>
                  <a:gd name="connsiteY44" fmla="*/ 64282 h 415347"/>
                  <a:gd name="connsiteX45" fmla="*/ 336115 w 533723"/>
                  <a:gd name="connsiteY45" fmla="*/ 45493 h 415347"/>
                  <a:gd name="connsiteX46" fmla="*/ 339135 w 533723"/>
                  <a:gd name="connsiteY46" fmla="*/ 43303 h 415347"/>
                  <a:gd name="connsiteX47" fmla="*/ 344556 w 533723"/>
                  <a:gd name="connsiteY47" fmla="*/ 40552 h 415347"/>
                  <a:gd name="connsiteX48" fmla="*/ 348957 w 533723"/>
                  <a:gd name="connsiteY48" fmla="*/ 38760 h 415347"/>
                  <a:gd name="connsiteX49" fmla="*/ 368054 w 533723"/>
                  <a:gd name="connsiteY49" fmla="*/ 34807 h 415347"/>
                  <a:gd name="connsiteX50" fmla="*/ 382234 w 533723"/>
                  <a:gd name="connsiteY50" fmla="*/ 37952 h 415347"/>
                  <a:gd name="connsiteX51" fmla="*/ 390275 w 533723"/>
                  <a:gd name="connsiteY51" fmla="*/ 35652 h 415347"/>
                  <a:gd name="connsiteX52" fmla="*/ 390840 w 533723"/>
                  <a:gd name="connsiteY52" fmla="*/ 35749 h 415347"/>
                  <a:gd name="connsiteX53" fmla="*/ 391575 w 533723"/>
                  <a:gd name="connsiteY53" fmla="*/ 35894 h 415347"/>
                  <a:gd name="connsiteX54" fmla="*/ 391750 w 533723"/>
                  <a:gd name="connsiteY54" fmla="*/ 35955 h 415347"/>
                  <a:gd name="connsiteX55" fmla="*/ 392615 w 533723"/>
                  <a:gd name="connsiteY55" fmla="*/ 36327 h 415347"/>
                  <a:gd name="connsiteX56" fmla="*/ 393242 w 533723"/>
                  <a:gd name="connsiteY56" fmla="*/ 36306 h 415347"/>
                  <a:gd name="connsiteX57" fmla="*/ 393406 w 533723"/>
                  <a:gd name="connsiteY57" fmla="*/ 36317 h 415347"/>
                  <a:gd name="connsiteX58" fmla="*/ 397383 w 533723"/>
                  <a:gd name="connsiteY58" fmla="*/ 37341 h 415347"/>
                  <a:gd name="connsiteX59" fmla="*/ 408367 w 533723"/>
                  <a:gd name="connsiteY59" fmla="*/ 43126 h 415347"/>
                  <a:gd name="connsiteX60" fmla="*/ 459773 w 533723"/>
                  <a:gd name="connsiteY60" fmla="*/ 126491 h 415347"/>
                  <a:gd name="connsiteX61" fmla="*/ 441680 w 533723"/>
                  <a:gd name="connsiteY61" fmla="*/ 188008 h 415347"/>
                  <a:gd name="connsiteX62" fmla="*/ 442553 w 533723"/>
                  <a:gd name="connsiteY62" fmla="*/ 192637 h 415347"/>
                  <a:gd name="connsiteX63" fmla="*/ 443081 w 533723"/>
                  <a:gd name="connsiteY63" fmla="*/ 194875 h 415347"/>
                  <a:gd name="connsiteX64" fmla="*/ 451172 w 533723"/>
                  <a:gd name="connsiteY64" fmla="*/ 201092 h 415347"/>
                  <a:gd name="connsiteX65" fmla="*/ 458953 w 533723"/>
                  <a:gd name="connsiteY65" fmla="*/ 214116 h 415347"/>
                  <a:gd name="connsiteX66" fmla="*/ 459209 w 533723"/>
                  <a:gd name="connsiteY66" fmla="*/ 216161 h 415347"/>
                  <a:gd name="connsiteX67" fmla="*/ 460971 w 533723"/>
                  <a:gd name="connsiteY67" fmla="*/ 219929 h 415347"/>
                  <a:gd name="connsiteX68" fmla="*/ 461361 w 533723"/>
                  <a:gd name="connsiteY68" fmla="*/ 220754 h 415347"/>
                  <a:gd name="connsiteX69" fmla="*/ 470303 w 533723"/>
                  <a:gd name="connsiteY69" fmla="*/ 246015 h 415347"/>
                  <a:gd name="connsiteX70" fmla="*/ 469962 w 533723"/>
                  <a:gd name="connsiteY70" fmla="*/ 245448 h 415347"/>
                  <a:gd name="connsiteX71" fmla="*/ 468971 w 533723"/>
                  <a:gd name="connsiteY71" fmla="*/ 243799 h 415347"/>
                  <a:gd name="connsiteX72" fmla="*/ 464115 w 533723"/>
                  <a:gd name="connsiteY72" fmla="*/ 240660 h 415347"/>
                  <a:gd name="connsiteX73" fmla="*/ 457544 w 533723"/>
                  <a:gd name="connsiteY73" fmla="*/ 239804 h 415347"/>
                  <a:gd name="connsiteX74" fmla="*/ 463829 w 533723"/>
                  <a:gd name="connsiteY74" fmla="*/ 242086 h 415347"/>
                  <a:gd name="connsiteX75" fmla="*/ 469895 w 533723"/>
                  <a:gd name="connsiteY75" fmla="*/ 245979 h 415347"/>
                  <a:gd name="connsiteX76" fmla="*/ 470460 w 533723"/>
                  <a:gd name="connsiteY76" fmla="*/ 246460 h 415347"/>
                  <a:gd name="connsiteX77" fmla="*/ 485321 w 533723"/>
                  <a:gd name="connsiteY77" fmla="*/ 288443 h 415347"/>
                  <a:gd name="connsiteX78" fmla="*/ 485666 w 533723"/>
                  <a:gd name="connsiteY78" fmla="*/ 289289 h 415347"/>
                  <a:gd name="connsiteX79" fmla="*/ 485392 w 533723"/>
                  <a:gd name="connsiteY79" fmla="*/ 285754 h 415347"/>
                  <a:gd name="connsiteX80" fmla="*/ 485409 w 533723"/>
                  <a:gd name="connsiteY80" fmla="*/ 284254 h 415347"/>
                  <a:gd name="connsiteX81" fmla="*/ 485552 w 533723"/>
                  <a:gd name="connsiteY81" fmla="*/ 284634 h 415347"/>
                  <a:gd name="connsiteX82" fmla="*/ 487684 w 533723"/>
                  <a:gd name="connsiteY82" fmla="*/ 290297 h 415347"/>
                  <a:gd name="connsiteX83" fmla="*/ 487716 w 533723"/>
                  <a:gd name="connsiteY83" fmla="*/ 290381 h 415347"/>
                  <a:gd name="connsiteX84" fmla="*/ 487709 w 533723"/>
                  <a:gd name="connsiteY84" fmla="*/ 290382 h 415347"/>
                  <a:gd name="connsiteX85" fmla="*/ 486150 w 533723"/>
                  <a:gd name="connsiteY85" fmla="*/ 290474 h 415347"/>
                  <a:gd name="connsiteX86" fmla="*/ 488742 w 533723"/>
                  <a:gd name="connsiteY86" fmla="*/ 296824 h 415347"/>
                  <a:gd name="connsiteX87" fmla="*/ 494320 w 533723"/>
                  <a:gd name="connsiteY87" fmla="*/ 295556 h 415347"/>
                  <a:gd name="connsiteX88" fmla="*/ 512429 w 533723"/>
                  <a:gd name="connsiteY88" fmla="*/ 291820 h 415347"/>
                  <a:gd name="connsiteX89" fmla="*/ 519005 w 533723"/>
                  <a:gd name="connsiteY89" fmla="*/ 287509 h 415347"/>
                  <a:gd name="connsiteX90" fmla="*/ 520508 w 533723"/>
                  <a:gd name="connsiteY90" fmla="*/ 286839 h 415347"/>
                  <a:gd name="connsiteX91" fmla="*/ 522424 w 533723"/>
                  <a:gd name="connsiteY91" fmla="*/ 286502 h 415347"/>
                  <a:gd name="connsiteX92" fmla="*/ 523091 w 533723"/>
                  <a:gd name="connsiteY92" fmla="*/ 286385 h 415347"/>
                  <a:gd name="connsiteX93" fmla="*/ 525364 w 533723"/>
                  <a:gd name="connsiteY93" fmla="*/ 286646 h 415347"/>
                  <a:gd name="connsiteX94" fmla="*/ 533413 w 533723"/>
                  <a:gd name="connsiteY94" fmla="*/ 297855 h 415347"/>
                  <a:gd name="connsiteX95" fmla="*/ 530826 w 533723"/>
                  <a:gd name="connsiteY95" fmla="*/ 316249 h 415347"/>
                  <a:gd name="connsiteX96" fmla="*/ 530588 w 533723"/>
                  <a:gd name="connsiteY96" fmla="*/ 318085 h 415347"/>
                  <a:gd name="connsiteX97" fmla="*/ 530192 w 533723"/>
                  <a:gd name="connsiteY97" fmla="*/ 320320 h 415347"/>
                  <a:gd name="connsiteX98" fmla="*/ 529838 w 533723"/>
                  <a:gd name="connsiteY98" fmla="*/ 321637 h 415347"/>
                  <a:gd name="connsiteX99" fmla="*/ 526883 w 533723"/>
                  <a:gd name="connsiteY99" fmla="*/ 332653 h 415347"/>
                  <a:gd name="connsiteX100" fmla="*/ 524435 w 533723"/>
                  <a:gd name="connsiteY100" fmla="*/ 341781 h 415347"/>
                  <a:gd name="connsiteX101" fmla="*/ 519934 w 533723"/>
                  <a:gd name="connsiteY101" fmla="*/ 353045 h 415347"/>
                  <a:gd name="connsiteX102" fmla="*/ 493458 w 533723"/>
                  <a:gd name="connsiteY102" fmla="*/ 392987 h 415347"/>
                  <a:gd name="connsiteX103" fmla="*/ 421143 w 533723"/>
                  <a:gd name="connsiteY103" fmla="*/ 403455 h 415347"/>
                  <a:gd name="connsiteX104" fmla="*/ 416615 w 533723"/>
                  <a:gd name="connsiteY104" fmla="*/ 401105 h 415347"/>
                  <a:gd name="connsiteX105" fmla="*/ 401019 w 533723"/>
                  <a:gd name="connsiteY105" fmla="*/ 392405 h 415347"/>
                  <a:gd name="connsiteX106" fmla="*/ 381629 w 533723"/>
                  <a:gd name="connsiteY106" fmla="*/ 410745 h 415347"/>
                  <a:gd name="connsiteX107" fmla="*/ 364512 w 533723"/>
                  <a:gd name="connsiteY107" fmla="*/ 414388 h 415347"/>
                  <a:gd name="connsiteX108" fmla="*/ 362260 w 533723"/>
                  <a:gd name="connsiteY108" fmla="*/ 412847 h 415347"/>
                  <a:gd name="connsiteX109" fmla="*/ 359508 w 533723"/>
                  <a:gd name="connsiteY109" fmla="*/ 412530 h 415347"/>
                  <a:gd name="connsiteX110" fmla="*/ 354180 w 533723"/>
                  <a:gd name="connsiteY110" fmla="*/ 409493 h 415347"/>
                  <a:gd name="connsiteX111" fmla="*/ 351263 w 533723"/>
                  <a:gd name="connsiteY111" fmla="*/ 406931 h 415347"/>
                  <a:gd name="connsiteX112" fmla="*/ 351015 w 533723"/>
                  <a:gd name="connsiteY112" fmla="*/ 406713 h 415347"/>
                  <a:gd name="connsiteX113" fmla="*/ 348397 w 533723"/>
                  <a:gd name="connsiteY113" fmla="*/ 403432 h 415347"/>
                  <a:gd name="connsiteX114" fmla="*/ 347445 w 533723"/>
                  <a:gd name="connsiteY114" fmla="*/ 401927 h 415347"/>
                  <a:gd name="connsiteX115" fmla="*/ 345319 w 533723"/>
                  <a:gd name="connsiteY115" fmla="*/ 397536 h 415347"/>
                  <a:gd name="connsiteX116" fmla="*/ 344561 w 533723"/>
                  <a:gd name="connsiteY116" fmla="*/ 395286 h 415347"/>
                  <a:gd name="connsiteX117" fmla="*/ 335650 w 533723"/>
                  <a:gd name="connsiteY117" fmla="*/ 375455 h 415347"/>
                  <a:gd name="connsiteX118" fmla="*/ 322714 w 533723"/>
                  <a:gd name="connsiteY118" fmla="*/ 362234 h 415347"/>
                  <a:gd name="connsiteX119" fmla="*/ 319648 w 533723"/>
                  <a:gd name="connsiteY119" fmla="*/ 358159 h 415347"/>
                  <a:gd name="connsiteX120" fmla="*/ 319434 w 533723"/>
                  <a:gd name="connsiteY120" fmla="*/ 357823 h 415347"/>
                  <a:gd name="connsiteX121" fmla="*/ 314734 w 533723"/>
                  <a:gd name="connsiteY121" fmla="*/ 350455 h 415347"/>
                  <a:gd name="connsiteX122" fmla="*/ 319052 w 533723"/>
                  <a:gd name="connsiteY122" fmla="*/ 316733 h 415347"/>
                  <a:gd name="connsiteX123" fmla="*/ 323333 w 533723"/>
                  <a:gd name="connsiteY123" fmla="*/ 310656 h 415347"/>
                  <a:gd name="connsiteX124" fmla="*/ 320679 w 533723"/>
                  <a:gd name="connsiteY124" fmla="*/ 310837 h 415347"/>
                  <a:gd name="connsiteX125" fmla="*/ 316984 w 533723"/>
                  <a:gd name="connsiteY125" fmla="*/ 309959 h 415347"/>
                  <a:gd name="connsiteX126" fmla="*/ 278469 w 533723"/>
                  <a:gd name="connsiteY126" fmla="*/ 281787 h 415347"/>
                  <a:gd name="connsiteX127" fmla="*/ 279196 w 533723"/>
                  <a:gd name="connsiteY127" fmla="*/ 221148 h 415347"/>
                  <a:gd name="connsiteX128" fmla="*/ 281137 w 533723"/>
                  <a:gd name="connsiteY128" fmla="*/ 212759 h 415347"/>
                  <a:gd name="connsiteX129" fmla="*/ 280817 w 533723"/>
                  <a:gd name="connsiteY129" fmla="*/ 212855 h 415347"/>
                  <a:gd name="connsiteX130" fmla="*/ 280074 w 533723"/>
                  <a:gd name="connsiteY130" fmla="*/ 213019 h 415347"/>
                  <a:gd name="connsiteX131" fmla="*/ 208386 w 533723"/>
                  <a:gd name="connsiteY131" fmla="*/ 230868 h 415347"/>
                  <a:gd name="connsiteX132" fmla="*/ 129358 w 533723"/>
                  <a:gd name="connsiteY132" fmla="*/ 256155 h 415347"/>
                  <a:gd name="connsiteX133" fmla="*/ 76481 w 533723"/>
                  <a:gd name="connsiteY133" fmla="*/ 253856 h 415347"/>
                  <a:gd name="connsiteX134" fmla="*/ 56365 w 533723"/>
                  <a:gd name="connsiteY134" fmla="*/ 204718 h 415347"/>
                  <a:gd name="connsiteX135" fmla="*/ 6361 w 533723"/>
                  <a:gd name="connsiteY135" fmla="*/ 145234 h 415347"/>
                  <a:gd name="connsiteX136" fmla="*/ 4924 w 533723"/>
                  <a:gd name="connsiteY136" fmla="*/ 90923 h 415347"/>
                  <a:gd name="connsiteX137" fmla="*/ 26190 w 533723"/>
                  <a:gd name="connsiteY137" fmla="*/ 62762 h 415347"/>
                  <a:gd name="connsiteX138" fmla="*/ 51192 w 533723"/>
                  <a:gd name="connsiteY138" fmla="*/ 63624 h 415347"/>
                  <a:gd name="connsiteX139" fmla="*/ 92574 w 533723"/>
                  <a:gd name="connsiteY139" fmla="*/ 72245 h 415347"/>
                  <a:gd name="connsiteX140" fmla="*/ 148899 w 533723"/>
                  <a:gd name="connsiteY140" fmla="*/ 97533 h 415347"/>
                  <a:gd name="connsiteX141" fmla="*/ 100620 w 533723"/>
                  <a:gd name="connsiteY141" fmla="*/ 70233 h 415347"/>
                  <a:gd name="connsiteX142" fmla="*/ 68722 w 533723"/>
                  <a:gd name="connsiteY142" fmla="*/ 57877 h 415347"/>
                  <a:gd name="connsiteX143" fmla="*/ 95735 w 533723"/>
                  <a:gd name="connsiteY143" fmla="*/ 33739 h 415347"/>
                  <a:gd name="connsiteX144" fmla="*/ 118438 w 533723"/>
                  <a:gd name="connsiteY144" fmla="*/ 6440 h 415347"/>
                  <a:gd name="connsiteX145" fmla="*/ 135290 w 533723"/>
                  <a:gd name="connsiteY145" fmla="*/ 95 h 415347"/>
                  <a:gd name="connsiteX0" fmla="*/ 528506 w 533723"/>
                  <a:gd name="connsiteY0" fmla="*/ 291832 h 415322"/>
                  <a:gd name="connsiteX1" fmla="*/ 510121 w 533723"/>
                  <a:gd name="connsiteY1" fmla="*/ 300446 h 415322"/>
                  <a:gd name="connsiteX2" fmla="*/ 500354 w 533723"/>
                  <a:gd name="connsiteY2" fmla="*/ 302312 h 415322"/>
                  <a:gd name="connsiteX3" fmla="*/ 489695 w 533723"/>
                  <a:gd name="connsiteY3" fmla="*/ 299159 h 415322"/>
                  <a:gd name="connsiteX4" fmla="*/ 490953 w 533723"/>
                  <a:gd name="connsiteY4" fmla="*/ 302242 h 415322"/>
                  <a:gd name="connsiteX5" fmla="*/ 490826 w 533723"/>
                  <a:gd name="connsiteY5" fmla="*/ 302554 h 415322"/>
                  <a:gd name="connsiteX6" fmla="*/ 497481 w 533723"/>
                  <a:gd name="connsiteY6" fmla="*/ 306188 h 415322"/>
                  <a:gd name="connsiteX7" fmla="*/ 505812 w 533723"/>
                  <a:gd name="connsiteY7" fmla="*/ 305901 h 415322"/>
                  <a:gd name="connsiteX8" fmla="*/ 523335 w 533723"/>
                  <a:gd name="connsiteY8" fmla="*/ 297575 h 415322"/>
                  <a:gd name="connsiteX9" fmla="*/ 528506 w 533723"/>
                  <a:gd name="connsiteY9" fmla="*/ 291832 h 415322"/>
                  <a:gd name="connsiteX10" fmla="*/ 459095 w 533723"/>
                  <a:gd name="connsiteY10" fmla="*/ 214354 h 415322"/>
                  <a:gd name="connsiteX11" fmla="*/ 470185 w 533723"/>
                  <a:gd name="connsiteY11" fmla="*/ 232917 h 415322"/>
                  <a:gd name="connsiteX12" fmla="*/ 469083 w 533723"/>
                  <a:gd name="connsiteY12" fmla="*/ 236710 h 415322"/>
                  <a:gd name="connsiteX13" fmla="*/ 465107 w 533723"/>
                  <a:gd name="connsiteY13" fmla="*/ 228628 h 415322"/>
                  <a:gd name="connsiteX14" fmla="*/ 462850 w 533723"/>
                  <a:gd name="connsiteY14" fmla="*/ 223907 h 415322"/>
                  <a:gd name="connsiteX15" fmla="*/ 461361 w 533723"/>
                  <a:gd name="connsiteY15" fmla="*/ 220754 h 415322"/>
                  <a:gd name="connsiteX16" fmla="*/ 459095 w 533723"/>
                  <a:gd name="connsiteY16" fmla="*/ 214354 h 415322"/>
                  <a:gd name="connsiteX17" fmla="*/ 458921 w 533723"/>
                  <a:gd name="connsiteY17" fmla="*/ 213862 h 415322"/>
                  <a:gd name="connsiteX18" fmla="*/ 459095 w 533723"/>
                  <a:gd name="connsiteY18" fmla="*/ 214354 h 415322"/>
                  <a:gd name="connsiteX19" fmla="*/ 458953 w 533723"/>
                  <a:gd name="connsiteY19" fmla="*/ 214116 h 415322"/>
                  <a:gd name="connsiteX20" fmla="*/ 458921 w 533723"/>
                  <a:gd name="connsiteY20" fmla="*/ 213862 h 415322"/>
                  <a:gd name="connsiteX21" fmla="*/ 231642 w 533723"/>
                  <a:gd name="connsiteY21" fmla="*/ 117869 h 415322"/>
                  <a:gd name="connsiteX22" fmla="*/ 245739 w 533723"/>
                  <a:gd name="connsiteY22" fmla="*/ 119960 h 415322"/>
                  <a:gd name="connsiteX23" fmla="*/ 247479 w 533723"/>
                  <a:gd name="connsiteY23" fmla="*/ 117948 h 415322"/>
                  <a:gd name="connsiteX24" fmla="*/ 241439 w 533723"/>
                  <a:gd name="connsiteY24" fmla="*/ 117896 h 415322"/>
                  <a:gd name="connsiteX25" fmla="*/ 231642 w 533723"/>
                  <a:gd name="connsiteY25" fmla="*/ 117869 h 415322"/>
                  <a:gd name="connsiteX26" fmla="*/ 393966 w 533723"/>
                  <a:gd name="connsiteY26" fmla="*/ 59548 h 415322"/>
                  <a:gd name="connsiteX27" fmla="*/ 394760 w 533723"/>
                  <a:gd name="connsiteY27" fmla="*/ 61641 h 415322"/>
                  <a:gd name="connsiteX28" fmla="*/ 396543 w 533723"/>
                  <a:gd name="connsiteY28" fmla="*/ 61922 h 415322"/>
                  <a:gd name="connsiteX29" fmla="*/ 393966 w 533723"/>
                  <a:gd name="connsiteY29" fmla="*/ 59548 h 415322"/>
                  <a:gd name="connsiteX30" fmla="*/ 135290 w 533723"/>
                  <a:gd name="connsiteY30" fmla="*/ 95 h 415322"/>
                  <a:gd name="connsiteX31" fmla="*/ 142002 w 533723"/>
                  <a:gd name="connsiteY31" fmla="*/ 118 h 415322"/>
                  <a:gd name="connsiteX32" fmla="*/ 184247 w 533723"/>
                  <a:gd name="connsiteY32" fmla="*/ 9888 h 415322"/>
                  <a:gd name="connsiteX33" fmla="*/ 237411 w 533723"/>
                  <a:gd name="connsiteY33" fmla="*/ 31727 h 415322"/>
                  <a:gd name="connsiteX34" fmla="*/ 273908 w 533723"/>
                  <a:gd name="connsiteY34" fmla="*/ 50693 h 415322"/>
                  <a:gd name="connsiteX35" fmla="*/ 300993 w 533723"/>
                  <a:gd name="connsiteY35" fmla="*/ 65241 h 415322"/>
                  <a:gd name="connsiteX36" fmla="*/ 313770 w 533723"/>
                  <a:gd name="connsiteY36" fmla="*/ 72415 h 415322"/>
                  <a:gd name="connsiteX37" fmla="*/ 317458 w 533723"/>
                  <a:gd name="connsiteY37" fmla="*/ 74704 h 415322"/>
                  <a:gd name="connsiteX38" fmla="*/ 321989 w 533723"/>
                  <a:gd name="connsiteY38" fmla="*/ 77518 h 415322"/>
                  <a:gd name="connsiteX39" fmla="*/ 328509 w 533723"/>
                  <a:gd name="connsiteY39" fmla="*/ 81728 h 415322"/>
                  <a:gd name="connsiteX40" fmla="*/ 329950 w 533723"/>
                  <a:gd name="connsiteY40" fmla="*/ 82770 h 415322"/>
                  <a:gd name="connsiteX41" fmla="*/ 322786 w 533723"/>
                  <a:gd name="connsiteY41" fmla="*/ 67357 h 415322"/>
                  <a:gd name="connsiteX42" fmla="*/ 318179 w 533723"/>
                  <a:gd name="connsiteY42" fmla="*/ 66024 h 415322"/>
                  <a:gd name="connsiteX43" fmla="*/ 315145 w 533723"/>
                  <a:gd name="connsiteY43" fmla="*/ 65146 h 415322"/>
                  <a:gd name="connsiteX44" fmla="*/ 315984 w 533723"/>
                  <a:gd name="connsiteY44" fmla="*/ 64282 h 415322"/>
                  <a:gd name="connsiteX45" fmla="*/ 336115 w 533723"/>
                  <a:gd name="connsiteY45" fmla="*/ 45493 h 415322"/>
                  <a:gd name="connsiteX46" fmla="*/ 339135 w 533723"/>
                  <a:gd name="connsiteY46" fmla="*/ 43303 h 415322"/>
                  <a:gd name="connsiteX47" fmla="*/ 344556 w 533723"/>
                  <a:gd name="connsiteY47" fmla="*/ 40552 h 415322"/>
                  <a:gd name="connsiteX48" fmla="*/ 348957 w 533723"/>
                  <a:gd name="connsiteY48" fmla="*/ 38760 h 415322"/>
                  <a:gd name="connsiteX49" fmla="*/ 368054 w 533723"/>
                  <a:gd name="connsiteY49" fmla="*/ 34807 h 415322"/>
                  <a:gd name="connsiteX50" fmla="*/ 382234 w 533723"/>
                  <a:gd name="connsiteY50" fmla="*/ 37952 h 415322"/>
                  <a:gd name="connsiteX51" fmla="*/ 390275 w 533723"/>
                  <a:gd name="connsiteY51" fmla="*/ 35652 h 415322"/>
                  <a:gd name="connsiteX52" fmla="*/ 390840 w 533723"/>
                  <a:gd name="connsiteY52" fmla="*/ 35749 h 415322"/>
                  <a:gd name="connsiteX53" fmla="*/ 391575 w 533723"/>
                  <a:gd name="connsiteY53" fmla="*/ 35894 h 415322"/>
                  <a:gd name="connsiteX54" fmla="*/ 391750 w 533723"/>
                  <a:gd name="connsiteY54" fmla="*/ 35955 h 415322"/>
                  <a:gd name="connsiteX55" fmla="*/ 392615 w 533723"/>
                  <a:gd name="connsiteY55" fmla="*/ 36327 h 415322"/>
                  <a:gd name="connsiteX56" fmla="*/ 393242 w 533723"/>
                  <a:gd name="connsiteY56" fmla="*/ 36306 h 415322"/>
                  <a:gd name="connsiteX57" fmla="*/ 393406 w 533723"/>
                  <a:gd name="connsiteY57" fmla="*/ 36317 h 415322"/>
                  <a:gd name="connsiteX58" fmla="*/ 397383 w 533723"/>
                  <a:gd name="connsiteY58" fmla="*/ 37341 h 415322"/>
                  <a:gd name="connsiteX59" fmla="*/ 408367 w 533723"/>
                  <a:gd name="connsiteY59" fmla="*/ 43126 h 415322"/>
                  <a:gd name="connsiteX60" fmla="*/ 459773 w 533723"/>
                  <a:gd name="connsiteY60" fmla="*/ 126491 h 415322"/>
                  <a:gd name="connsiteX61" fmla="*/ 441680 w 533723"/>
                  <a:gd name="connsiteY61" fmla="*/ 188008 h 415322"/>
                  <a:gd name="connsiteX62" fmla="*/ 442553 w 533723"/>
                  <a:gd name="connsiteY62" fmla="*/ 192637 h 415322"/>
                  <a:gd name="connsiteX63" fmla="*/ 443081 w 533723"/>
                  <a:gd name="connsiteY63" fmla="*/ 194875 h 415322"/>
                  <a:gd name="connsiteX64" fmla="*/ 451172 w 533723"/>
                  <a:gd name="connsiteY64" fmla="*/ 201092 h 415322"/>
                  <a:gd name="connsiteX65" fmla="*/ 458953 w 533723"/>
                  <a:gd name="connsiteY65" fmla="*/ 214116 h 415322"/>
                  <a:gd name="connsiteX66" fmla="*/ 459209 w 533723"/>
                  <a:gd name="connsiteY66" fmla="*/ 216161 h 415322"/>
                  <a:gd name="connsiteX67" fmla="*/ 460971 w 533723"/>
                  <a:gd name="connsiteY67" fmla="*/ 219929 h 415322"/>
                  <a:gd name="connsiteX68" fmla="*/ 461361 w 533723"/>
                  <a:gd name="connsiteY68" fmla="*/ 220754 h 415322"/>
                  <a:gd name="connsiteX69" fmla="*/ 470303 w 533723"/>
                  <a:gd name="connsiteY69" fmla="*/ 246015 h 415322"/>
                  <a:gd name="connsiteX70" fmla="*/ 469962 w 533723"/>
                  <a:gd name="connsiteY70" fmla="*/ 245448 h 415322"/>
                  <a:gd name="connsiteX71" fmla="*/ 468971 w 533723"/>
                  <a:gd name="connsiteY71" fmla="*/ 243799 h 415322"/>
                  <a:gd name="connsiteX72" fmla="*/ 464115 w 533723"/>
                  <a:gd name="connsiteY72" fmla="*/ 240660 h 415322"/>
                  <a:gd name="connsiteX73" fmla="*/ 457544 w 533723"/>
                  <a:gd name="connsiteY73" fmla="*/ 239804 h 415322"/>
                  <a:gd name="connsiteX74" fmla="*/ 463829 w 533723"/>
                  <a:gd name="connsiteY74" fmla="*/ 242086 h 415322"/>
                  <a:gd name="connsiteX75" fmla="*/ 469895 w 533723"/>
                  <a:gd name="connsiteY75" fmla="*/ 245979 h 415322"/>
                  <a:gd name="connsiteX76" fmla="*/ 470460 w 533723"/>
                  <a:gd name="connsiteY76" fmla="*/ 246460 h 415322"/>
                  <a:gd name="connsiteX77" fmla="*/ 485321 w 533723"/>
                  <a:gd name="connsiteY77" fmla="*/ 288443 h 415322"/>
                  <a:gd name="connsiteX78" fmla="*/ 485666 w 533723"/>
                  <a:gd name="connsiteY78" fmla="*/ 289289 h 415322"/>
                  <a:gd name="connsiteX79" fmla="*/ 485392 w 533723"/>
                  <a:gd name="connsiteY79" fmla="*/ 285754 h 415322"/>
                  <a:gd name="connsiteX80" fmla="*/ 485409 w 533723"/>
                  <a:gd name="connsiteY80" fmla="*/ 284254 h 415322"/>
                  <a:gd name="connsiteX81" fmla="*/ 485552 w 533723"/>
                  <a:gd name="connsiteY81" fmla="*/ 284634 h 415322"/>
                  <a:gd name="connsiteX82" fmla="*/ 487684 w 533723"/>
                  <a:gd name="connsiteY82" fmla="*/ 290297 h 415322"/>
                  <a:gd name="connsiteX83" fmla="*/ 487716 w 533723"/>
                  <a:gd name="connsiteY83" fmla="*/ 290381 h 415322"/>
                  <a:gd name="connsiteX84" fmla="*/ 487709 w 533723"/>
                  <a:gd name="connsiteY84" fmla="*/ 290382 h 415322"/>
                  <a:gd name="connsiteX85" fmla="*/ 486150 w 533723"/>
                  <a:gd name="connsiteY85" fmla="*/ 290474 h 415322"/>
                  <a:gd name="connsiteX86" fmla="*/ 488742 w 533723"/>
                  <a:gd name="connsiteY86" fmla="*/ 296824 h 415322"/>
                  <a:gd name="connsiteX87" fmla="*/ 494320 w 533723"/>
                  <a:gd name="connsiteY87" fmla="*/ 295556 h 415322"/>
                  <a:gd name="connsiteX88" fmla="*/ 512429 w 533723"/>
                  <a:gd name="connsiteY88" fmla="*/ 291820 h 415322"/>
                  <a:gd name="connsiteX89" fmla="*/ 519005 w 533723"/>
                  <a:gd name="connsiteY89" fmla="*/ 287509 h 415322"/>
                  <a:gd name="connsiteX90" fmla="*/ 520508 w 533723"/>
                  <a:gd name="connsiteY90" fmla="*/ 286839 h 415322"/>
                  <a:gd name="connsiteX91" fmla="*/ 522424 w 533723"/>
                  <a:gd name="connsiteY91" fmla="*/ 286502 h 415322"/>
                  <a:gd name="connsiteX92" fmla="*/ 523091 w 533723"/>
                  <a:gd name="connsiteY92" fmla="*/ 286385 h 415322"/>
                  <a:gd name="connsiteX93" fmla="*/ 525364 w 533723"/>
                  <a:gd name="connsiteY93" fmla="*/ 286646 h 415322"/>
                  <a:gd name="connsiteX94" fmla="*/ 533413 w 533723"/>
                  <a:gd name="connsiteY94" fmla="*/ 297855 h 415322"/>
                  <a:gd name="connsiteX95" fmla="*/ 530826 w 533723"/>
                  <a:gd name="connsiteY95" fmla="*/ 316249 h 415322"/>
                  <a:gd name="connsiteX96" fmla="*/ 530588 w 533723"/>
                  <a:gd name="connsiteY96" fmla="*/ 318085 h 415322"/>
                  <a:gd name="connsiteX97" fmla="*/ 530192 w 533723"/>
                  <a:gd name="connsiteY97" fmla="*/ 320320 h 415322"/>
                  <a:gd name="connsiteX98" fmla="*/ 529838 w 533723"/>
                  <a:gd name="connsiteY98" fmla="*/ 321637 h 415322"/>
                  <a:gd name="connsiteX99" fmla="*/ 526883 w 533723"/>
                  <a:gd name="connsiteY99" fmla="*/ 332653 h 415322"/>
                  <a:gd name="connsiteX100" fmla="*/ 524435 w 533723"/>
                  <a:gd name="connsiteY100" fmla="*/ 341781 h 415322"/>
                  <a:gd name="connsiteX101" fmla="*/ 519934 w 533723"/>
                  <a:gd name="connsiteY101" fmla="*/ 353045 h 415322"/>
                  <a:gd name="connsiteX102" fmla="*/ 493458 w 533723"/>
                  <a:gd name="connsiteY102" fmla="*/ 392987 h 415322"/>
                  <a:gd name="connsiteX103" fmla="*/ 421143 w 533723"/>
                  <a:gd name="connsiteY103" fmla="*/ 403455 h 415322"/>
                  <a:gd name="connsiteX104" fmla="*/ 416615 w 533723"/>
                  <a:gd name="connsiteY104" fmla="*/ 401105 h 415322"/>
                  <a:gd name="connsiteX105" fmla="*/ 403771 w 533723"/>
                  <a:gd name="connsiteY105" fmla="*/ 393322 h 415322"/>
                  <a:gd name="connsiteX106" fmla="*/ 381629 w 533723"/>
                  <a:gd name="connsiteY106" fmla="*/ 410745 h 415322"/>
                  <a:gd name="connsiteX107" fmla="*/ 364512 w 533723"/>
                  <a:gd name="connsiteY107" fmla="*/ 414388 h 415322"/>
                  <a:gd name="connsiteX108" fmla="*/ 362260 w 533723"/>
                  <a:gd name="connsiteY108" fmla="*/ 412847 h 415322"/>
                  <a:gd name="connsiteX109" fmla="*/ 359508 w 533723"/>
                  <a:gd name="connsiteY109" fmla="*/ 412530 h 415322"/>
                  <a:gd name="connsiteX110" fmla="*/ 354180 w 533723"/>
                  <a:gd name="connsiteY110" fmla="*/ 409493 h 415322"/>
                  <a:gd name="connsiteX111" fmla="*/ 351263 w 533723"/>
                  <a:gd name="connsiteY111" fmla="*/ 406931 h 415322"/>
                  <a:gd name="connsiteX112" fmla="*/ 351015 w 533723"/>
                  <a:gd name="connsiteY112" fmla="*/ 406713 h 415322"/>
                  <a:gd name="connsiteX113" fmla="*/ 348397 w 533723"/>
                  <a:gd name="connsiteY113" fmla="*/ 403432 h 415322"/>
                  <a:gd name="connsiteX114" fmla="*/ 347445 w 533723"/>
                  <a:gd name="connsiteY114" fmla="*/ 401927 h 415322"/>
                  <a:gd name="connsiteX115" fmla="*/ 345319 w 533723"/>
                  <a:gd name="connsiteY115" fmla="*/ 397536 h 415322"/>
                  <a:gd name="connsiteX116" fmla="*/ 344561 w 533723"/>
                  <a:gd name="connsiteY116" fmla="*/ 395286 h 415322"/>
                  <a:gd name="connsiteX117" fmla="*/ 335650 w 533723"/>
                  <a:gd name="connsiteY117" fmla="*/ 375455 h 415322"/>
                  <a:gd name="connsiteX118" fmla="*/ 322714 w 533723"/>
                  <a:gd name="connsiteY118" fmla="*/ 362234 h 415322"/>
                  <a:gd name="connsiteX119" fmla="*/ 319648 w 533723"/>
                  <a:gd name="connsiteY119" fmla="*/ 358159 h 415322"/>
                  <a:gd name="connsiteX120" fmla="*/ 319434 w 533723"/>
                  <a:gd name="connsiteY120" fmla="*/ 357823 h 415322"/>
                  <a:gd name="connsiteX121" fmla="*/ 314734 w 533723"/>
                  <a:gd name="connsiteY121" fmla="*/ 350455 h 415322"/>
                  <a:gd name="connsiteX122" fmla="*/ 319052 w 533723"/>
                  <a:gd name="connsiteY122" fmla="*/ 316733 h 415322"/>
                  <a:gd name="connsiteX123" fmla="*/ 323333 w 533723"/>
                  <a:gd name="connsiteY123" fmla="*/ 310656 h 415322"/>
                  <a:gd name="connsiteX124" fmla="*/ 320679 w 533723"/>
                  <a:gd name="connsiteY124" fmla="*/ 310837 h 415322"/>
                  <a:gd name="connsiteX125" fmla="*/ 316984 w 533723"/>
                  <a:gd name="connsiteY125" fmla="*/ 309959 h 415322"/>
                  <a:gd name="connsiteX126" fmla="*/ 278469 w 533723"/>
                  <a:gd name="connsiteY126" fmla="*/ 281787 h 415322"/>
                  <a:gd name="connsiteX127" fmla="*/ 279196 w 533723"/>
                  <a:gd name="connsiteY127" fmla="*/ 221148 h 415322"/>
                  <a:gd name="connsiteX128" fmla="*/ 281137 w 533723"/>
                  <a:gd name="connsiteY128" fmla="*/ 212759 h 415322"/>
                  <a:gd name="connsiteX129" fmla="*/ 280817 w 533723"/>
                  <a:gd name="connsiteY129" fmla="*/ 212855 h 415322"/>
                  <a:gd name="connsiteX130" fmla="*/ 280074 w 533723"/>
                  <a:gd name="connsiteY130" fmla="*/ 213019 h 415322"/>
                  <a:gd name="connsiteX131" fmla="*/ 208386 w 533723"/>
                  <a:gd name="connsiteY131" fmla="*/ 230868 h 415322"/>
                  <a:gd name="connsiteX132" fmla="*/ 129358 w 533723"/>
                  <a:gd name="connsiteY132" fmla="*/ 256155 h 415322"/>
                  <a:gd name="connsiteX133" fmla="*/ 76481 w 533723"/>
                  <a:gd name="connsiteY133" fmla="*/ 253856 h 415322"/>
                  <a:gd name="connsiteX134" fmla="*/ 56365 w 533723"/>
                  <a:gd name="connsiteY134" fmla="*/ 204718 h 415322"/>
                  <a:gd name="connsiteX135" fmla="*/ 6361 w 533723"/>
                  <a:gd name="connsiteY135" fmla="*/ 145234 h 415322"/>
                  <a:gd name="connsiteX136" fmla="*/ 4924 w 533723"/>
                  <a:gd name="connsiteY136" fmla="*/ 90923 h 415322"/>
                  <a:gd name="connsiteX137" fmla="*/ 26190 w 533723"/>
                  <a:gd name="connsiteY137" fmla="*/ 62762 h 415322"/>
                  <a:gd name="connsiteX138" fmla="*/ 51192 w 533723"/>
                  <a:gd name="connsiteY138" fmla="*/ 63624 h 415322"/>
                  <a:gd name="connsiteX139" fmla="*/ 92574 w 533723"/>
                  <a:gd name="connsiteY139" fmla="*/ 72245 h 415322"/>
                  <a:gd name="connsiteX140" fmla="*/ 148899 w 533723"/>
                  <a:gd name="connsiteY140" fmla="*/ 97533 h 415322"/>
                  <a:gd name="connsiteX141" fmla="*/ 100620 w 533723"/>
                  <a:gd name="connsiteY141" fmla="*/ 70233 h 415322"/>
                  <a:gd name="connsiteX142" fmla="*/ 68722 w 533723"/>
                  <a:gd name="connsiteY142" fmla="*/ 57877 h 415322"/>
                  <a:gd name="connsiteX143" fmla="*/ 95735 w 533723"/>
                  <a:gd name="connsiteY143" fmla="*/ 33739 h 415322"/>
                  <a:gd name="connsiteX144" fmla="*/ 118438 w 533723"/>
                  <a:gd name="connsiteY144" fmla="*/ 6440 h 415322"/>
                  <a:gd name="connsiteX145" fmla="*/ 135290 w 533723"/>
                  <a:gd name="connsiteY145" fmla="*/ 95 h 4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33723" h="415322">
                    <a:moveTo>
                      <a:pt x="528506" y="291832"/>
                    </a:moveTo>
                    <a:cubicBezTo>
                      <a:pt x="528506" y="291832"/>
                      <a:pt x="516154" y="299584"/>
                      <a:pt x="510121" y="300446"/>
                    </a:cubicBezTo>
                    <a:cubicBezTo>
                      <a:pt x="507105" y="300877"/>
                      <a:pt x="504089" y="302097"/>
                      <a:pt x="500354" y="302312"/>
                    </a:cubicBezTo>
                    <a:lnTo>
                      <a:pt x="489695" y="299159"/>
                    </a:lnTo>
                    <a:lnTo>
                      <a:pt x="490953" y="302242"/>
                    </a:lnTo>
                    <a:cubicBezTo>
                      <a:pt x="490911" y="302346"/>
                      <a:pt x="490868" y="302450"/>
                      <a:pt x="490826" y="302554"/>
                    </a:cubicBezTo>
                    <a:lnTo>
                      <a:pt x="497481" y="306188"/>
                    </a:lnTo>
                    <a:cubicBezTo>
                      <a:pt x="502940" y="306475"/>
                      <a:pt x="505812" y="305901"/>
                      <a:pt x="505812" y="305901"/>
                    </a:cubicBezTo>
                    <a:cubicBezTo>
                      <a:pt x="517015" y="304465"/>
                      <a:pt x="521899" y="299010"/>
                      <a:pt x="523335" y="297575"/>
                    </a:cubicBezTo>
                    <a:cubicBezTo>
                      <a:pt x="525059" y="296426"/>
                      <a:pt x="528506" y="291832"/>
                      <a:pt x="528506" y="291832"/>
                    </a:cubicBezTo>
                    <a:close/>
                    <a:moveTo>
                      <a:pt x="459095" y="214354"/>
                    </a:moveTo>
                    <a:lnTo>
                      <a:pt x="470185" y="232917"/>
                    </a:lnTo>
                    <a:lnTo>
                      <a:pt x="469083" y="236710"/>
                    </a:lnTo>
                    <a:lnTo>
                      <a:pt x="465107" y="228628"/>
                    </a:lnTo>
                    <a:cubicBezTo>
                      <a:pt x="464316" y="226985"/>
                      <a:pt x="463551" y="225384"/>
                      <a:pt x="462850" y="223907"/>
                    </a:cubicBezTo>
                    <a:lnTo>
                      <a:pt x="461361" y="220754"/>
                    </a:lnTo>
                    <a:lnTo>
                      <a:pt x="459095" y="214354"/>
                    </a:lnTo>
                    <a:close/>
                    <a:moveTo>
                      <a:pt x="458921" y="213862"/>
                    </a:moveTo>
                    <a:lnTo>
                      <a:pt x="459095" y="214354"/>
                    </a:lnTo>
                    <a:lnTo>
                      <a:pt x="458953" y="214116"/>
                    </a:lnTo>
                    <a:cubicBezTo>
                      <a:pt x="458942" y="214031"/>
                      <a:pt x="458932" y="213947"/>
                      <a:pt x="458921" y="213862"/>
                    </a:cubicBezTo>
                    <a:close/>
                    <a:moveTo>
                      <a:pt x="231642" y="117869"/>
                    </a:moveTo>
                    <a:lnTo>
                      <a:pt x="245739" y="119960"/>
                    </a:lnTo>
                    <a:lnTo>
                      <a:pt x="247479" y="117948"/>
                    </a:lnTo>
                    <a:lnTo>
                      <a:pt x="241439" y="117896"/>
                    </a:lnTo>
                    <a:lnTo>
                      <a:pt x="231642" y="117869"/>
                    </a:lnTo>
                    <a:close/>
                    <a:moveTo>
                      <a:pt x="393966" y="59548"/>
                    </a:moveTo>
                    <a:lnTo>
                      <a:pt x="394760" y="61641"/>
                    </a:lnTo>
                    <a:lnTo>
                      <a:pt x="396543" y="61922"/>
                    </a:lnTo>
                    <a:lnTo>
                      <a:pt x="393966" y="59548"/>
                    </a:lnTo>
                    <a:close/>
                    <a:moveTo>
                      <a:pt x="135290" y="95"/>
                    </a:moveTo>
                    <a:cubicBezTo>
                      <a:pt x="137297" y="-44"/>
                      <a:pt x="139488" y="-26"/>
                      <a:pt x="142002" y="118"/>
                    </a:cubicBezTo>
                    <a:cubicBezTo>
                      <a:pt x="151773" y="692"/>
                      <a:pt x="171890" y="5290"/>
                      <a:pt x="184247" y="9888"/>
                    </a:cubicBezTo>
                    <a:cubicBezTo>
                      <a:pt x="196604" y="14198"/>
                      <a:pt x="225916" y="24831"/>
                      <a:pt x="237411" y="31727"/>
                    </a:cubicBezTo>
                    <a:cubicBezTo>
                      <a:pt x="250056" y="38911"/>
                      <a:pt x="261551" y="43509"/>
                      <a:pt x="273908" y="50693"/>
                    </a:cubicBezTo>
                    <a:cubicBezTo>
                      <a:pt x="280230" y="54285"/>
                      <a:pt x="290576" y="59601"/>
                      <a:pt x="300993" y="65241"/>
                    </a:cubicBezTo>
                    <a:lnTo>
                      <a:pt x="313770" y="72415"/>
                    </a:lnTo>
                    <a:lnTo>
                      <a:pt x="317458" y="74704"/>
                    </a:lnTo>
                    <a:lnTo>
                      <a:pt x="321989" y="77518"/>
                    </a:lnTo>
                    <a:lnTo>
                      <a:pt x="328509" y="81728"/>
                    </a:lnTo>
                    <a:lnTo>
                      <a:pt x="329950" y="82770"/>
                    </a:lnTo>
                    <a:lnTo>
                      <a:pt x="322786" y="67357"/>
                    </a:lnTo>
                    <a:lnTo>
                      <a:pt x="318179" y="66024"/>
                    </a:lnTo>
                    <a:lnTo>
                      <a:pt x="315145" y="65146"/>
                    </a:lnTo>
                    <a:lnTo>
                      <a:pt x="315984" y="64282"/>
                    </a:lnTo>
                    <a:cubicBezTo>
                      <a:pt x="319030" y="61163"/>
                      <a:pt x="328778" y="51321"/>
                      <a:pt x="336115" y="45493"/>
                    </a:cubicBezTo>
                    <a:lnTo>
                      <a:pt x="339135" y="43303"/>
                    </a:lnTo>
                    <a:lnTo>
                      <a:pt x="344556" y="40552"/>
                    </a:lnTo>
                    <a:lnTo>
                      <a:pt x="348957" y="38760"/>
                    </a:lnTo>
                    <a:cubicBezTo>
                      <a:pt x="353552" y="36748"/>
                      <a:pt x="359726" y="34376"/>
                      <a:pt x="368054" y="34807"/>
                    </a:cubicBezTo>
                    <a:cubicBezTo>
                      <a:pt x="372219" y="35023"/>
                      <a:pt x="376921" y="35939"/>
                      <a:pt x="382234" y="37952"/>
                    </a:cubicBezTo>
                    <a:cubicBezTo>
                      <a:pt x="403198" y="46001"/>
                      <a:pt x="390275" y="35652"/>
                      <a:pt x="390275" y="35652"/>
                    </a:cubicBezTo>
                    <a:cubicBezTo>
                      <a:pt x="390275" y="35652"/>
                      <a:pt x="390477" y="35683"/>
                      <a:pt x="390840" y="35749"/>
                    </a:cubicBezTo>
                    <a:lnTo>
                      <a:pt x="391575" y="35894"/>
                    </a:lnTo>
                    <a:lnTo>
                      <a:pt x="391750" y="35955"/>
                    </a:lnTo>
                    <a:cubicBezTo>
                      <a:pt x="392319" y="36184"/>
                      <a:pt x="392615" y="36327"/>
                      <a:pt x="392615" y="36327"/>
                    </a:cubicBezTo>
                    <a:cubicBezTo>
                      <a:pt x="392615" y="36327"/>
                      <a:pt x="392831" y="36305"/>
                      <a:pt x="393242" y="36306"/>
                    </a:cubicBezTo>
                    <a:lnTo>
                      <a:pt x="393406" y="36317"/>
                    </a:lnTo>
                    <a:lnTo>
                      <a:pt x="397383" y="37341"/>
                    </a:lnTo>
                    <a:cubicBezTo>
                      <a:pt x="401260" y="38527"/>
                      <a:pt x="405783" y="40395"/>
                      <a:pt x="408367" y="43126"/>
                    </a:cubicBezTo>
                    <a:cubicBezTo>
                      <a:pt x="413537" y="48875"/>
                      <a:pt x="463219" y="96019"/>
                      <a:pt x="459773" y="126491"/>
                    </a:cubicBezTo>
                    <a:cubicBezTo>
                      <a:pt x="457762" y="144888"/>
                      <a:pt x="440819" y="179671"/>
                      <a:pt x="441680" y="188008"/>
                    </a:cubicBezTo>
                    <a:cubicBezTo>
                      <a:pt x="441860" y="189266"/>
                      <a:pt x="442165" y="190853"/>
                      <a:pt x="442553" y="192637"/>
                    </a:cubicBezTo>
                    <a:lnTo>
                      <a:pt x="443081" y="194875"/>
                    </a:lnTo>
                    <a:lnTo>
                      <a:pt x="451172" y="201092"/>
                    </a:lnTo>
                    <a:lnTo>
                      <a:pt x="458953" y="214116"/>
                    </a:lnTo>
                    <a:cubicBezTo>
                      <a:pt x="459038" y="214798"/>
                      <a:pt x="459124" y="215479"/>
                      <a:pt x="459209" y="216161"/>
                    </a:cubicBezTo>
                    <a:cubicBezTo>
                      <a:pt x="459209" y="216161"/>
                      <a:pt x="459892" y="217634"/>
                      <a:pt x="460971" y="219929"/>
                    </a:cubicBezTo>
                    <a:lnTo>
                      <a:pt x="461361" y="220754"/>
                    </a:lnTo>
                    <a:lnTo>
                      <a:pt x="470303" y="246015"/>
                    </a:lnTo>
                    <a:lnTo>
                      <a:pt x="469962" y="245448"/>
                    </a:lnTo>
                    <a:lnTo>
                      <a:pt x="468971" y="243799"/>
                    </a:lnTo>
                    <a:cubicBezTo>
                      <a:pt x="468971" y="243799"/>
                      <a:pt x="466400" y="241516"/>
                      <a:pt x="464115" y="240660"/>
                    </a:cubicBezTo>
                    <a:cubicBezTo>
                      <a:pt x="461829" y="239518"/>
                      <a:pt x="457544" y="239804"/>
                      <a:pt x="457544" y="239804"/>
                    </a:cubicBezTo>
                    <a:cubicBezTo>
                      <a:pt x="457544" y="239804"/>
                      <a:pt x="461829" y="241516"/>
                      <a:pt x="463829" y="242086"/>
                    </a:cubicBezTo>
                    <a:cubicBezTo>
                      <a:pt x="465329" y="242300"/>
                      <a:pt x="468435" y="244762"/>
                      <a:pt x="469895" y="245979"/>
                    </a:cubicBezTo>
                    <a:lnTo>
                      <a:pt x="470460" y="246460"/>
                    </a:lnTo>
                    <a:lnTo>
                      <a:pt x="485321" y="288443"/>
                    </a:lnTo>
                    <a:lnTo>
                      <a:pt x="485666" y="289289"/>
                    </a:lnTo>
                    <a:cubicBezTo>
                      <a:pt x="485575" y="288111"/>
                      <a:pt x="485483" y="286932"/>
                      <a:pt x="485392" y="285754"/>
                    </a:cubicBezTo>
                    <a:cubicBezTo>
                      <a:pt x="485398" y="285254"/>
                      <a:pt x="485403" y="284754"/>
                      <a:pt x="485409" y="284254"/>
                    </a:cubicBezTo>
                    <a:cubicBezTo>
                      <a:pt x="485457" y="284381"/>
                      <a:pt x="485504" y="284507"/>
                      <a:pt x="485552" y="284634"/>
                    </a:cubicBezTo>
                    <a:lnTo>
                      <a:pt x="487684" y="290297"/>
                    </a:lnTo>
                    <a:cubicBezTo>
                      <a:pt x="487695" y="290325"/>
                      <a:pt x="487705" y="290353"/>
                      <a:pt x="487716" y="290381"/>
                    </a:cubicBezTo>
                    <a:cubicBezTo>
                      <a:pt x="487714" y="290381"/>
                      <a:pt x="487711" y="290382"/>
                      <a:pt x="487709" y="290382"/>
                    </a:cubicBezTo>
                    <a:lnTo>
                      <a:pt x="486150" y="290474"/>
                    </a:lnTo>
                    <a:lnTo>
                      <a:pt x="488742" y="296824"/>
                    </a:lnTo>
                    <a:lnTo>
                      <a:pt x="494320" y="295556"/>
                    </a:lnTo>
                    <a:cubicBezTo>
                      <a:pt x="500644" y="296131"/>
                      <a:pt x="506393" y="294406"/>
                      <a:pt x="512429" y="291820"/>
                    </a:cubicBezTo>
                    <a:cubicBezTo>
                      <a:pt x="515304" y="290526"/>
                      <a:pt x="517172" y="288730"/>
                      <a:pt x="519005" y="287509"/>
                    </a:cubicBezTo>
                    <a:lnTo>
                      <a:pt x="520508" y="286839"/>
                    </a:lnTo>
                    <a:lnTo>
                      <a:pt x="522424" y="286502"/>
                    </a:lnTo>
                    <a:lnTo>
                      <a:pt x="523091" y="286385"/>
                    </a:lnTo>
                    <a:lnTo>
                      <a:pt x="525364" y="286646"/>
                    </a:lnTo>
                    <a:cubicBezTo>
                      <a:pt x="530826" y="288371"/>
                      <a:pt x="531976" y="291532"/>
                      <a:pt x="533413" y="297855"/>
                    </a:cubicBezTo>
                    <a:cubicBezTo>
                      <a:pt x="534850" y="304178"/>
                      <a:pt x="530826" y="316249"/>
                      <a:pt x="530826" y="316249"/>
                    </a:cubicBezTo>
                    <a:cubicBezTo>
                      <a:pt x="530826" y="316249"/>
                      <a:pt x="530763" y="316891"/>
                      <a:pt x="530588" y="318085"/>
                    </a:cubicBezTo>
                    <a:lnTo>
                      <a:pt x="530192" y="320320"/>
                    </a:lnTo>
                    <a:lnTo>
                      <a:pt x="529838" y="321637"/>
                    </a:lnTo>
                    <a:lnTo>
                      <a:pt x="526883" y="332653"/>
                    </a:lnTo>
                    <a:lnTo>
                      <a:pt x="524435" y="341781"/>
                    </a:lnTo>
                    <a:lnTo>
                      <a:pt x="519934" y="353045"/>
                    </a:lnTo>
                    <a:cubicBezTo>
                      <a:pt x="514343" y="365490"/>
                      <a:pt x="505962" y="379622"/>
                      <a:pt x="493458" y="392987"/>
                    </a:cubicBezTo>
                    <a:cubicBezTo>
                      <a:pt x="468666" y="419716"/>
                      <a:pt x="437567" y="410878"/>
                      <a:pt x="421143" y="403455"/>
                    </a:cubicBezTo>
                    <a:lnTo>
                      <a:pt x="416615" y="401105"/>
                    </a:lnTo>
                    <a:cubicBezTo>
                      <a:pt x="416179" y="402174"/>
                      <a:pt x="404207" y="392253"/>
                      <a:pt x="403771" y="393322"/>
                    </a:cubicBezTo>
                    <a:cubicBezTo>
                      <a:pt x="395387" y="401831"/>
                      <a:pt x="388172" y="407234"/>
                      <a:pt x="381629" y="410745"/>
                    </a:cubicBezTo>
                    <a:cubicBezTo>
                      <a:pt x="375086" y="414256"/>
                      <a:pt x="370055" y="416767"/>
                      <a:pt x="364512" y="414388"/>
                    </a:cubicBezTo>
                    <a:lnTo>
                      <a:pt x="362260" y="412847"/>
                    </a:lnTo>
                    <a:lnTo>
                      <a:pt x="359508" y="412530"/>
                    </a:lnTo>
                    <a:lnTo>
                      <a:pt x="354180" y="409493"/>
                    </a:lnTo>
                    <a:lnTo>
                      <a:pt x="351263" y="406931"/>
                    </a:lnTo>
                    <a:lnTo>
                      <a:pt x="351015" y="406713"/>
                    </a:lnTo>
                    <a:lnTo>
                      <a:pt x="348397" y="403432"/>
                    </a:lnTo>
                    <a:lnTo>
                      <a:pt x="347445" y="401927"/>
                    </a:lnTo>
                    <a:lnTo>
                      <a:pt x="345319" y="397536"/>
                    </a:lnTo>
                    <a:cubicBezTo>
                      <a:pt x="344794" y="396166"/>
                      <a:pt x="344561" y="395286"/>
                      <a:pt x="344561" y="395286"/>
                    </a:cubicBezTo>
                    <a:lnTo>
                      <a:pt x="335650" y="375455"/>
                    </a:lnTo>
                    <a:cubicBezTo>
                      <a:pt x="335650" y="375455"/>
                      <a:pt x="327314" y="367408"/>
                      <a:pt x="322714" y="362234"/>
                    </a:cubicBezTo>
                    <a:lnTo>
                      <a:pt x="319648" y="358159"/>
                    </a:lnTo>
                    <a:lnTo>
                      <a:pt x="319434" y="357823"/>
                    </a:lnTo>
                    <a:lnTo>
                      <a:pt x="314734" y="350455"/>
                    </a:lnTo>
                    <a:cubicBezTo>
                      <a:pt x="314734" y="350455"/>
                      <a:pt x="310334" y="332411"/>
                      <a:pt x="319052" y="316733"/>
                    </a:cubicBezTo>
                    <a:lnTo>
                      <a:pt x="323333" y="310656"/>
                    </a:lnTo>
                    <a:lnTo>
                      <a:pt x="320679" y="310837"/>
                    </a:lnTo>
                    <a:cubicBezTo>
                      <a:pt x="319405" y="310763"/>
                      <a:pt x="318170" y="310498"/>
                      <a:pt x="316984" y="309959"/>
                    </a:cubicBezTo>
                    <a:cubicBezTo>
                      <a:pt x="307787" y="305647"/>
                      <a:pt x="281056" y="298172"/>
                      <a:pt x="278469" y="281787"/>
                    </a:cubicBezTo>
                    <a:cubicBezTo>
                      <a:pt x="276529" y="269497"/>
                      <a:pt x="275235" y="243140"/>
                      <a:pt x="279196" y="221148"/>
                    </a:cubicBezTo>
                    <a:lnTo>
                      <a:pt x="281137" y="212759"/>
                    </a:lnTo>
                    <a:lnTo>
                      <a:pt x="280817" y="212855"/>
                    </a:lnTo>
                    <a:lnTo>
                      <a:pt x="280074" y="213019"/>
                    </a:lnTo>
                    <a:cubicBezTo>
                      <a:pt x="269049" y="215467"/>
                      <a:pt x="223976" y="225587"/>
                      <a:pt x="208386" y="230868"/>
                    </a:cubicBezTo>
                    <a:cubicBezTo>
                      <a:pt x="190569" y="236902"/>
                      <a:pt x="148612" y="256155"/>
                      <a:pt x="129358" y="256155"/>
                    </a:cubicBezTo>
                    <a:cubicBezTo>
                      <a:pt x="102632" y="255868"/>
                      <a:pt x="76481" y="253856"/>
                      <a:pt x="76481" y="253856"/>
                    </a:cubicBezTo>
                    <a:cubicBezTo>
                      <a:pt x="76481" y="253856"/>
                      <a:pt x="66710" y="217649"/>
                      <a:pt x="56365" y="204718"/>
                    </a:cubicBezTo>
                    <a:cubicBezTo>
                      <a:pt x="45732" y="191787"/>
                      <a:pt x="12971" y="165062"/>
                      <a:pt x="6361" y="145234"/>
                    </a:cubicBezTo>
                    <a:cubicBezTo>
                      <a:pt x="39" y="125119"/>
                      <a:pt x="-3409" y="109027"/>
                      <a:pt x="4924" y="90923"/>
                    </a:cubicBezTo>
                    <a:cubicBezTo>
                      <a:pt x="12971" y="73107"/>
                      <a:pt x="26190" y="62762"/>
                      <a:pt x="26190" y="62762"/>
                    </a:cubicBezTo>
                    <a:lnTo>
                      <a:pt x="51192" y="63624"/>
                    </a:lnTo>
                    <a:cubicBezTo>
                      <a:pt x="62399" y="65061"/>
                      <a:pt x="80217" y="68222"/>
                      <a:pt x="92574" y="72245"/>
                    </a:cubicBezTo>
                    <a:cubicBezTo>
                      <a:pt x="104644" y="76268"/>
                      <a:pt x="148899" y="97533"/>
                      <a:pt x="148899" y="97533"/>
                    </a:cubicBezTo>
                    <a:lnTo>
                      <a:pt x="100620" y="70233"/>
                    </a:lnTo>
                    <a:lnTo>
                      <a:pt x="68722" y="57877"/>
                    </a:lnTo>
                    <a:cubicBezTo>
                      <a:pt x="68722" y="57877"/>
                      <a:pt x="82803" y="49544"/>
                      <a:pt x="95735" y="33739"/>
                    </a:cubicBezTo>
                    <a:cubicBezTo>
                      <a:pt x="108667" y="17934"/>
                      <a:pt x="109816" y="12187"/>
                      <a:pt x="118438" y="6440"/>
                    </a:cubicBezTo>
                    <a:cubicBezTo>
                      <a:pt x="124904" y="2345"/>
                      <a:pt x="129268" y="513"/>
                      <a:pt x="135290" y="95"/>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b="1" dirty="0" smtClean="0">
                  <a:solidFill>
                    <a:schemeClr val="bg1"/>
                  </a:solidFill>
                  <a:ea typeface="Segoe UI" pitchFamily="34" charset="0"/>
                  <a:cs typeface="Segoe UI" pitchFamily="34" charset="0"/>
                </a:endParaRPr>
              </a:p>
            </p:txBody>
          </p:sp>
          <p:sp>
            <p:nvSpPr>
              <p:cNvPr id="23" name="Freeform 22"/>
              <p:cNvSpPr>
                <a:spLocks/>
              </p:cNvSpPr>
              <p:nvPr/>
            </p:nvSpPr>
            <p:spPr bwMode="auto">
              <a:xfrm>
                <a:off x="1203881" y="3576757"/>
                <a:ext cx="290830" cy="297796"/>
              </a:xfrm>
              <a:custGeom>
                <a:avLst/>
                <a:gdLst>
                  <a:gd name="connsiteX0" fmla="*/ 1222186 w 2129049"/>
                  <a:gd name="connsiteY0" fmla="*/ 1839320 h 2180047"/>
                  <a:gd name="connsiteX1" fmla="*/ 1208400 w 2129049"/>
                  <a:gd name="connsiteY1" fmla="*/ 1841119 h 2180047"/>
                  <a:gd name="connsiteX2" fmla="*/ 1186099 w 2129049"/>
                  <a:gd name="connsiteY2" fmla="*/ 1843640 h 2180047"/>
                  <a:gd name="connsiteX3" fmla="*/ 1188379 w 2129049"/>
                  <a:gd name="connsiteY3" fmla="*/ 1844841 h 2180047"/>
                  <a:gd name="connsiteX4" fmla="*/ 1243194 w 2129049"/>
                  <a:gd name="connsiteY4" fmla="*/ 1939957 h 2180047"/>
                  <a:gd name="connsiteX5" fmla="*/ 1223702 w 2129049"/>
                  <a:gd name="connsiteY5" fmla="*/ 1853174 h 2180047"/>
                  <a:gd name="connsiteX6" fmla="*/ 1222569 w 2129049"/>
                  <a:gd name="connsiteY6" fmla="*/ 1839342 h 2180047"/>
                  <a:gd name="connsiteX7" fmla="*/ 441891 w 2129049"/>
                  <a:gd name="connsiteY7" fmla="*/ 1746105 h 2180047"/>
                  <a:gd name="connsiteX8" fmla="*/ 450977 w 2129049"/>
                  <a:gd name="connsiteY8" fmla="*/ 1757606 h 2180047"/>
                  <a:gd name="connsiteX9" fmla="*/ 707370 w 2129049"/>
                  <a:gd name="connsiteY9" fmla="*/ 1976776 h 2180047"/>
                  <a:gd name="connsiteX10" fmla="*/ 766453 w 2129049"/>
                  <a:gd name="connsiteY10" fmla="*/ 2010648 h 2180047"/>
                  <a:gd name="connsiteX11" fmla="*/ 831225 w 2129049"/>
                  <a:gd name="connsiteY11" fmla="*/ 2015356 h 2180047"/>
                  <a:gd name="connsiteX12" fmla="*/ 999836 w 2129049"/>
                  <a:gd name="connsiteY12" fmla="*/ 2014732 h 2180047"/>
                  <a:gd name="connsiteX13" fmla="*/ 1033552 w 2129049"/>
                  <a:gd name="connsiteY13" fmla="*/ 2011934 h 2180047"/>
                  <a:gd name="connsiteX14" fmla="*/ 1030508 w 2129049"/>
                  <a:gd name="connsiteY14" fmla="*/ 1991231 h 2180047"/>
                  <a:gd name="connsiteX15" fmla="*/ 1069280 w 2129049"/>
                  <a:gd name="connsiteY15" fmla="*/ 1869985 h 2180047"/>
                  <a:gd name="connsiteX16" fmla="*/ 1086998 w 2129049"/>
                  <a:gd name="connsiteY16" fmla="*/ 1852207 h 2180047"/>
                  <a:gd name="connsiteX17" fmla="*/ 1040249 w 2129049"/>
                  <a:gd name="connsiteY17" fmla="*/ 1855089 h 2180047"/>
                  <a:gd name="connsiteX18" fmla="*/ 700561 w 2129049"/>
                  <a:gd name="connsiteY18" fmla="*/ 1833012 h 2180047"/>
                  <a:gd name="connsiteX19" fmla="*/ 442094 w 2129049"/>
                  <a:gd name="connsiteY19" fmla="*/ 1746192 h 2180047"/>
                  <a:gd name="connsiteX20" fmla="*/ 1059954 w 2129049"/>
                  <a:gd name="connsiteY20" fmla="*/ 1504433 h 2180047"/>
                  <a:gd name="connsiteX21" fmla="*/ 1137935 w 2129049"/>
                  <a:gd name="connsiteY21" fmla="*/ 1553560 h 2180047"/>
                  <a:gd name="connsiteX22" fmla="*/ 1232714 w 2129049"/>
                  <a:gd name="connsiteY22" fmla="*/ 1597039 h 2180047"/>
                  <a:gd name="connsiteX23" fmla="*/ 1498003 w 2129049"/>
                  <a:gd name="connsiteY23" fmla="*/ 1620193 h 2180047"/>
                  <a:gd name="connsiteX24" fmla="*/ 1417995 w 2129049"/>
                  <a:gd name="connsiteY24" fmla="*/ 1660186 h 2180047"/>
                  <a:gd name="connsiteX25" fmla="*/ 1260085 w 2129049"/>
                  <a:gd name="connsiteY25" fmla="*/ 1660186 h 2180047"/>
                  <a:gd name="connsiteX26" fmla="*/ 1110597 w 2129049"/>
                  <a:gd name="connsiteY26" fmla="*/ 1640189 h 2180047"/>
                  <a:gd name="connsiteX27" fmla="*/ 1099046 w 2129049"/>
                  <a:gd name="connsiteY27" fmla="*/ 1638682 h 2180047"/>
                  <a:gd name="connsiteX28" fmla="*/ 251840 w 2129049"/>
                  <a:gd name="connsiteY28" fmla="*/ 316333 h 2180047"/>
                  <a:gd name="connsiteX29" fmla="*/ 246796 w 2129049"/>
                  <a:gd name="connsiteY29" fmla="*/ 329846 h 2180047"/>
                  <a:gd name="connsiteX30" fmla="*/ 161902 w 2129049"/>
                  <a:gd name="connsiteY30" fmla="*/ 686152 h 2180047"/>
                  <a:gd name="connsiteX31" fmla="*/ 163319 w 2129049"/>
                  <a:gd name="connsiteY31" fmla="*/ 765157 h 2180047"/>
                  <a:gd name="connsiteX32" fmla="*/ 168120 w 2129049"/>
                  <a:gd name="connsiteY32" fmla="*/ 772124 h 2180047"/>
                  <a:gd name="connsiteX33" fmla="*/ 462568 w 2129049"/>
                  <a:gd name="connsiteY33" fmla="*/ 1054574 h 2180047"/>
                  <a:gd name="connsiteX34" fmla="*/ 1083519 w 2129049"/>
                  <a:gd name="connsiteY34" fmla="*/ 1296666 h 2180047"/>
                  <a:gd name="connsiteX35" fmla="*/ 1112988 w 2129049"/>
                  <a:gd name="connsiteY35" fmla="*/ 1212460 h 2180047"/>
                  <a:gd name="connsiteX36" fmla="*/ 635171 w 2129049"/>
                  <a:gd name="connsiteY36" fmla="*/ 913528 h 2180047"/>
                  <a:gd name="connsiteX37" fmla="*/ 256327 w 2129049"/>
                  <a:gd name="connsiteY37" fmla="*/ 344726 h 2180047"/>
                  <a:gd name="connsiteX38" fmla="*/ 203697 w 2129049"/>
                  <a:gd name="connsiteY38" fmla="*/ 216555 h 2180047"/>
                  <a:gd name="connsiteX39" fmla="*/ 195507 w 2129049"/>
                  <a:gd name="connsiteY39" fmla="*/ 224152 h 2180047"/>
                  <a:gd name="connsiteX40" fmla="*/ 153435 w 2129049"/>
                  <a:gd name="connsiteY40" fmla="*/ 280530 h 2180047"/>
                  <a:gd name="connsiteX41" fmla="*/ 119142 w 2129049"/>
                  <a:gd name="connsiteY41" fmla="*/ 338248 h 2180047"/>
                  <a:gd name="connsiteX42" fmla="*/ 162420 w 2129049"/>
                  <a:gd name="connsiteY42" fmla="*/ 270250 h 2180047"/>
                  <a:gd name="connsiteX43" fmla="*/ 200473 w 2129049"/>
                  <a:gd name="connsiteY43" fmla="*/ 220227 h 2180047"/>
                  <a:gd name="connsiteX44" fmla="*/ 545326 w 2129049"/>
                  <a:gd name="connsiteY44" fmla="*/ 37476 h 2180047"/>
                  <a:gd name="connsiteX45" fmla="*/ 541800 w 2129049"/>
                  <a:gd name="connsiteY45" fmla="*/ 40991 h 2180047"/>
                  <a:gd name="connsiteX46" fmla="*/ 536701 w 2129049"/>
                  <a:gd name="connsiteY46" fmla="*/ 46149 h 2180047"/>
                  <a:gd name="connsiteX47" fmla="*/ 940947 w 2129049"/>
                  <a:gd name="connsiteY47" fmla="*/ 939893 h 2180047"/>
                  <a:gd name="connsiteX48" fmla="*/ 978333 w 2129049"/>
                  <a:gd name="connsiteY48" fmla="*/ 993267 h 2180047"/>
                  <a:gd name="connsiteX49" fmla="*/ 1095859 w 2129049"/>
                  <a:gd name="connsiteY49" fmla="*/ 1039243 h 2180047"/>
                  <a:gd name="connsiteX50" fmla="*/ 1131484 w 2129049"/>
                  <a:gd name="connsiteY50" fmla="*/ 1124187 h 2180047"/>
                  <a:gd name="connsiteX51" fmla="*/ 1146506 w 2129049"/>
                  <a:gd name="connsiteY51" fmla="*/ 1133109 h 2180047"/>
                  <a:gd name="connsiteX52" fmla="*/ 1148541 w 2129049"/>
                  <a:gd name="connsiteY52" fmla="*/ 1133748 h 2180047"/>
                  <a:gd name="connsiteX53" fmla="*/ 1141842 w 2129049"/>
                  <a:gd name="connsiteY53" fmla="*/ 1144915 h 2180047"/>
                  <a:gd name="connsiteX54" fmla="*/ 1141505 w 2129049"/>
                  <a:gd name="connsiteY54" fmla="*/ 1145660 h 2180047"/>
                  <a:gd name="connsiteX55" fmla="*/ 1187973 w 2129049"/>
                  <a:gd name="connsiteY55" fmla="*/ 1232630 h 2180047"/>
                  <a:gd name="connsiteX56" fmla="*/ 1289562 w 2129049"/>
                  <a:gd name="connsiteY56" fmla="*/ 1373921 h 2180047"/>
                  <a:gd name="connsiteX57" fmla="*/ 1531690 w 2129049"/>
                  <a:gd name="connsiteY57" fmla="*/ 1481270 h 2180047"/>
                  <a:gd name="connsiteX58" fmla="*/ 1426417 w 2129049"/>
                  <a:gd name="connsiteY58" fmla="*/ 1496004 h 2180047"/>
                  <a:gd name="connsiteX59" fmla="*/ 1194816 w 2129049"/>
                  <a:gd name="connsiteY59" fmla="*/ 1399179 h 2180047"/>
                  <a:gd name="connsiteX60" fmla="*/ 1145436 w 2129049"/>
                  <a:gd name="connsiteY60" fmla="*/ 1340670 h 2180047"/>
                  <a:gd name="connsiteX61" fmla="*/ 1091189 w 2129049"/>
                  <a:gd name="connsiteY61" fmla="*/ 1275923 h 2180047"/>
                  <a:gd name="connsiteX62" fmla="*/ 1064249 w 2129049"/>
                  <a:gd name="connsiteY62" fmla="*/ 1369079 h 2180047"/>
                  <a:gd name="connsiteX63" fmla="*/ 1046007 w 2129049"/>
                  <a:gd name="connsiteY63" fmla="*/ 1483657 h 2180047"/>
                  <a:gd name="connsiteX64" fmla="*/ 1046013 w 2129049"/>
                  <a:gd name="connsiteY64" fmla="*/ 1495461 h 2180047"/>
                  <a:gd name="connsiteX65" fmla="*/ 1012870 w 2129049"/>
                  <a:gd name="connsiteY65" fmla="*/ 1487283 h 2180047"/>
                  <a:gd name="connsiteX66" fmla="*/ 561761 w 2129049"/>
                  <a:gd name="connsiteY66" fmla="*/ 1355377 h 2180047"/>
                  <a:gd name="connsiteX67" fmla="*/ 245802 w 2129049"/>
                  <a:gd name="connsiteY67" fmla="*/ 1165644 h 2180047"/>
                  <a:gd name="connsiteX68" fmla="*/ 203985 w 2129049"/>
                  <a:gd name="connsiteY68" fmla="*/ 1132152 h 2180047"/>
                  <a:gd name="connsiteX69" fmla="*/ 234345 w 2129049"/>
                  <a:gd name="connsiteY69" fmla="*/ 1297625 h 2180047"/>
                  <a:gd name="connsiteX70" fmla="*/ 260418 w 2129049"/>
                  <a:gd name="connsiteY70" fmla="*/ 1401636 h 2180047"/>
                  <a:gd name="connsiteX71" fmla="*/ 276086 w 2129049"/>
                  <a:gd name="connsiteY71" fmla="*/ 1451374 h 2180047"/>
                  <a:gd name="connsiteX72" fmla="*/ 305709 w 2129049"/>
                  <a:gd name="connsiteY72" fmla="*/ 1466895 h 2180047"/>
                  <a:gd name="connsiteX73" fmla="*/ 561761 w 2129049"/>
                  <a:gd name="connsiteY73" fmla="*/ 1572001 h 2180047"/>
                  <a:gd name="connsiteX74" fmla="*/ 1106575 w 2129049"/>
                  <a:gd name="connsiteY74" fmla="*/ 1664539 h 2180047"/>
                  <a:gd name="connsiteX75" fmla="*/ 1106413 w 2129049"/>
                  <a:gd name="connsiteY75" fmla="*/ 1663981 h 2180047"/>
                  <a:gd name="connsiteX76" fmla="*/ 1109394 w 2129049"/>
                  <a:gd name="connsiteY76" fmla="*/ 1669032 h 2180047"/>
                  <a:gd name="connsiteX77" fmla="*/ 1145872 w 2129049"/>
                  <a:gd name="connsiteY77" fmla="*/ 1724864 h 2180047"/>
                  <a:gd name="connsiteX78" fmla="*/ 1151390 w 2129049"/>
                  <a:gd name="connsiteY78" fmla="*/ 1728726 h 2180047"/>
                  <a:gd name="connsiteX79" fmla="*/ 1244657 w 2129049"/>
                  <a:gd name="connsiteY79" fmla="*/ 1793994 h 2180047"/>
                  <a:gd name="connsiteX80" fmla="*/ 1255282 w 2129049"/>
                  <a:gd name="connsiteY80" fmla="*/ 1801430 h 2180047"/>
                  <a:gd name="connsiteX81" fmla="*/ 1259765 w 2129049"/>
                  <a:gd name="connsiteY81" fmla="*/ 1803273 h 2180047"/>
                  <a:gd name="connsiteX82" fmla="*/ 1262425 w 2129049"/>
                  <a:gd name="connsiteY82" fmla="*/ 1805592 h 2180047"/>
                  <a:gd name="connsiteX83" fmla="*/ 1274330 w 2129049"/>
                  <a:gd name="connsiteY83" fmla="*/ 1811179 h 2180047"/>
                  <a:gd name="connsiteX84" fmla="*/ 1470632 w 2129049"/>
                  <a:gd name="connsiteY84" fmla="*/ 1851731 h 2180047"/>
                  <a:gd name="connsiteX85" fmla="*/ 1337987 w 2129049"/>
                  <a:gd name="connsiteY85" fmla="*/ 1879094 h 2180047"/>
                  <a:gd name="connsiteX86" fmla="*/ 1331095 w 2129049"/>
                  <a:gd name="connsiteY86" fmla="*/ 1878426 h 2180047"/>
                  <a:gd name="connsiteX87" fmla="*/ 1337882 w 2129049"/>
                  <a:gd name="connsiteY87" fmla="*/ 1887387 h 2180047"/>
                  <a:gd name="connsiteX88" fmla="*/ 2129049 w 2129049"/>
                  <a:gd name="connsiteY88" fmla="*/ 1929443 h 2180047"/>
                  <a:gd name="connsiteX89" fmla="*/ 1413632 w 2129049"/>
                  <a:gd name="connsiteY89" fmla="*/ 2169166 h 2180047"/>
                  <a:gd name="connsiteX90" fmla="*/ 1301496 w 2129049"/>
                  <a:gd name="connsiteY90" fmla="*/ 2177335 h 2180047"/>
                  <a:gd name="connsiteX91" fmla="*/ 1281595 w 2129049"/>
                  <a:gd name="connsiteY91" fmla="*/ 2175656 h 2180047"/>
                  <a:gd name="connsiteX92" fmla="*/ 1272759 w 2129049"/>
                  <a:gd name="connsiteY92" fmla="*/ 2177928 h 2180047"/>
                  <a:gd name="connsiteX93" fmla="*/ 1063402 w 2129049"/>
                  <a:gd name="connsiteY93" fmla="*/ 2155016 h 2180047"/>
                  <a:gd name="connsiteX94" fmla="*/ 994039 w 2129049"/>
                  <a:gd name="connsiteY94" fmla="*/ 2133739 h 2180047"/>
                  <a:gd name="connsiteX95" fmla="*/ 954380 w 2129049"/>
                  <a:gd name="connsiteY95" fmla="*/ 2125140 h 2180047"/>
                  <a:gd name="connsiteX96" fmla="*/ 485181 w 2129049"/>
                  <a:gd name="connsiteY96" fmla="*/ 1869194 h 2180047"/>
                  <a:gd name="connsiteX97" fmla="*/ 424111 w 2129049"/>
                  <a:gd name="connsiteY97" fmla="*/ 1817746 h 2180047"/>
                  <a:gd name="connsiteX98" fmla="*/ 407264 w 2129049"/>
                  <a:gd name="connsiteY98" fmla="*/ 1804650 h 2180047"/>
                  <a:gd name="connsiteX99" fmla="*/ 400242 w 2129049"/>
                  <a:gd name="connsiteY99" fmla="*/ 1797638 h 2180047"/>
                  <a:gd name="connsiteX100" fmla="*/ 373060 w 2129049"/>
                  <a:gd name="connsiteY100" fmla="*/ 1774739 h 2180047"/>
                  <a:gd name="connsiteX101" fmla="*/ 178723 w 2129049"/>
                  <a:gd name="connsiteY101" fmla="*/ 1546546 h 2180047"/>
                  <a:gd name="connsiteX102" fmla="*/ 0 w 2129049"/>
                  <a:gd name="connsiteY102" fmla="*/ 780817 h 2180047"/>
                  <a:gd name="connsiteX103" fmla="*/ 75177 w 2129049"/>
                  <a:gd name="connsiteY103" fmla="*/ 424975 h 2180047"/>
                  <a:gd name="connsiteX104" fmla="*/ 118668 w 2129049"/>
                  <a:gd name="connsiteY104" fmla="*/ 339046 h 2180047"/>
                  <a:gd name="connsiteX105" fmla="*/ 116953 w 2129049"/>
                  <a:gd name="connsiteY105" fmla="*/ 341932 h 2180047"/>
                  <a:gd name="connsiteX106" fmla="*/ 93993 w 2129049"/>
                  <a:gd name="connsiteY106" fmla="*/ 385485 h 2180047"/>
                  <a:gd name="connsiteX107" fmla="*/ 93509 w 2129049"/>
                  <a:gd name="connsiteY107" fmla="*/ 386464 h 2180047"/>
                  <a:gd name="connsiteX108" fmla="*/ 95671 w 2129049"/>
                  <a:gd name="connsiteY108" fmla="*/ 380966 h 2180047"/>
                  <a:gd name="connsiteX109" fmla="*/ 182624 w 2129049"/>
                  <a:gd name="connsiteY109" fmla="*/ 235436 h 2180047"/>
                  <a:gd name="connsiteX110" fmla="*/ 478385 w 2129049"/>
                  <a:gd name="connsiteY110" fmla="*/ 56179 h 2180047"/>
                  <a:gd name="connsiteX111" fmla="*/ 999928 w 2129049"/>
                  <a:gd name="connsiteY111" fmla="*/ 0 h 2180047"/>
                  <a:gd name="connsiteX112" fmla="*/ 1676449 w 2129049"/>
                  <a:gd name="connsiteY112" fmla="*/ 525838 h 2180047"/>
                  <a:gd name="connsiteX113" fmla="*/ 1579666 w 2129049"/>
                  <a:gd name="connsiteY113" fmla="*/ 999319 h 2180047"/>
                  <a:gd name="connsiteX114" fmla="*/ 1467605 w 2129049"/>
                  <a:gd name="connsiteY114" fmla="*/ 1154947 h 2180047"/>
                  <a:gd name="connsiteX115" fmla="*/ 1464597 w 2129049"/>
                  <a:gd name="connsiteY115" fmla="*/ 1153889 h 2180047"/>
                  <a:gd name="connsiteX116" fmla="*/ 1452025 w 2129049"/>
                  <a:gd name="connsiteY116" fmla="*/ 1125910 h 2180047"/>
                  <a:gd name="connsiteX117" fmla="*/ 1421781 w 2129049"/>
                  <a:gd name="connsiteY117" fmla="*/ 1058603 h 2180047"/>
                  <a:gd name="connsiteX118" fmla="*/ 1327088 w 2129049"/>
                  <a:gd name="connsiteY118" fmla="*/ 961820 h 2180047"/>
                  <a:gd name="connsiteX119" fmla="*/ 1304643 w 2129049"/>
                  <a:gd name="connsiteY119" fmla="*/ 931982 h 2180047"/>
                  <a:gd name="connsiteX120" fmla="*/ 1303076 w 2129049"/>
                  <a:gd name="connsiteY120" fmla="*/ 929526 h 2180047"/>
                  <a:gd name="connsiteX121" fmla="*/ 1268667 w 2129049"/>
                  <a:gd name="connsiteY121" fmla="*/ 875590 h 2180047"/>
                  <a:gd name="connsiteX122" fmla="*/ 1300274 w 2129049"/>
                  <a:gd name="connsiteY122" fmla="*/ 628723 h 2180047"/>
                  <a:gd name="connsiteX123" fmla="*/ 1307563 w 2129049"/>
                  <a:gd name="connsiteY123" fmla="*/ 618378 h 2180047"/>
                  <a:gd name="connsiteX124" fmla="*/ 1298642 w 2129049"/>
                  <a:gd name="connsiteY124" fmla="*/ 596988 h 2180047"/>
                  <a:gd name="connsiteX125" fmla="*/ 1292154 w 2129049"/>
                  <a:gd name="connsiteY125" fmla="*/ 580800 h 2180047"/>
                  <a:gd name="connsiteX126" fmla="*/ 1285141 w 2129049"/>
                  <a:gd name="connsiteY126" fmla="*/ 579133 h 2180047"/>
                  <a:gd name="connsiteX127" fmla="*/ 1003184 w 2129049"/>
                  <a:gd name="connsiteY127" fmla="*/ 372896 h 2180047"/>
                  <a:gd name="connsiteX128" fmla="*/ 993448 w 2129049"/>
                  <a:gd name="connsiteY128" fmla="*/ 53615 h 218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129049" h="2180047">
                    <a:moveTo>
                      <a:pt x="1222186" y="1839320"/>
                    </a:moveTo>
                    <a:cubicBezTo>
                      <a:pt x="1222186" y="1839320"/>
                      <a:pt x="1217322" y="1840010"/>
                      <a:pt x="1208400" y="1841119"/>
                    </a:cubicBezTo>
                    <a:lnTo>
                      <a:pt x="1186099" y="1843640"/>
                    </a:lnTo>
                    <a:lnTo>
                      <a:pt x="1188379" y="1844841"/>
                    </a:lnTo>
                    <a:cubicBezTo>
                      <a:pt x="1208837" y="1862152"/>
                      <a:pt x="1227939" y="1892644"/>
                      <a:pt x="1243194" y="1939957"/>
                    </a:cubicBezTo>
                    <a:cubicBezTo>
                      <a:pt x="1232936" y="1903158"/>
                      <a:pt x="1226723" y="1874737"/>
                      <a:pt x="1223702" y="1853174"/>
                    </a:cubicBezTo>
                    <a:lnTo>
                      <a:pt x="1222569" y="1839342"/>
                    </a:lnTo>
                    <a:close/>
                    <a:moveTo>
                      <a:pt x="441891" y="1746105"/>
                    </a:moveTo>
                    <a:lnTo>
                      <a:pt x="450977" y="1757606"/>
                    </a:lnTo>
                    <a:cubicBezTo>
                      <a:pt x="523579" y="1840277"/>
                      <a:pt x="612111" y="1915885"/>
                      <a:pt x="707370" y="1976776"/>
                    </a:cubicBezTo>
                    <a:lnTo>
                      <a:pt x="766453" y="2010648"/>
                    </a:lnTo>
                    <a:lnTo>
                      <a:pt x="831225" y="2015356"/>
                    </a:lnTo>
                    <a:cubicBezTo>
                      <a:pt x="884464" y="2017808"/>
                      <a:pt x="942877" y="2017788"/>
                      <a:pt x="999836" y="2014732"/>
                    </a:cubicBezTo>
                    <a:lnTo>
                      <a:pt x="1033552" y="2011934"/>
                    </a:lnTo>
                    <a:lnTo>
                      <a:pt x="1030508" y="1991231"/>
                    </a:lnTo>
                    <a:cubicBezTo>
                      <a:pt x="1029673" y="1945751"/>
                      <a:pt x="1045399" y="1901238"/>
                      <a:pt x="1069280" y="1869985"/>
                    </a:cubicBezTo>
                    <a:lnTo>
                      <a:pt x="1086998" y="1852207"/>
                    </a:lnTo>
                    <a:lnTo>
                      <a:pt x="1040249" y="1855089"/>
                    </a:lnTo>
                    <a:cubicBezTo>
                      <a:pt x="936134" y="1859819"/>
                      <a:pt x="805728" y="1858242"/>
                      <a:pt x="700561" y="1833012"/>
                    </a:cubicBezTo>
                    <a:cubicBezTo>
                      <a:pt x="607620" y="1810016"/>
                      <a:pt x="515887" y="1776557"/>
                      <a:pt x="442094" y="1746192"/>
                    </a:cubicBezTo>
                    <a:close/>
                    <a:moveTo>
                      <a:pt x="1059954" y="1504433"/>
                    </a:moveTo>
                    <a:lnTo>
                      <a:pt x="1137935" y="1553560"/>
                    </a:lnTo>
                    <a:cubicBezTo>
                      <a:pt x="1171787" y="1572701"/>
                      <a:pt x="1204817" y="1588620"/>
                      <a:pt x="1232714" y="1597039"/>
                    </a:cubicBezTo>
                    <a:cubicBezTo>
                      <a:pt x="1361148" y="1634927"/>
                      <a:pt x="1457999" y="1643347"/>
                      <a:pt x="1498003" y="1620193"/>
                    </a:cubicBezTo>
                    <a:cubicBezTo>
                      <a:pt x="1498003" y="1620193"/>
                      <a:pt x="1462210" y="1649661"/>
                      <a:pt x="1417995" y="1660186"/>
                    </a:cubicBezTo>
                    <a:cubicBezTo>
                      <a:pt x="1373780" y="1668605"/>
                      <a:pt x="1319038" y="1668605"/>
                      <a:pt x="1260085" y="1660186"/>
                    </a:cubicBezTo>
                    <a:cubicBezTo>
                      <a:pt x="1230609" y="1655976"/>
                      <a:pt x="1166918" y="1647556"/>
                      <a:pt x="1110597" y="1640189"/>
                    </a:cubicBezTo>
                    <a:lnTo>
                      <a:pt x="1099046" y="1638682"/>
                    </a:lnTo>
                    <a:close/>
                    <a:moveTo>
                      <a:pt x="251840" y="316333"/>
                    </a:moveTo>
                    <a:lnTo>
                      <a:pt x="246796" y="329846"/>
                    </a:lnTo>
                    <a:cubicBezTo>
                      <a:pt x="205006" y="446862"/>
                      <a:pt x="162954" y="588333"/>
                      <a:pt x="161902" y="686152"/>
                    </a:cubicBezTo>
                    <a:lnTo>
                      <a:pt x="163319" y="765157"/>
                    </a:lnTo>
                    <a:lnTo>
                      <a:pt x="168120" y="772124"/>
                    </a:lnTo>
                    <a:cubicBezTo>
                      <a:pt x="237177" y="866056"/>
                      <a:pt x="334563" y="972605"/>
                      <a:pt x="462568" y="1054574"/>
                    </a:cubicBezTo>
                    <a:cubicBezTo>
                      <a:pt x="755152" y="1239827"/>
                      <a:pt x="1083519" y="1296666"/>
                      <a:pt x="1083519" y="1296666"/>
                    </a:cubicBezTo>
                    <a:cubicBezTo>
                      <a:pt x="1112988" y="1212460"/>
                      <a:pt x="1112988" y="1212460"/>
                      <a:pt x="1112988" y="1212460"/>
                    </a:cubicBezTo>
                    <a:cubicBezTo>
                      <a:pt x="1112988" y="1212460"/>
                      <a:pt x="1058260" y="1208250"/>
                      <a:pt x="635171" y="913528"/>
                    </a:cubicBezTo>
                    <a:cubicBezTo>
                      <a:pt x="372057" y="730643"/>
                      <a:pt x="286544" y="495129"/>
                      <a:pt x="256327" y="344726"/>
                    </a:cubicBezTo>
                    <a:close/>
                    <a:moveTo>
                      <a:pt x="203697" y="216555"/>
                    </a:moveTo>
                    <a:lnTo>
                      <a:pt x="195507" y="224152"/>
                    </a:lnTo>
                    <a:cubicBezTo>
                      <a:pt x="181433" y="239566"/>
                      <a:pt x="166968" y="259629"/>
                      <a:pt x="153435" y="280530"/>
                    </a:cubicBezTo>
                    <a:lnTo>
                      <a:pt x="119142" y="338248"/>
                    </a:lnTo>
                    <a:lnTo>
                      <a:pt x="162420" y="270250"/>
                    </a:lnTo>
                    <a:cubicBezTo>
                      <a:pt x="176342" y="250442"/>
                      <a:pt x="189335" y="233719"/>
                      <a:pt x="200473" y="220227"/>
                    </a:cubicBezTo>
                    <a:close/>
                    <a:moveTo>
                      <a:pt x="545326" y="37476"/>
                    </a:moveTo>
                    <a:lnTo>
                      <a:pt x="541800" y="40991"/>
                    </a:lnTo>
                    <a:cubicBezTo>
                      <a:pt x="538494" y="44318"/>
                      <a:pt x="536701" y="46149"/>
                      <a:pt x="536701" y="46149"/>
                    </a:cubicBezTo>
                    <a:cubicBezTo>
                      <a:pt x="536701" y="131636"/>
                      <a:pt x="760164" y="665826"/>
                      <a:pt x="940947" y="939893"/>
                    </a:cubicBezTo>
                    <a:lnTo>
                      <a:pt x="978333" y="993267"/>
                    </a:lnTo>
                    <a:lnTo>
                      <a:pt x="1095859" y="1039243"/>
                    </a:lnTo>
                    <a:lnTo>
                      <a:pt x="1131484" y="1124187"/>
                    </a:lnTo>
                    <a:lnTo>
                      <a:pt x="1146506" y="1133109"/>
                    </a:lnTo>
                    <a:lnTo>
                      <a:pt x="1148541" y="1133748"/>
                    </a:lnTo>
                    <a:lnTo>
                      <a:pt x="1141842" y="1144915"/>
                    </a:lnTo>
                    <a:lnTo>
                      <a:pt x="1141505" y="1145660"/>
                    </a:lnTo>
                    <a:lnTo>
                      <a:pt x="1187973" y="1232630"/>
                    </a:lnTo>
                    <a:cubicBezTo>
                      <a:pt x="1223766" y="1293409"/>
                      <a:pt x="1261138" y="1345505"/>
                      <a:pt x="1289562" y="1373921"/>
                    </a:cubicBezTo>
                    <a:cubicBezTo>
                      <a:pt x="1344304" y="1428648"/>
                      <a:pt x="1426417" y="1496004"/>
                      <a:pt x="1531690" y="1481270"/>
                    </a:cubicBezTo>
                    <a:cubicBezTo>
                      <a:pt x="1531690" y="1481270"/>
                      <a:pt x="1476948" y="1504424"/>
                      <a:pt x="1426417" y="1496004"/>
                    </a:cubicBezTo>
                    <a:cubicBezTo>
                      <a:pt x="1377991" y="1485480"/>
                      <a:pt x="1245347" y="1456011"/>
                      <a:pt x="1194816" y="1399179"/>
                    </a:cubicBezTo>
                    <a:cubicBezTo>
                      <a:pt x="1182709" y="1384971"/>
                      <a:pt x="1165076" y="1364054"/>
                      <a:pt x="1145436" y="1340670"/>
                    </a:cubicBezTo>
                    <a:lnTo>
                      <a:pt x="1091189" y="1275923"/>
                    </a:lnTo>
                    <a:lnTo>
                      <a:pt x="1064249" y="1369079"/>
                    </a:lnTo>
                    <a:cubicBezTo>
                      <a:pt x="1054868" y="1409695"/>
                      <a:pt x="1048279" y="1449238"/>
                      <a:pt x="1046007" y="1483657"/>
                    </a:cubicBezTo>
                    <a:lnTo>
                      <a:pt x="1046013" y="1495461"/>
                    </a:lnTo>
                    <a:lnTo>
                      <a:pt x="1012870" y="1487283"/>
                    </a:lnTo>
                    <a:cubicBezTo>
                      <a:pt x="926987" y="1465792"/>
                      <a:pt x="733725" y="1415316"/>
                      <a:pt x="561761" y="1355377"/>
                    </a:cubicBezTo>
                    <a:cubicBezTo>
                      <a:pt x="461449" y="1320412"/>
                      <a:pt x="345032" y="1242374"/>
                      <a:pt x="245802" y="1165644"/>
                    </a:cubicBezTo>
                    <a:lnTo>
                      <a:pt x="203985" y="1132152"/>
                    </a:lnTo>
                    <a:lnTo>
                      <a:pt x="234345" y="1297625"/>
                    </a:lnTo>
                    <a:cubicBezTo>
                      <a:pt x="242410" y="1333469"/>
                      <a:pt x="251108" y="1368352"/>
                      <a:pt x="260418" y="1401636"/>
                    </a:cubicBezTo>
                    <a:lnTo>
                      <a:pt x="276086" y="1451374"/>
                    </a:lnTo>
                    <a:lnTo>
                      <a:pt x="305709" y="1466895"/>
                    </a:lnTo>
                    <a:cubicBezTo>
                      <a:pt x="373741" y="1500727"/>
                      <a:pt x="458919" y="1537496"/>
                      <a:pt x="561761" y="1572001"/>
                    </a:cubicBezTo>
                    <a:cubicBezTo>
                      <a:pt x="875187" y="1675055"/>
                      <a:pt x="1106575" y="1664539"/>
                      <a:pt x="1106575" y="1664539"/>
                    </a:cubicBezTo>
                    <a:lnTo>
                      <a:pt x="1106413" y="1663981"/>
                    </a:lnTo>
                    <a:lnTo>
                      <a:pt x="1109394" y="1669032"/>
                    </a:lnTo>
                    <a:lnTo>
                      <a:pt x="1145872" y="1724864"/>
                    </a:lnTo>
                    <a:lnTo>
                      <a:pt x="1151390" y="1728726"/>
                    </a:lnTo>
                    <a:cubicBezTo>
                      <a:pt x="1204685" y="1766022"/>
                      <a:pt x="1231333" y="1784670"/>
                      <a:pt x="1244657" y="1793994"/>
                    </a:cubicBezTo>
                    <a:lnTo>
                      <a:pt x="1255282" y="1801430"/>
                    </a:lnTo>
                    <a:lnTo>
                      <a:pt x="1259765" y="1803273"/>
                    </a:lnTo>
                    <a:lnTo>
                      <a:pt x="1262425" y="1805592"/>
                    </a:lnTo>
                    <a:lnTo>
                      <a:pt x="1274330" y="1811179"/>
                    </a:lnTo>
                    <a:cubicBezTo>
                      <a:pt x="1306011" y="1825288"/>
                      <a:pt x="1380623" y="1853310"/>
                      <a:pt x="1470632" y="1851731"/>
                    </a:cubicBezTo>
                    <a:cubicBezTo>
                      <a:pt x="1470632" y="1851731"/>
                      <a:pt x="1375886" y="1881199"/>
                      <a:pt x="1337987" y="1879094"/>
                    </a:cubicBezTo>
                    <a:lnTo>
                      <a:pt x="1331095" y="1878426"/>
                    </a:lnTo>
                    <a:lnTo>
                      <a:pt x="1337882" y="1887387"/>
                    </a:lnTo>
                    <a:cubicBezTo>
                      <a:pt x="1419945" y="2013557"/>
                      <a:pt x="2129049" y="1929443"/>
                      <a:pt x="2129049" y="1929443"/>
                    </a:cubicBezTo>
                    <a:cubicBezTo>
                      <a:pt x="2129049" y="1929443"/>
                      <a:pt x="2129049" y="1929443"/>
                      <a:pt x="1413632" y="2169166"/>
                    </a:cubicBezTo>
                    <a:cubicBezTo>
                      <a:pt x="1372338" y="2174818"/>
                      <a:pt x="1335063" y="2177389"/>
                      <a:pt x="1301496" y="2177335"/>
                    </a:cubicBezTo>
                    <a:lnTo>
                      <a:pt x="1281595" y="2175656"/>
                    </a:lnTo>
                    <a:lnTo>
                      <a:pt x="1272759" y="2177928"/>
                    </a:lnTo>
                    <a:cubicBezTo>
                      <a:pt x="1225811" y="2184118"/>
                      <a:pt x="1152027" y="2176826"/>
                      <a:pt x="1063402" y="2155016"/>
                    </a:cubicBezTo>
                    <a:lnTo>
                      <a:pt x="994039" y="2133739"/>
                    </a:lnTo>
                    <a:lnTo>
                      <a:pt x="954380" y="2125140"/>
                    </a:lnTo>
                    <a:cubicBezTo>
                      <a:pt x="795130" y="2082053"/>
                      <a:pt x="625466" y="1978945"/>
                      <a:pt x="485181" y="1869194"/>
                    </a:cubicBezTo>
                    <a:lnTo>
                      <a:pt x="424111" y="1817746"/>
                    </a:lnTo>
                    <a:lnTo>
                      <a:pt x="407264" y="1804650"/>
                    </a:lnTo>
                    <a:lnTo>
                      <a:pt x="400242" y="1797638"/>
                    </a:lnTo>
                    <a:lnTo>
                      <a:pt x="373060" y="1774739"/>
                    </a:lnTo>
                    <a:cubicBezTo>
                      <a:pt x="269990" y="1681147"/>
                      <a:pt x="196858" y="1593878"/>
                      <a:pt x="178723" y="1546546"/>
                    </a:cubicBezTo>
                    <a:cubicBezTo>
                      <a:pt x="92516" y="1378254"/>
                      <a:pt x="0" y="1054291"/>
                      <a:pt x="0" y="780817"/>
                    </a:cubicBezTo>
                    <a:cubicBezTo>
                      <a:pt x="0" y="639609"/>
                      <a:pt x="33412" y="519701"/>
                      <a:pt x="75177" y="424975"/>
                    </a:cubicBezTo>
                    <a:lnTo>
                      <a:pt x="118668" y="339046"/>
                    </a:lnTo>
                    <a:lnTo>
                      <a:pt x="116953" y="341932"/>
                    </a:lnTo>
                    <a:cubicBezTo>
                      <a:pt x="106605" y="360695"/>
                      <a:pt x="98512" y="376484"/>
                      <a:pt x="93993" y="385485"/>
                    </a:cubicBezTo>
                    <a:lnTo>
                      <a:pt x="93509" y="386464"/>
                    </a:lnTo>
                    <a:lnTo>
                      <a:pt x="95671" y="380966"/>
                    </a:lnTo>
                    <a:cubicBezTo>
                      <a:pt x="123713" y="321057"/>
                      <a:pt x="154747" y="273315"/>
                      <a:pt x="182624" y="235436"/>
                    </a:cubicBezTo>
                    <a:cubicBezTo>
                      <a:pt x="241010" y="154155"/>
                      <a:pt x="355019" y="96548"/>
                      <a:pt x="478385" y="56179"/>
                    </a:cubicBezTo>
                    <a:close/>
                    <a:moveTo>
                      <a:pt x="999928" y="0"/>
                    </a:moveTo>
                    <a:lnTo>
                      <a:pt x="1676449" y="525838"/>
                    </a:lnTo>
                    <a:cubicBezTo>
                      <a:pt x="1676449" y="525838"/>
                      <a:pt x="1594394" y="780465"/>
                      <a:pt x="1579666" y="999319"/>
                    </a:cubicBezTo>
                    <a:cubicBezTo>
                      <a:pt x="1570461" y="1136103"/>
                      <a:pt x="1517697" y="1165202"/>
                      <a:pt x="1467605" y="1154947"/>
                    </a:cubicBezTo>
                    <a:lnTo>
                      <a:pt x="1464597" y="1153889"/>
                    </a:lnTo>
                    <a:lnTo>
                      <a:pt x="1452025" y="1125910"/>
                    </a:lnTo>
                    <a:cubicBezTo>
                      <a:pt x="1443951" y="1107940"/>
                      <a:pt x="1434013" y="1085824"/>
                      <a:pt x="1421781" y="1058603"/>
                    </a:cubicBezTo>
                    <a:cubicBezTo>
                      <a:pt x="1421781" y="1058603"/>
                      <a:pt x="1360757" y="999691"/>
                      <a:pt x="1327088" y="961820"/>
                    </a:cubicBezTo>
                    <a:lnTo>
                      <a:pt x="1304643" y="931982"/>
                    </a:lnTo>
                    <a:lnTo>
                      <a:pt x="1303076" y="929526"/>
                    </a:lnTo>
                    <a:cubicBezTo>
                      <a:pt x="1268667" y="875590"/>
                      <a:pt x="1268667" y="875590"/>
                      <a:pt x="1268667" y="875590"/>
                    </a:cubicBezTo>
                    <a:cubicBezTo>
                      <a:pt x="1268667" y="875590"/>
                      <a:pt x="1236457" y="743498"/>
                      <a:pt x="1300274" y="628723"/>
                    </a:cubicBezTo>
                    <a:lnTo>
                      <a:pt x="1307563" y="618378"/>
                    </a:lnTo>
                    <a:lnTo>
                      <a:pt x="1298642" y="596988"/>
                    </a:lnTo>
                    <a:lnTo>
                      <a:pt x="1292154" y="580800"/>
                    </a:lnTo>
                    <a:lnTo>
                      <a:pt x="1285141" y="579133"/>
                    </a:lnTo>
                    <a:cubicBezTo>
                      <a:pt x="1217808" y="547566"/>
                      <a:pt x="1022122" y="492850"/>
                      <a:pt x="1003184" y="372896"/>
                    </a:cubicBezTo>
                    <a:cubicBezTo>
                      <a:pt x="992533" y="305422"/>
                      <a:pt x="984544" y="180018"/>
                      <a:pt x="993448" y="53615"/>
                    </a:cubicBezTo>
                    <a:close/>
                  </a:path>
                </a:pathLst>
              </a:custGeom>
              <a:solidFill>
                <a:srgbClr val="FAED22"/>
              </a:solidFill>
              <a:ln w="3175"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IN"/>
              </a:p>
            </p:txBody>
          </p:sp>
          <p:sp>
            <p:nvSpPr>
              <p:cNvPr id="25" name="Freeform 24"/>
              <p:cNvSpPr>
                <a:spLocks/>
              </p:cNvSpPr>
              <p:nvPr/>
            </p:nvSpPr>
            <p:spPr bwMode="auto">
              <a:xfrm>
                <a:off x="1058398" y="3354141"/>
                <a:ext cx="533724" cy="414349"/>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solidFill>
                <a:srgbClr val="FAED22"/>
              </a:solidFill>
              <a:ln w="3175">
                <a:solidFill>
                  <a:schemeClr val="tx1"/>
                </a:solidFill>
              </a:ln>
            </p:spPr>
            <p:txBody>
              <a:bodyPr vert="horz" wrap="square" lIns="91440" tIns="45720" rIns="91440" bIns="45720" numCol="1" anchor="t" anchorCtr="0" compatLnSpc="1">
                <a:prstTxWarp prst="textNoShape">
                  <a:avLst/>
                </a:prstTxWarp>
                <a:noAutofit/>
              </a:bodyPr>
              <a:lstStyle/>
              <a:p>
                <a:endParaRPr lang="en-IN"/>
              </a:p>
            </p:txBody>
          </p:sp>
        </p:grpSp>
      </p:grpSp>
      <p:pic>
        <p:nvPicPr>
          <p:cNvPr id="27" name="Picture 4" descr="http://www.thebhwgroup.com/blog/wp-content/uploads/2014/10/pig-logo.png"/>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9184636" y="5638800"/>
            <a:ext cx="483562" cy="72715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12" name="TextBox 111"/>
          <p:cNvSpPr txBox="1"/>
          <p:nvPr/>
        </p:nvSpPr>
        <p:spPr>
          <a:xfrm>
            <a:off x="7061944" y="5229226"/>
            <a:ext cx="1099574" cy="3539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ctr" anchorCtr="0" forceAA="0" compatLnSpc="1">
            <a:prstTxWarp prst="textNoShape">
              <a:avLst/>
            </a:prstTxWarp>
            <a:spAutoFit/>
          </a:bodyPr>
          <a:lstStyle>
            <a:defPPr>
              <a:defRPr lang="en-US"/>
            </a:defPPr>
            <a:lvl1pPr defTabSz="932133" fontAlgn="base">
              <a:spcBef>
                <a:spcPts val="200"/>
              </a:spcBef>
              <a:spcAft>
                <a:spcPts val="300"/>
              </a:spcAft>
              <a:defRPr sz="2000">
                <a:solidFill>
                  <a:schemeClr val="tx2"/>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32742">
              <a:spcBef>
                <a:spcPts val="600"/>
              </a:spcBef>
              <a:spcAft>
                <a:spcPts val="600"/>
              </a:spcAft>
              <a:defRPr/>
            </a:pPr>
            <a:r>
              <a:rPr lang="en-US" b="1" dirty="0">
                <a:ea typeface="+mn-ea"/>
                <a:cs typeface="+mn-cs"/>
              </a:rPr>
              <a:t>Hive </a:t>
            </a:r>
          </a:p>
        </p:txBody>
      </p:sp>
      <p:sp>
        <p:nvSpPr>
          <p:cNvPr id="113" name="TextBox 112"/>
          <p:cNvSpPr txBox="1"/>
          <p:nvPr/>
        </p:nvSpPr>
        <p:spPr>
          <a:xfrm>
            <a:off x="8877530" y="5229226"/>
            <a:ext cx="1099574" cy="3539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ctr" anchorCtr="0" forceAA="0" compatLnSpc="1">
            <a:prstTxWarp prst="textNoShape">
              <a:avLst/>
            </a:prstTxWarp>
            <a:spAutoFit/>
          </a:bodyPr>
          <a:lstStyle>
            <a:defPPr>
              <a:defRPr lang="en-US"/>
            </a:defPPr>
            <a:lvl1pPr defTabSz="932133" fontAlgn="base">
              <a:spcBef>
                <a:spcPts val="200"/>
              </a:spcBef>
              <a:spcAft>
                <a:spcPts val="300"/>
              </a:spcAft>
              <a:defRPr sz="2000">
                <a:solidFill>
                  <a:schemeClr val="tx2"/>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32742">
              <a:spcBef>
                <a:spcPts val="600"/>
              </a:spcBef>
              <a:spcAft>
                <a:spcPts val="600"/>
              </a:spcAft>
              <a:defRPr/>
            </a:pPr>
            <a:r>
              <a:rPr lang="en-US" b="1" dirty="0" smtClean="0">
                <a:ea typeface="+mn-ea"/>
                <a:cs typeface="+mn-cs"/>
              </a:rPr>
              <a:t>Pig</a:t>
            </a:r>
            <a:endParaRPr lang="en-US" b="1" dirty="0">
              <a:ea typeface="+mn-ea"/>
              <a:cs typeface="+mn-cs"/>
            </a:endParaRPr>
          </a:p>
        </p:txBody>
      </p:sp>
      <p:sp>
        <p:nvSpPr>
          <p:cNvPr id="114" name="TextBox 113"/>
          <p:cNvSpPr txBox="1"/>
          <p:nvPr/>
        </p:nvSpPr>
        <p:spPr>
          <a:xfrm>
            <a:off x="10693114" y="5229226"/>
            <a:ext cx="1099574" cy="3539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ctr" anchorCtr="0" forceAA="0" compatLnSpc="1">
            <a:prstTxWarp prst="textNoShape">
              <a:avLst/>
            </a:prstTxWarp>
            <a:spAutoFit/>
          </a:bodyPr>
          <a:lstStyle>
            <a:defPPr>
              <a:defRPr lang="en-US"/>
            </a:defPPr>
            <a:lvl1pPr defTabSz="932133" fontAlgn="base">
              <a:spcBef>
                <a:spcPts val="200"/>
              </a:spcBef>
              <a:spcAft>
                <a:spcPts val="300"/>
              </a:spcAft>
              <a:defRPr sz="2000">
                <a:solidFill>
                  <a:schemeClr val="tx2"/>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32742">
              <a:spcBef>
                <a:spcPts val="600"/>
              </a:spcBef>
              <a:spcAft>
                <a:spcPts val="600"/>
              </a:spcAft>
              <a:defRPr/>
            </a:pPr>
            <a:r>
              <a:rPr lang="en-US" b="1" dirty="0" smtClean="0">
                <a:ea typeface="+mn-ea"/>
                <a:cs typeface="+mn-cs"/>
              </a:rPr>
              <a:t>M/R</a:t>
            </a:r>
            <a:endParaRPr lang="en-US" b="1" dirty="0">
              <a:ea typeface="+mn-ea"/>
              <a:cs typeface="+mn-cs"/>
            </a:endParaRPr>
          </a:p>
        </p:txBody>
      </p:sp>
      <p:cxnSp>
        <p:nvCxnSpPr>
          <p:cNvPr id="118" name="Straight Connector 117"/>
          <p:cNvCxnSpPr/>
          <p:nvPr/>
        </p:nvCxnSpPr>
        <p:spPr>
          <a:xfrm>
            <a:off x="8519524" y="5437664"/>
            <a:ext cx="0" cy="82296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0335110" y="5437664"/>
            <a:ext cx="0" cy="82296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4">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0725149" y="5565860"/>
            <a:ext cx="901701" cy="901699"/>
          </a:xfrm>
          <a:prstGeom prst="rect">
            <a:avLst/>
          </a:prstGeom>
        </p:spPr>
      </p:pic>
      <p:grpSp>
        <p:nvGrpSpPr>
          <p:cNvPr id="306" name="Group 305"/>
          <p:cNvGrpSpPr/>
          <p:nvPr/>
        </p:nvGrpSpPr>
        <p:grpSpPr>
          <a:xfrm>
            <a:off x="4916267" y="1231126"/>
            <a:ext cx="2603942" cy="2426474"/>
            <a:chOff x="5049148" y="1354951"/>
            <a:chExt cx="2338179" cy="2178824"/>
          </a:xfrm>
        </p:grpSpPr>
        <p:grpSp>
          <p:nvGrpSpPr>
            <p:cNvPr id="175" name="Group 174"/>
            <p:cNvGrpSpPr/>
            <p:nvPr/>
          </p:nvGrpSpPr>
          <p:grpSpPr>
            <a:xfrm>
              <a:off x="5215530" y="1662970"/>
              <a:ext cx="1633683" cy="1554670"/>
              <a:chOff x="586740" y="-1055045"/>
              <a:chExt cx="8183880" cy="7788065"/>
            </a:xfrm>
          </p:grpSpPr>
          <p:grpSp>
            <p:nvGrpSpPr>
              <p:cNvPr id="230" name="Group 229"/>
              <p:cNvGrpSpPr/>
              <p:nvPr/>
            </p:nvGrpSpPr>
            <p:grpSpPr>
              <a:xfrm>
                <a:off x="5996940" y="752203"/>
                <a:ext cx="2773680" cy="2288603"/>
                <a:chOff x="4244340" y="3909060"/>
                <a:chExt cx="2773680" cy="2288603"/>
              </a:xfrm>
            </p:grpSpPr>
            <p:sp>
              <p:nvSpPr>
                <p:cNvPr id="296" name="Freeform 295"/>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97" name="Freeform 296"/>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98" name="Freeform 297"/>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99" name="Freeform 298"/>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grpSp>
          <p:grpSp>
            <p:nvGrpSpPr>
              <p:cNvPr id="231" name="Group 230"/>
              <p:cNvGrpSpPr/>
              <p:nvPr/>
            </p:nvGrpSpPr>
            <p:grpSpPr>
              <a:xfrm>
                <a:off x="4263390" y="-257447"/>
                <a:ext cx="2773680" cy="2288603"/>
                <a:chOff x="4244340" y="3909060"/>
                <a:chExt cx="2773680" cy="2288603"/>
              </a:xfrm>
            </p:grpSpPr>
            <p:sp>
              <p:nvSpPr>
                <p:cNvPr id="292" name="Freeform 291"/>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93" name="Freeform 292"/>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94" name="Freeform 293"/>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95" name="Freeform 294"/>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grpSp>
          <p:grpSp>
            <p:nvGrpSpPr>
              <p:cNvPr id="232" name="Group 231"/>
              <p:cNvGrpSpPr/>
              <p:nvPr/>
            </p:nvGrpSpPr>
            <p:grpSpPr>
              <a:xfrm>
                <a:off x="2415540" y="2036497"/>
                <a:ext cx="2773680" cy="2524823"/>
                <a:chOff x="4244340" y="3672840"/>
                <a:chExt cx="2773680" cy="2524823"/>
              </a:xfrm>
            </p:grpSpPr>
            <p:sp>
              <p:nvSpPr>
                <p:cNvPr id="288" name="Freeform 287"/>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89" name="Freeform 288"/>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90" name="Freeform 289"/>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91" name="Freeform 290"/>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grpSp>
          <p:grpSp>
            <p:nvGrpSpPr>
              <p:cNvPr id="233" name="Group 232"/>
              <p:cNvGrpSpPr/>
              <p:nvPr/>
            </p:nvGrpSpPr>
            <p:grpSpPr>
              <a:xfrm>
                <a:off x="4263390" y="3103297"/>
                <a:ext cx="2773680" cy="2524823"/>
                <a:chOff x="4244340" y="3672840"/>
                <a:chExt cx="2773680" cy="2524823"/>
              </a:xfrm>
            </p:grpSpPr>
            <p:sp>
              <p:nvSpPr>
                <p:cNvPr id="284" name="Freeform 283"/>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85" name="Freeform 284"/>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86" name="Freeform 285"/>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87" name="Freeform 286"/>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grpSp>
          <p:grpSp>
            <p:nvGrpSpPr>
              <p:cNvPr id="234" name="Group 233"/>
              <p:cNvGrpSpPr/>
              <p:nvPr/>
            </p:nvGrpSpPr>
            <p:grpSpPr>
              <a:xfrm>
                <a:off x="2415540" y="556040"/>
                <a:ext cx="2773680" cy="2524823"/>
                <a:chOff x="4244340" y="3672840"/>
                <a:chExt cx="2773680" cy="2524823"/>
              </a:xfrm>
            </p:grpSpPr>
            <p:sp>
              <p:nvSpPr>
                <p:cNvPr id="280" name="Freeform 279"/>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81" name="Freeform 280"/>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82" name="Freeform 281"/>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83" name="Freeform 282"/>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grpSp>
          <p:grpSp>
            <p:nvGrpSpPr>
              <p:cNvPr id="235" name="Group 234"/>
              <p:cNvGrpSpPr/>
              <p:nvPr/>
            </p:nvGrpSpPr>
            <p:grpSpPr>
              <a:xfrm>
                <a:off x="4263390" y="1622840"/>
                <a:ext cx="2773680" cy="2524823"/>
                <a:chOff x="4244340" y="3672840"/>
                <a:chExt cx="2773680" cy="2524823"/>
              </a:xfrm>
            </p:grpSpPr>
            <p:sp>
              <p:nvSpPr>
                <p:cNvPr id="276" name="Freeform 275"/>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77" name="Freeform 276"/>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78" name="Freeform 277"/>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79" name="Freeform 278"/>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grpSp>
          <p:grpSp>
            <p:nvGrpSpPr>
              <p:cNvPr id="236" name="Group 235"/>
              <p:cNvGrpSpPr/>
              <p:nvPr/>
            </p:nvGrpSpPr>
            <p:grpSpPr>
              <a:xfrm>
                <a:off x="2415540" y="-1055045"/>
                <a:ext cx="2773680" cy="2524823"/>
                <a:chOff x="4244340" y="3672840"/>
                <a:chExt cx="2773680" cy="2524823"/>
              </a:xfrm>
            </p:grpSpPr>
            <p:sp>
              <p:nvSpPr>
                <p:cNvPr id="272" name="Freeform 271"/>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73" name="Freeform 272"/>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74" name="Freeform 273"/>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75" name="Freeform 274"/>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grpSp>
          <p:grpSp>
            <p:nvGrpSpPr>
              <p:cNvPr id="237" name="Group 236"/>
              <p:cNvGrpSpPr/>
              <p:nvPr/>
            </p:nvGrpSpPr>
            <p:grpSpPr>
              <a:xfrm>
                <a:off x="4263390" y="11755"/>
                <a:ext cx="2773680" cy="2524823"/>
                <a:chOff x="4244340" y="3672840"/>
                <a:chExt cx="2773680" cy="2524823"/>
              </a:xfrm>
            </p:grpSpPr>
            <p:sp>
              <p:nvSpPr>
                <p:cNvPr id="268" name="Freeform 267"/>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69" name="Freeform 268"/>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70" name="Freeform 269"/>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71" name="Freeform 270"/>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grpSp>
          <p:grpSp>
            <p:nvGrpSpPr>
              <p:cNvPr id="238" name="Group 237"/>
              <p:cNvGrpSpPr/>
              <p:nvPr/>
            </p:nvGrpSpPr>
            <p:grpSpPr>
              <a:xfrm>
                <a:off x="586740" y="3141397"/>
                <a:ext cx="2773680" cy="2524823"/>
                <a:chOff x="4244340" y="3672840"/>
                <a:chExt cx="2773680" cy="2524823"/>
              </a:xfrm>
            </p:grpSpPr>
            <p:sp>
              <p:nvSpPr>
                <p:cNvPr id="264" name="Freeform 263"/>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65" name="Freeform 264"/>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66" name="Freeform 265"/>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67" name="Freeform 266"/>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grpSp>
          <p:grpSp>
            <p:nvGrpSpPr>
              <p:cNvPr id="239" name="Group 238"/>
              <p:cNvGrpSpPr/>
              <p:nvPr/>
            </p:nvGrpSpPr>
            <p:grpSpPr>
              <a:xfrm>
                <a:off x="2434590" y="4208197"/>
                <a:ext cx="2773680" cy="2524823"/>
                <a:chOff x="4244340" y="3672840"/>
                <a:chExt cx="2773680" cy="2524823"/>
              </a:xfrm>
            </p:grpSpPr>
            <p:sp>
              <p:nvSpPr>
                <p:cNvPr id="260" name="Freeform 259"/>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61" name="Freeform 260"/>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62" name="Freeform 261"/>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63" name="Freeform 262"/>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grpSp>
          <p:grpSp>
            <p:nvGrpSpPr>
              <p:cNvPr id="240" name="Group 239"/>
              <p:cNvGrpSpPr/>
              <p:nvPr/>
            </p:nvGrpSpPr>
            <p:grpSpPr>
              <a:xfrm>
                <a:off x="586740" y="1660940"/>
                <a:ext cx="2773680" cy="2524823"/>
                <a:chOff x="4244340" y="3672840"/>
                <a:chExt cx="2773680" cy="2524823"/>
              </a:xfrm>
            </p:grpSpPr>
            <p:sp>
              <p:nvSpPr>
                <p:cNvPr id="256" name="Freeform 255"/>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57" name="Freeform 256"/>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58" name="Freeform 257"/>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59" name="Freeform 258"/>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grpSp>
          <p:grpSp>
            <p:nvGrpSpPr>
              <p:cNvPr id="241" name="Group 240"/>
              <p:cNvGrpSpPr/>
              <p:nvPr/>
            </p:nvGrpSpPr>
            <p:grpSpPr>
              <a:xfrm>
                <a:off x="2434590" y="2727740"/>
                <a:ext cx="2773680" cy="2524823"/>
                <a:chOff x="4244340" y="3672840"/>
                <a:chExt cx="2773680" cy="2524823"/>
              </a:xfrm>
            </p:grpSpPr>
            <p:sp>
              <p:nvSpPr>
                <p:cNvPr id="252" name="Freeform 251"/>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53" name="Freeform 252"/>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54" name="Freeform 253"/>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55" name="Freeform 254"/>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grpSp>
          <p:grpSp>
            <p:nvGrpSpPr>
              <p:cNvPr id="242" name="Group 241"/>
              <p:cNvGrpSpPr/>
              <p:nvPr/>
            </p:nvGrpSpPr>
            <p:grpSpPr>
              <a:xfrm>
                <a:off x="586740" y="49855"/>
                <a:ext cx="2773680" cy="2524823"/>
                <a:chOff x="4244340" y="3672840"/>
                <a:chExt cx="2773680" cy="2524823"/>
              </a:xfrm>
            </p:grpSpPr>
            <p:sp>
              <p:nvSpPr>
                <p:cNvPr id="248" name="Freeform 247"/>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49" name="Freeform 248"/>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50" name="Freeform 249"/>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51" name="Freeform 250"/>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grpSp>
          <p:grpSp>
            <p:nvGrpSpPr>
              <p:cNvPr id="243" name="Group 242"/>
              <p:cNvGrpSpPr/>
              <p:nvPr/>
            </p:nvGrpSpPr>
            <p:grpSpPr>
              <a:xfrm>
                <a:off x="2434590" y="1116655"/>
                <a:ext cx="2773680" cy="2524823"/>
                <a:chOff x="4244340" y="3672840"/>
                <a:chExt cx="2773680" cy="2524823"/>
              </a:xfrm>
            </p:grpSpPr>
            <p:sp>
              <p:nvSpPr>
                <p:cNvPr id="244" name="Freeform 243"/>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45" name="Freeform 244"/>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46" name="Freeform 245"/>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47" name="Freeform 246"/>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grpSp>
        </p:grpSp>
        <p:grpSp>
          <p:nvGrpSpPr>
            <p:cNvPr id="176" name="Group 175"/>
            <p:cNvGrpSpPr/>
            <p:nvPr/>
          </p:nvGrpSpPr>
          <p:grpSpPr>
            <a:xfrm>
              <a:off x="5049148" y="1567835"/>
              <a:ext cx="1616009" cy="1751534"/>
              <a:chOff x="-246743" y="-1531620"/>
              <a:chExt cx="8095343" cy="8774249"/>
            </a:xfrm>
          </p:grpSpPr>
          <p:sp>
            <p:nvSpPr>
              <p:cNvPr id="224" name="Freeform 223"/>
              <p:cNvSpPr/>
              <p:nvPr/>
            </p:nvSpPr>
            <p:spPr bwMode="auto">
              <a:xfrm>
                <a:off x="-246743" y="783771"/>
                <a:ext cx="4049486" cy="6458858"/>
              </a:xfrm>
              <a:custGeom>
                <a:avLst/>
                <a:gdLst>
                  <a:gd name="connsiteX0" fmla="*/ 0 w 4049486"/>
                  <a:gd name="connsiteY0" fmla="*/ 4136572 h 6458858"/>
                  <a:gd name="connsiteX1" fmla="*/ 4049486 w 4049486"/>
                  <a:gd name="connsiteY1" fmla="*/ 6458858 h 6458858"/>
                  <a:gd name="connsiteX2" fmla="*/ 4049486 w 4049486"/>
                  <a:gd name="connsiteY2" fmla="*/ 2830286 h 6458858"/>
                  <a:gd name="connsiteX3" fmla="*/ 3178629 w 4049486"/>
                  <a:gd name="connsiteY3" fmla="*/ 1306286 h 6458858"/>
                  <a:gd name="connsiteX4" fmla="*/ 914400 w 4049486"/>
                  <a:gd name="connsiteY4" fmla="*/ 0 h 6458858"/>
                  <a:gd name="connsiteX5" fmla="*/ 14514 w 4049486"/>
                  <a:gd name="connsiteY5" fmla="*/ 464458 h 6458858"/>
                  <a:gd name="connsiteX6" fmla="*/ 0 w 4049486"/>
                  <a:gd name="connsiteY6" fmla="*/ 4136572 h 6458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9486" h="6458858">
                    <a:moveTo>
                      <a:pt x="0" y="4136572"/>
                    </a:moveTo>
                    <a:lnTo>
                      <a:pt x="4049486" y="6458858"/>
                    </a:lnTo>
                    <a:lnTo>
                      <a:pt x="4049486" y="2830286"/>
                    </a:lnTo>
                    <a:lnTo>
                      <a:pt x="3178629" y="1306286"/>
                    </a:lnTo>
                    <a:lnTo>
                      <a:pt x="914400" y="0"/>
                    </a:lnTo>
                    <a:lnTo>
                      <a:pt x="14514" y="464458"/>
                    </a:lnTo>
                    <a:lnTo>
                      <a:pt x="0" y="4136572"/>
                    </a:lnTo>
                    <a:close/>
                  </a:path>
                </a:pathLst>
              </a:custGeom>
              <a:solidFill>
                <a:schemeClr val="accent1">
                  <a:lumMod val="60000"/>
                  <a:lumOff val="40000"/>
                  <a:alpha val="45000"/>
                </a:schemeClr>
              </a:solidFill>
              <a:ln>
                <a:solidFill>
                  <a:schemeClr val="accent1">
                    <a:lumMod val="75000"/>
                    <a:alpha val="4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25" name="Freeform 224"/>
              <p:cNvSpPr/>
              <p:nvPr/>
            </p:nvSpPr>
            <p:spPr bwMode="auto">
              <a:xfrm>
                <a:off x="2926080" y="2080260"/>
                <a:ext cx="1790700" cy="1550670"/>
              </a:xfrm>
              <a:custGeom>
                <a:avLst/>
                <a:gdLst>
                  <a:gd name="connsiteX0" fmla="*/ 0 w 1790700"/>
                  <a:gd name="connsiteY0" fmla="*/ 0 h 1531620"/>
                  <a:gd name="connsiteX1" fmla="*/ 1790700 w 1790700"/>
                  <a:gd name="connsiteY1" fmla="*/ 0 h 1531620"/>
                  <a:gd name="connsiteX2" fmla="*/ 883920 w 1790700"/>
                  <a:gd name="connsiteY2" fmla="*/ 1531620 h 1531620"/>
                  <a:gd name="connsiteX3" fmla="*/ 0 w 1790700"/>
                  <a:gd name="connsiteY3" fmla="*/ 0 h 1531620"/>
                  <a:gd name="connsiteX0" fmla="*/ 0 w 1790700"/>
                  <a:gd name="connsiteY0" fmla="*/ 0 h 1550670"/>
                  <a:gd name="connsiteX1" fmla="*/ 1790700 w 1790700"/>
                  <a:gd name="connsiteY1" fmla="*/ 0 h 1550670"/>
                  <a:gd name="connsiteX2" fmla="*/ 883920 w 1790700"/>
                  <a:gd name="connsiteY2" fmla="*/ 1550670 h 1550670"/>
                  <a:gd name="connsiteX3" fmla="*/ 0 w 1790700"/>
                  <a:gd name="connsiteY3" fmla="*/ 0 h 1550670"/>
                </a:gdLst>
                <a:ahLst/>
                <a:cxnLst>
                  <a:cxn ang="0">
                    <a:pos x="connsiteX0" y="connsiteY0"/>
                  </a:cxn>
                  <a:cxn ang="0">
                    <a:pos x="connsiteX1" y="connsiteY1"/>
                  </a:cxn>
                  <a:cxn ang="0">
                    <a:pos x="connsiteX2" y="connsiteY2"/>
                  </a:cxn>
                  <a:cxn ang="0">
                    <a:pos x="connsiteX3" y="connsiteY3"/>
                  </a:cxn>
                </a:cxnLst>
                <a:rect l="l" t="t" r="r" b="b"/>
                <a:pathLst>
                  <a:path w="1790700" h="1550670">
                    <a:moveTo>
                      <a:pt x="0" y="0"/>
                    </a:moveTo>
                    <a:lnTo>
                      <a:pt x="1790700" y="0"/>
                    </a:lnTo>
                    <a:lnTo>
                      <a:pt x="883920" y="1550670"/>
                    </a:lnTo>
                    <a:lnTo>
                      <a:pt x="0" y="0"/>
                    </a:lnTo>
                    <a:close/>
                  </a:path>
                </a:pathLst>
              </a:custGeom>
              <a:solidFill>
                <a:schemeClr val="accent1">
                  <a:lumMod val="20000"/>
                  <a:lumOff val="80000"/>
                  <a:alpha val="50000"/>
                </a:schemeClr>
              </a:solidFill>
              <a:ln>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a:solidFill>
                    <a:schemeClr val="bg1"/>
                  </a:solidFill>
                  <a:latin typeface="+mj-lt"/>
                  <a:ea typeface="Segoe UI" pitchFamily="34" charset="0"/>
                  <a:cs typeface="Segoe UI" pitchFamily="34" charset="0"/>
                </a:endParaRPr>
              </a:p>
            </p:txBody>
          </p:sp>
          <p:sp>
            <p:nvSpPr>
              <p:cNvPr id="226" name="Freeform 225"/>
              <p:cNvSpPr/>
              <p:nvPr/>
            </p:nvSpPr>
            <p:spPr bwMode="auto">
              <a:xfrm>
                <a:off x="-228600" y="-254000"/>
                <a:ext cx="933450" cy="1498600"/>
              </a:xfrm>
              <a:custGeom>
                <a:avLst/>
                <a:gdLst>
                  <a:gd name="connsiteX0" fmla="*/ 895350 w 933450"/>
                  <a:gd name="connsiteY0" fmla="*/ 1028700 h 1498600"/>
                  <a:gd name="connsiteX1" fmla="*/ 0 w 933450"/>
                  <a:gd name="connsiteY1" fmla="*/ 1498600 h 1498600"/>
                  <a:gd name="connsiteX2" fmla="*/ 933450 w 933450"/>
                  <a:gd name="connsiteY2" fmla="*/ 0 h 1498600"/>
                  <a:gd name="connsiteX3" fmla="*/ 895350 w 933450"/>
                  <a:gd name="connsiteY3" fmla="*/ 1028700 h 1498600"/>
                  <a:gd name="connsiteX0" fmla="*/ 895350 w 933450"/>
                  <a:gd name="connsiteY0" fmla="*/ 1035050 h 1498600"/>
                  <a:gd name="connsiteX1" fmla="*/ 0 w 933450"/>
                  <a:gd name="connsiteY1" fmla="*/ 1498600 h 1498600"/>
                  <a:gd name="connsiteX2" fmla="*/ 933450 w 933450"/>
                  <a:gd name="connsiteY2" fmla="*/ 0 h 1498600"/>
                  <a:gd name="connsiteX3" fmla="*/ 895350 w 933450"/>
                  <a:gd name="connsiteY3" fmla="*/ 1035050 h 1498600"/>
                </a:gdLst>
                <a:ahLst/>
                <a:cxnLst>
                  <a:cxn ang="0">
                    <a:pos x="connsiteX0" y="connsiteY0"/>
                  </a:cxn>
                  <a:cxn ang="0">
                    <a:pos x="connsiteX1" y="connsiteY1"/>
                  </a:cxn>
                  <a:cxn ang="0">
                    <a:pos x="connsiteX2" y="connsiteY2"/>
                  </a:cxn>
                  <a:cxn ang="0">
                    <a:pos x="connsiteX3" y="connsiteY3"/>
                  </a:cxn>
                </a:cxnLst>
                <a:rect l="l" t="t" r="r" b="b"/>
                <a:pathLst>
                  <a:path w="933450" h="1498600">
                    <a:moveTo>
                      <a:pt x="895350" y="1035050"/>
                    </a:moveTo>
                    <a:lnTo>
                      <a:pt x="0" y="1498600"/>
                    </a:lnTo>
                    <a:lnTo>
                      <a:pt x="933450" y="0"/>
                    </a:lnTo>
                    <a:lnTo>
                      <a:pt x="895350" y="1035050"/>
                    </a:lnTo>
                    <a:close/>
                  </a:path>
                </a:pathLst>
              </a:custGeom>
              <a:solidFill>
                <a:schemeClr val="accent1">
                  <a:lumMod val="20000"/>
                  <a:lumOff val="80000"/>
                  <a:alpha val="50000"/>
                </a:schemeClr>
              </a:solidFill>
              <a:ln>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a:solidFill>
                    <a:schemeClr val="bg1"/>
                  </a:solidFill>
                  <a:latin typeface="+mj-lt"/>
                  <a:ea typeface="Segoe UI" pitchFamily="34" charset="0"/>
                  <a:cs typeface="Segoe UI" pitchFamily="34" charset="0"/>
                </a:endParaRPr>
              </a:p>
            </p:txBody>
          </p:sp>
          <p:sp>
            <p:nvSpPr>
              <p:cNvPr id="227" name="Freeform 226"/>
              <p:cNvSpPr/>
              <p:nvPr/>
            </p:nvSpPr>
            <p:spPr bwMode="auto">
              <a:xfrm>
                <a:off x="655320" y="-1531620"/>
                <a:ext cx="6324600" cy="3619500"/>
              </a:xfrm>
              <a:custGeom>
                <a:avLst/>
                <a:gdLst>
                  <a:gd name="connsiteX0" fmla="*/ 45720 w 6324600"/>
                  <a:gd name="connsiteY0" fmla="*/ 1287780 h 3619500"/>
                  <a:gd name="connsiteX1" fmla="*/ 2278380 w 6324600"/>
                  <a:gd name="connsiteY1" fmla="*/ 0 h 3619500"/>
                  <a:gd name="connsiteX2" fmla="*/ 4084320 w 6324600"/>
                  <a:gd name="connsiteY2" fmla="*/ 0 h 3619500"/>
                  <a:gd name="connsiteX3" fmla="*/ 6324600 w 6324600"/>
                  <a:gd name="connsiteY3" fmla="*/ 1310640 h 3619500"/>
                  <a:gd name="connsiteX4" fmla="*/ 6324600 w 6324600"/>
                  <a:gd name="connsiteY4" fmla="*/ 2301240 h 3619500"/>
                  <a:gd name="connsiteX5" fmla="*/ 4069080 w 6324600"/>
                  <a:gd name="connsiteY5" fmla="*/ 3619500 h 3619500"/>
                  <a:gd name="connsiteX6" fmla="*/ 2263140 w 6324600"/>
                  <a:gd name="connsiteY6" fmla="*/ 3611880 h 3619500"/>
                  <a:gd name="connsiteX7" fmla="*/ 0 w 6324600"/>
                  <a:gd name="connsiteY7" fmla="*/ 2316480 h 3619500"/>
                  <a:gd name="connsiteX8" fmla="*/ 45720 w 6324600"/>
                  <a:gd name="connsiteY8" fmla="*/ 1287780 h 3619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24600" h="3619500">
                    <a:moveTo>
                      <a:pt x="45720" y="1287780"/>
                    </a:moveTo>
                    <a:lnTo>
                      <a:pt x="2278380" y="0"/>
                    </a:lnTo>
                    <a:lnTo>
                      <a:pt x="4084320" y="0"/>
                    </a:lnTo>
                    <a:lnTo>
                      <a:pt x="6324600" y="1310640"/>
                    </a:lnTo>
                    <a:lnTo>
                      <a:pt x="6324600" y="2301240"/>
                    </a:lnTo>
                    <a:lnTo>
                      <a:pt x="4069080" y="3619500"/>
                    </a:lnTo>
                    <a:lnTo>
                      <a:pt x="2263140" y="3611880"/>
                    </a:lnTo>
                    <a:lnTo>
                      <a:pt x="0" y="2316480"/>
                    </a:lnTo>
                    <a:lnTo>
                      <a:pt x="45720" y="1287780"/>
                    </a:lnTo>
                    <a:close/>
                  </a:path>
                </a:pathLst>
              </a:custGeom>
              <a:solidFill>
                <a:schemeClr val="accent1">
                  <a:lumMod val="20000"/>
                  <a:lumOff val="80000"/>
                  <a:alpha val="50000"/>
                </a:schemeClr>
              </a:solidFill>
              <a:ln>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a:solidFill>
                    <a:schemeClr val="bg1"/>
                  </a:solidFill>
                  <a:latin typeface="+mj-lt"/>
                  <a:ea typeface="Segoe UI" pitchFamily="34" charset="0"/>
                  <a:cs typeface="Segoe UI" pitchFamily="34" charset="0"/>
                </a:endParaRPr>
              </a:p>
            </p:txBody>
          </p:sp>
          <p:sp>
            <p:nvSpPr>
              <p:cNvPr id="228" name="Freeform 227"/>
              <p:cNvSpPr/>
              <p:nvPr/>
            </p:nvSpPr>
            <p:spPr bwMode="auto">
              <a:xfrm>
                <a:off x="3800475" y="781050"/>
                <a:ext cx="4048125" cy="6448425"/>
              </a:xfrm>
              <a:custGeom>
                <a:avLst/>
                <a:gdLst>
                  <a:gd name="connsiteX0" fmla="*/ 0 w 4048125"/>
                  <a:gd name="connsiteY0" fmla="*/ 6448425 h 6448425"/>
                  <a:gd name="connsiteX1" fmla="*/ 0 w 4048125"/>
                  <a:gd name="connsiteY1" fmla="*/ 2838450 h 6448425"/>
                  <a:gd name="connsiteX2" fmla="*/ 914400 w 4048125"/>
                  <a:gd name="connsiteY2" fmla="*/ 1285875 h 6448425"/>
                  <a:gd name="connsiteX3" fmla="*/ 3152775 w 4048125"/>
                  <a:gd name="connsiteY3" fmla="*/ 0 h 6448425"/>
                  <a:gd name="connsiteX4" fmla="*/ 4048125 w 4048125"/>
                  <a:gd name="connsiteY4" fmla="*/ 504825 h 6448425"/>
                  <a:gd name="connsiteX5" fmla="*/ 4048125 w 4048125"/>
                  <a:gd name="connsiteY5" fmla="*/ 4114800 h 6448425"/>
                  <a:gd name="connsiteX6" fmla="*/ 0 w 4048125"/>
                  <a:gd name="connsiteY6" fmla="*/ 6448425 h 644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8125" h="6448425">
                    <a:moveTo>
                      <a:pt x="0" y="6448425"/>
                    </a:moveTo>
                    <a:lnTo>
                      <a:pt x="0" y="2838450"/>
                    </a:lnTo>
                    <a:lnTo>
                      <a:pt x="914400" y="1285875"/>
                    </a:lnTo>
                    <a:lnTo>
                      <a:pt x="3152775" y="0"/>
                    </a:lnTo>
                    <a:lnTo>
                      <a:pt x="4048125" y="504825"/>
                    </a:lnTo>
                    <a:lnTo>
                      <a:pt x="4048125" y="4114800"/>
                    </a:lnTo>
                    <a:lnTo>
                      <a:pt x="0" y="6448425"/>
                    </a:lnTo>
                    <a:close/>
                  </a:path>
                </a:pathLst>
              </a:custGeom>
              <a:solidFill>
                <a:schemeClr val="accent1">
                  <a:alpha val="45000"/>
                </a:schemeClr>
              </a:solidFill>
              <a:ln>
                <a:solidFill>
                  <a:schemeClr val="accent1">
                    <a:lumMod val="75000"/>
                    <a:alpha val="4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a:solidFill>
                    <a:schemeClr val="bg1"/>
                  </a:solidFill>
                  <a:latin typeface="+mj-lt"/>
                  <a:ea typeface="Segoe UI" pitchFamily="34" charset="0"/>
                  <a:cs typeface="Segoe UI" pitchFamily="34" charset="0"/>
                </a:endParaRPr>
              </a:p>
            </p:txBody>
          </p:sp>
          <p:sp>
            <p:nvSpPr>
              <p:cNvPr id="229" name="Freeform 228"/>
              <p:cNvSpPr/>
              <p:nvPr/>
            </p:nvSpPr>
            <p:spPr bwMode="auto">
              <a:xfrm>
                <a:off x="6962775" y="-228600"/>
                <a:ext cx="876300" cy="1514475"/>
              </a:xfrm>
              <a:custGeom>
                <a:avLst/>
                <a:gdLst>
                  <a:gd name="connsiteX0" fmla="*/ 19050 w 876300"/>
                  <a:gd name="connsiteY0" fmla="*/ 0 h 1504950"/>
                  <a:gd name="connsiteX1" fmla="*/ 876300 w 876300"/>
                  <a:gd name="connsiteY1" fmla="*/ 1504950 h 1504950"/>
                  <a:gd name="connsiteX2" fmla="*/ 0 w 876300"/>
                  <a:gd name="connsiteY2" fmla="*/ 1028700 h 1504950"/>
                  <a:gd name="connsiteX3" fmla="*/ 19050 w 876300"/>
                  <a:gd name="connsiteY3" fmla="*/ 0 h 1504950"/>
                  <a:gd name="connsiteX0" fmla="*/ 19050 w 876300"/>
                  <a:gd name="connsiteY0" fmla="*/ 0 h 1514475"/>
                  <a:gd name="connsiteX1" fmla="*/ 876300 w 876300"/>
                  <a:gd name="connsiteY1" fmla="*/ 1514475 h 1514475"/>
                  <a:gd name="connsiteX2" fmla="*/ 0 w 876300"/>
                  <a:gd name="connsiteY2" fmla="*/ 1028700 h 1514475"/>
                  <a:gd name="connsiteX3" fmla="*/ 19050 w 876300"/>
                  <a:gd name="connsiteY3" fmla="*/ 0 h 1514475"/>
                </a:gdLst>
                <a:ahLst/>
                <a:cxnLst>
                  <a:cxn ang="0">
                    <a:pos x="connsiteX0" y="connsiteY0"/>
                  </a:cxn>
                  <a:cxn ang="0">
                    <a:pos x="connsiteX1" y="connsiteY1"/>
                  </a:cxn>
                  <a:cxn ang="0">
                    <a:pos x="connsiteX2" y="connsiteY2"/>
                  </a:cxn>
                  <a:cxn ang="0">
                    <a:pos x="connsiteX3" y="connsiteY3"/>
                  </a:cxn>
                </a:cxnLst>
                <a:rect l="l" t="t" r="r" b="b"/>
                <a:pathLst>
                  <a:path w="876300" h="1514475">
                    <a:moveTo>
                      <a:pt x="19050" y="0"/>
                    </a:moveTo>
                    <a:lnTo>
                      <a:pt x="876300" y="1514475"/>
                    </a:lnTo>
                    <a:lnTo>
                      <a:pt x="0" y="1028700"/>
                    </a:lnTo>
                    <a:lnTo>
                      <a:pt x="19050" y="0"/>
                    </a:lnTo>
                    <a:close/>
                  </a:path>
                </a:pathLst>
              </a:custGeom>
              <a:solidFill>
                <a:schemeClr val="accent1">
                  <a:lumMod val="20000"/>
                  <a:lumOff val="80000"/>
                  <a:alpha val="50000"/>
                </a:schemeClr>
              </a:solidFill>
              <a:ln>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a:solidFill>
                    <a:schemeClr val="bg1"/>
                  </a:solidFill>
                  <a:latin typeface="+mj-lt"/>
                  <a:ea typeface="Segoe UI" pitchFamily="34" charset="0"/>
                  <a:cs typeface="Segoe UI" pitchFamily="34" charset="0"/>
                </a:endParaRPr>
              </a:p>
            </p:txBody>
          </p:sp>
        </p:grpSp>
        <p:grpSp>
          <p:nvGrpSpPr>
            <p:cNvPr id="177" name="Group 176"/>
            <p:cNvGrpSpPr/>
            <p:nvPr/>
          </p:nvGrpSpPr>
          <p:grpSpPr>
            <a:xfrm>
              <a:off x="5945668" y="2248102"/>
              <a:ext cx="1261009" cy="1189710"/>
              <a:chOff x="4244340" y="1876153"/>
              <a:chExt cx="6316980" cy="5959810"/>
            </a:xfrm>
          </p:grpSpPr>
          <p:grpSp>
            <p:nvGrpSpPr>
              <p:cNvPr id="194" name="Group 193"/>
              <p:cNvGrpSpPr/>
              <p:nvPr/>
            </p:nvGrpSpPr>
            <p:grpSpPr>
              <a:xfrm>
                <a:off x="7787640" y="3356610"/>
                <a:ext cx="2773680" cy="2288603"/>
                <a:chOff x="4244340" y="3909060"/>
                <a:chExt cx="2773680" cy="2288603"/>
              </a:xfrm>
            </p:grpSpPr>
            <p:sp>
              <p:nvSpPr>
                <p:cNvPr id="220" name="Freeform 219"/>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21" name="Freeform 220"/>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22" name="Freeform 221"/>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23" name="Freeform 222"/>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grpSp>
          <p:grpSp>
            <p:nvGrpSpPr>
              <p:cNvPr id="195" name="Group 194"/>
              <p:cNvGrpSpPr/>
              <p:nvPr/>
            </p:nvGrpSpPr>
            <p:grpSpPr>
              <a:xfrm>
                <a:off x="7787640" y="1876153"/>
                <a:ext cx="2773680" cy="2288603"/>
                <a:chOff x="4244340" y="3909060"/>
                <a:chExt cx="2773680" cy="2288603"/>
              </a:xfrm>
            </p:grpSpPr>
            <p:sp>
              <p:nvSpPr>
                <p:cNvPr id="216" name="Freeform 215"/>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17" name="Freeform 216"/>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18" name="Freeform 217"/>
                <p:cNvSpPr/>
                <p:nvPr/>
              </p:nvSpPr>
              <p:spPr bwMode="auto">
                <a:xfrm flipH="1">
                  <a:off x="5631182" y="4399799"/>
                  <a:ext cx="1385889" cy="1797864"/>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19" name="Freeform 218"/>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grpSp>
          <p:grpSp>
            <p:nvGrpSpPr>
              <p:cNvPr id="196" name="Group 195"/>
              <p:cNvGrpSpPr/>
              <p:nvPr/>
            </p:nvGrpSpPr>
            <p:grpSpPr>
              <a:xfrm>
                <a:off x="5996940" y="4423410"/>
                <a:ext cx="2773680" cy="2288603"/>
                <a:chOff x="4244340" y="3909060"/>
                <a:chExt cx="2773680" cy="2288603"/>
              </a:xfrm>
            </p:grpSpPr>
            <p:sp>
              <p:nvSpPr>
                <p:cNvPr id="212" name="Freeform 211"/>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13" name="Freeform 212"/>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14" name="Freeform 213"/>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15" name="Freeform 214"/>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grpSp>
          <p:grpSp>
            <p:nvGrpSpPr>
              <p:cNvPr id="197" name="Group 196"/>
              <p:cNvGrpSpPr/>
              <p:nvPr/>
            </p:nvGrpSpPr>
            <p:grpSpPr>
              <a:xfrm>
                <a:off x="5996940" y="2942953"/>
                <a:ext cx="2773680" cy="2288603"/>
                <a:chOff x="4244340" y="3909060"/>
                <a:chExt cx="2773680" cy="2288603"/>
              </a:xfrm>
            </p:grpSpPr>
            <p:sp>
              <p:nvSpPr>
                <p:cNvPr id="208" name="Freeform 207"/>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09" name="Freeform 208"/>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10" name="Freeform 209"/>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11" name="Freeform 210"/>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grpSp>
          <p:grpSp>
            <p:nvGrpSpPr>
              <p:cNvPr id="198" name="Group 197"/>
              <p:cNvGrpSpPr/>
              <p:nvPr/>
            </p:nvGrpSpPr>
            <p:grpSpPr>
              <a:xfrm>
                <a:off x="4244340" y="5547360"/>
                <a:ext cx="2773680" cy="2288603"/>
                <a:chOff x="4244340" y="3909060"/>
                <a:chExt cx="2773680" cy="2288603"/>
              </a:xfrm>
            </p:grpSpPr>
            <p:sp>
              <p:nvSpPr>
                <p:cNvPr id="204" name="Freeform 203"/>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05" name="Freeform 204"/>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06" name="Freeform 205"/>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07" name="Freeform 206"/>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grpSp>
          <p:grpSp>
            <p:nvGrpSpPr>
              <p:cNvPr id="199" name="Group 198"/>
              <p:cNvGrpSpPr/>
              <p:nvPr/>
            </p:nvGrpSpPr>
            <p:grpSpPr>
              <a:xfrm>
                <a:off x="4244340" y="4066903"/>
                <a:ext cx="2773680" cy="2288603"/>
                <a:chOff x="4244340" y="3909060"/>
                <a:chExt cx="2773680" cy="2288603"/>
              </a:xfrm>
            </p:grpSpPr>
            <p:sp>
              <p:nvSpPr>
                <p:cNvPr id="200" name="Freeform 199"/>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01" name="Freeform 200"/>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02" name="Freeform 201"/>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203" name="Freeform 202"/>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grpSp>
        </p:grpSp>
        <p:grpSp>
          <p:nvGrpSpPr>
            <p:cNvPr id="178" name="lines"/>
            <p:cNvGrpSpPr/>
            <p:nvPr/>
          </p:nvGrpSpPr>
          <p:grpSpPr>
            <a:xfrm>
              <a:off x="5680775" y="1354951"/>
              <a:ext cx="1706552" cy="2178824"/>
              <a:chOff x="2917371" y="-2598057"/>
              <a:chExt cx="8548915" cy="10914743"/>
            </a:xfrm>
          </p:grpSpPr>
          <p:sp>
            <p:nvSpPr>
              <p:cNvPr id="186" name="Freeform 185"/>
              <p:cNvSpPr/>
              <p:nvPr/>
            </p:nvSpPr>
            <p:spPr bwMode="auto">
              <a:xfrm>
                <a:off x="2917371" y="-2583543"/>
                <a:ext cx="2685143" cy="1567543"/>
              </a:xfrm>
              <a:custGeom>
                <a:avLst/>
                <a:gdLst>
                  <a:gd name="connsiteX0" fmla="*/ 0 w 2685143"/>
                  <a:gd name="connsiteY0" fmla="*/ 1016000 h 1567543"/>
                  <a:gd name="connsiteX1" fmla="*/ 1814286 w 2685143"/>
                  <a:gd name="connsiteY1" fmla="*/ 0 h 1567543"/>
                  <a:gd name="connsiteX2" fmla="*/ 2685143 w 2685143"/>
                  <a:gd name="connsiteY2" fmla="*/ 522514 h 1567543"/>
                  <a:gd name="connsiteX3" fmla="*/ 2685143 w 2685143"/>
                  <a:gd name="connsiteY3" fmla="*/ 1567543 h 1567543"/>
                </a:gdLst>
                <a:ahLst/>
                <a:cxnLst>
                  <a:cxn ang="0">
                    <a:pos x="connsiteX0" y="connsiteY0"/>
                  </a:cxn>
                  <a:cxn ang="0">
                    <a:pos x="connsiteX1" y="connsiteY1"/>
                  </a:cxn>
                  <a:cxn ang="0">
                    <a:pos x="connsiteX2" y="connsiteY2"/>
                  </a:cxn>
                  <a:cxn ang="0">
                    <a:pos x="connsiteX3" y="connsiteY3"/>
                  </a:cxn>
                </a:cxnLst>
                <a:rect l="l" t="t" r="r" b="b"/>
                <a:pathLst>
                  <a:path w="2685143" h="1567543">
                    <a:moveTo>
                      <a:pt x="0" y="1016000"/>
                    </a:moveTo>
                    <a:lnTo>
                      <a:pt x="1814286" y="0"/>
                    </a:lnTo>
                    <a:lnTo>
                      <a:pt x="2685143" y="522514"/>
                    </a:lnTo>
                    <a:lnTo>
                      <a:pt x="2685143" y="1567543"/>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187" name="Freeform 186"/>
              <p:cNvSpPr/>
              <p:nvPr/>
            </p:nvSpPr>
            <p:spPr bwMode="auto">
              <a:xfrm>
                <a:off x="4746171" y="-2598057"/>
                <a:ext cx="1741715" cy="537028"/>
              </a:xfrm>
              <a:custGeom>
                <a:avLst/>
                <a:gdLst>
                  <a:gd name="connsiteX0" fmla="*/ 0 w 1741715"/>
                  <a:gd name="connsiteY0" fmla="*/ 0 h 537028"/>
                  <a:gd name="connsiteX1" fmla="*/ 1741715 w 1741715"/>
                  <a:gd name="connsiteY1" fmla="*/ 0 h 537028"/>
                  <a:gd name="connsiteX2" fmla="*/ 870858 w 1741715"/>
                  <a:gd name="connsiteY2" fmla="*/ 537028 h 537028"/>
                </a:gdLst>
                <a:ahLst/>
                <a:cxnLst>
                  <a:cxn ang="0">
                    <a:pos x="connsiteX0" y="connsiteY0"/>
                  </a:cxn>
                  <a:cxn ang="0">
                    <a:pos x="connsiteX1" y="connsiteY1"/>
                  </a:cxn>
                  <a:cxn ang="0">
                    <a:pos x="connsiteX2" y="connsiteY2"/>
                  </a:cxn>
                </a:cxnLst>
                <a:rect l="l" t="t" r="r" b="b"/>
                <a:pathLst>
                  <a:path w="1741715" h="537028">
                    <a:moveTo>
                      <a:pt x="0" y="0"/>
                    </a:moveTo>
                    <a:lnTo>
                      <a:pt x="1741715" y="0"/>
                    </a:lnTo>
                    <a:lnTo>
                      <a:pt x="870858" y="537028"/>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188" name="Freeform 187"/>
              <p:cNvSpPr/>
              <p:nvPr/>
            </p:nvSpPr>
            <p:spPr bwMode="auto">
              <a:xfrm>
                <a:off x="3846286" y="-2569029"/>
                <a:ext cx="6720114" cy="5733143"/>
              </a:xfrm>
              <a:custGeom>
                <a:avLst/>
                <a:gdLst>
                  <a:gd name="connsiteX0" fmla="*/ 2641600 w 6720114"/>
                  <a:gd name="connsiteY0" fmla="*/ 0 h 5733143"/>
                  <a:gd name="connsiteX1" fmla="*/ 6720114 w 6720114"/>
                  <a:gd name="connsiteY1" fmla="*/ 2307772 h 5733143"/>
                  <a:gd name="connsiteX2" fmla="*/ 6676571 w 6720114"/>
                  <a:gd name="connsiteY2" fmla="*/ 3367315 h 5733143"/>
                  <a:gd name="connsiteX3" fmla="*/ 2554514 w 6720114"/>
                  <a:gd name="connsiteY3" fmla="*/ 5733143 h 5733143"/>
                  <a:gd name="connsiteX4" fmla="*/ 885371 w 6720114"/>
                  <a:gd name="connsiteY4" fmla="*/ 5689600 h 5733143"/>
                  <a:gd name="connsiteX5" fmla="*/ 0 w 6720114"/>
                  <a:gd name="connsiteY5" fmla="*/ 5210629 h 573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20114" h="5733143">
                    <a:moveTo>
                      <a:pt x="2641600" y="0"/>
                    </a:moveTo>
                    <a:lnTo>
                      <a:pt x="6720114" y="2307772"/>
                    </a:lnTo>
                    <a:lnTo>
                      <a:pt x="6676571" y="3367315"/>
                    </a:lnTo>
                    <a:lnTo>
                      <a:pt x="2554514" y="5733143"/>
                    </a:lnTo>
                    <a:lnTo>
                      <a:pt x="885371" y="5689600"/>
                    </a:lnTo>
                    <a:lnTo>
                      <a:pt x="0" y="5210629"/>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189" name="Freeform 188"/>
              <p:cNvSpPr/>
              <p:nvPr/>
            </p:nvSpPr>
            <p:spPr bwMode="auto">
              <a:xfrm>
                <a:off x="10551886" y="-232229"/>
                <a:ext cx="899885" cy="5152572"/>
              </a:xfrm>
              <a:custGeom>
                <a:avLst/>
                <a:gdLst>
                  <a:gd name="connsiteX0" fmla="*/ 0 w 899885"/>
                  <a:gd name="connsiteY0" fmla="*/ 0 h 5152572"/>
                  <a:gd name="connsiteX1" fmla="*/ 899885 w 899885"/>
                  <a:gd name="connsiteY1" fmla="*/ 1524000 h 5152572"/>
                  <a:gd name="connsiteX2" fmla="*/ 899885 w 899885"/>
                  <a:gd name="connsiteY2" fmla="*/ 5152572 h 5152572"/>
                  <a:gd name="connsiteX3" fmla="*/ 0 w 899885"/>
                  <a:gd name="connsiteY3" fmla="*/ 4673600 h 5152572"/>
                </a:gdLst>
                <a:ahLst/>
                <a:cxnLst>
                  <a:cxn ang="0">
                    <a:pos x="connsiteX0" y="connsiteY0"/>
                  </a:cxn>
                  <a:cxn ang="0">
                    <a:pos x="connsiteX1" y="connsiteY1"/>
                  </a:cxn>
                  <a:cxn ang="0">
                    <a:pos x="connsiteX2" y="connsiteY2"/>
                  </a:cxn>
                  <a:cxn ang="0">
                    <a:pos x="connsiteX3" y="connsiteY3"/>
                  </a:cxn>
                </a:cxnLst>
                <a:rect l="l" t="t" r="r" b="b"/>
                <a:pathLst>
                  <a:path w="899885" h="5152572">
                    <a:moveTo>
                      <a:pt x="0" y="0"/>
                    </a:moveTo>
                    <a:lnTo>
                      <a:pt x="899885" y="1524000"/>
                    </a:lnTo>
                    <a:lnTo>
                      <a:pt x="899885" y="5152572"/>
                    </a:lnTo>
                    <a:lnTo>
                      <a:pt x="0" y="4673600"/>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190" name="Freeform 189"/>
              <p:cNvSpPr/>
              <p:nvPr/>
            </p:nvSpPr>
            <p:spPr bwMode="auto">
              <a:xfrm>
                <a:off x="10522857" y="783771"/>
                <a:ext cx="943429" cy="493486"/>
              </a:xfrm>
              <a:custGeom>
                <a:avLst/>
                <a:gdLst>
                  <a:gd name="connsiteX0" fmla="*/ 0 w 943429"/>
                  <a:gd name="connsiteY0" fmla="*/ 0 h 493486"/>
                  <a:gd name="connsiteX1" fmla="*/ 943429 w 943429"/>
                  <a:gd name="connsiteY1" fmla="*/ 493486 h 493486"/>
                </a:gdLst>
                <a:ahLst/>
                <a:cxnLst>
                  <a:cxn ang="0">
                    <a:pos x="connsiteX0" y="connsiteY0"/>
                  </a:cxn>
                  <a:cxn ang="0">
                    <a:pos x="connsiteX1" y="connsiteY1"/>
                  </a:cxn>
                </a:cxnLst>
                <a:rect l="l" t="t" r="r" b="b"/>
                <a:pathLst>
                  <a:path w="943429" h="493486">
                    <a:moveTo>
                      <a:pt x="0" y="0"/>
                    </a:moveTo>
                    <a:lnTo>
                      <a:pt x="943429" y="493486"/>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191" name="Freeform 190"/>
              <p:cNvSpPr/>
              <p:nvPr/>
            </p:nvSpPr>
            <p:spPr bwMode="auto">
              <a:xfrm>
                <a:off x="4702629" y="3120571"/>
                <a:ext cx="1756228" cy="1538515"/>
              </a:xfrm>
              <a:custGeom>
                <a:avLst/>
                <a:gdLst>
                  <a:gd name="connsiteX0" fmla="*/ 0 w 1756228"/>
                  <a:gd name="connsiteY0" fmla="*/ 0 h 1538515"/>
                  <a:gd name="connsiteX1" fmla="*/ 943428 w 1756228"/>
                  <a:gd name="connsiteY1" fmla="*/ 1538515 h 1538515"/>
                  <a:gd name="connsiteX2" fmla="*/ 1756228 w 1756228"/>
                  <a:gd name="connsiteY2" fmla="*/ 43543 h 1538515"/>
                </a:gdLst>
                <a:ahLst/>
                <a:cxnLst>
                  <a:cxn ang="0">
                    <a:pos x="connsiteX0" y="connsiteY0"/>
                  </a:cxn>
                  <a:cxn ang="0">
                    <a:pos x="connsiteX1" y="connsiteY1"/>
                  </a:cxn>
                  <a:cxn ang="0">
                    <a:pos x="connsiteX2" y="connsiteY2"/>
                  </a:cxn>
                </a:cxnLst>
                <a:rect l="l" t="t" r="r" b="b"/>
                <a:pathLst>
                  <a:path w="1756228" h="1538515">
                    <a:moveTo>
                      <a:pt x="0" y="0"/>
                    </a:moveTo>
                    <a:lnTo>
                      <a:pt x="943428" y="1538515"/>
                    </a:lnTo>
                    <a:lnTo>
                      <a:pt x="1756228" y="43543"/>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192" name="Freeform 191"/>
              <p:cNvSpPr/>
              <p:nvPr/>
            </p:nvSpPr>
            <p:spPr bwMode="auto">
              <a:xfrm>
                <a:off x="3802743" y="4644571"/>
                <a:ext cx="1828800" cy="3657600"/>
              </a:xfrm>
              <a:custGeom>
                <a:avLst/>
                <a:gdLst>
                  <a:gd name="connsiteX0" fmla="*/ 1828800 w 1828800"/>
                  <a:gd name="connsiteY0" fmla="*/ 0 h 3657600"/>
                  <a:gd name="connsiteX1" fmla="*/ 1828800 w 1828800"/>
                  <a:gd name="connsiteY1" fmla="*/ 3657600 h 3657600"/>
                  <a:gd name="connsiteX2" fmla="*/ 0 w 1828800"/>
                  <a:gd name="connsiteY2" fmla="*/ 2612572 h 3657600"/>
                </a:gdLst>
                <a:ahLst/>
                <a:cxnLst>
                  <a:cxn ang="0">
                    <a:pos x="connsiteX0" y="connsiteY0"/>
                  </a:cxn>
                  <a:cxn ang="0">
                    <a:pos x="connsiteX1" y="connsiteY1"/>
                  </a:cxn>
                  <a:cxn ang="0">
                    <a:pos x="connsiteX2" y="connsiteY2"/>
                  </a:cxn>
                </a:cxnLst>
                <a:rect l="l" t="t" r="r" b="b"/>
                <a:pathLst>
                  <a:path w="1828800" h="3657600">
                    <a:moveTo>
                      <a:pt x="1828800" y="0"/>
                    </a:moveTo>
                    <a:lnTo>
                      <a:pt x="1828800" y="3657600"/>
                    </a:lnTo>
                    <a:lnTo>
                      <a:pt x="0" y="2612572"/>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193" name="Freeform 192"/>
              <p:cNvSpPr/>
              <p:nvPr/>
            </p:nvSpPr>
            <p:spPr bwMode="auto">
              <a:xfrm>
                <a:off x="5617029" y="4934857"/>
                <a:ext cx="5849257" cy="3381829"/>
              </a:xfrm>
              <a:custGeom>
                <a:avLst/>
                <a:gdLst>
                  <a:gd name="connsiteX0" fmla="*/ 0 w 5849257"/>
                  <a:gd name="connsiteY0" fmla="*/ 3381829 h 3381829"/>
                  <a:gd name="connsiteX1" fmla="*/ 5849257 w 5849257"/>
                  <a:gd name="connsiteY1" fmla="*/ 0 h 3381829"/>
                </a:gdLst>
                <a:ahLst/>
                <a:cxnLst>
                  <a:cxn ang="0">
                    <a:pos x="connsiteX0" y="connsiteY0"/>
                  </a:cxn>
                  <a:cxn ang="0">
                    <a:pos x="connsiteX1" y="connsiteY1"/>
                  </a:cxn>
                </a:cxnLst>
                <a:rect l="l" t="t" r="r" b="b"/>
                <a:pathLst>
                  <a:path w="5849257" h="3381829">
                    <a:moveTo>
                      <a:pt x="0" y="3381829"/>
                    </a:moveTo>
                    <a:lnTo>
                      <a:pt x="5849257" y="0"/>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grpSp>
        <p:grpSp>
          <p:nvGrpSpPr>
            <p:cNvPr id="179" name="Group 178"/>
            <p:cNvGrpSpPr/>
            <p:nvPr/>
          </p:nvGrpSpPr>
          <p:grpSpPr>
            <a:xfrm>
              <a:off x="5510813" y="1722419"/>
              <a:ext cx="699304" cy="396442"/>
              <a:chOff x="2065951" y="-757238"/>
              <a:chExt cx="3503137" cy="1985962"/>
            </a:xfrm>
          </p:grpSpPr>
          <p:sp>
            <p:nvSpPr>
              <p:cNvPr id="180" name="Freeform 179"/>
              <p:cNvSpPr/>
              <p:nvPr/>
            </p:nvSpPr>
            <p:spPr bwMode="auto">
              <a:xfrm>
                <a:off x="2723175" y="-4202"/>
                <a:ext cx="2137432" cy="1232926"/>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181" name="Freeform 180"/>
              <p:cNvSpPr/>
              <p:nvPr/>
            </p:nvSpPr>
            <p:spPr bwMode="auto">
              <a:xfrm>
                <a:off x="4594837" y="-38100"/>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182" name="Freeform 181"/>
              <p:cNvSpPr/>
              <p:nvPr/>
            </p:nvSpPr>
            <p:spPr bwMode="auto">
              <a:xfrm>
                <a:off x="3956662" y="-376238"/>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183" name="Freeform 182"/>
              <p:cNvSpPr/>
              <p:nvPr/>
            </p:nvSpPr>
            <p:spPr bwMode="auto">
              <a:xfrm>
                <a:off x="3332775" y="-757238"/>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184" name="Freeform 183"/>
              <p:cNvSpPr/>
              <p:nvPr/>
            </p:nvSpPr>
            <p:spPr bwMode="auto">
              <a:xfrm>
                <a:off x="2699363" y="-390526"/>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185" name="Freeform 184"/>
              <p:cNvSpPr/>
              <p:nvPr/>
            </p:nvSpPr>
            <p:spPr bwMode="auto">
              <a:xfrm>
                <a:off x="2065951" y="-19050"/>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grpSp>
      </p:grpSp>
    </p:spTree>
    <p:extLst>
      <p:ext uri="{BB962C8B-B14F-4D97-AF65-F5344CB8AC3E}">
        <p14:creationId xmlns:p14="http://schemas.microsoft.com/office/powerpoint/2010/main" val="1199228328"/>
      </p:ext>
    </p:extLst>
  </p:cSld>
  <p:clrMapOvr>
    <a:masterClrMapping/>
  </p:clrMapOvr>
  <p:transition spd="med">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0"/>
            <a:ext cx="5325035" cy="6994525"/>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5400" dirty="0" smtClean="0">
              <a:solidFill>
                <a:schemeClr val="bg1"/>
              </a:solidFill>
              <a:latin typeface="+mj-lt"/>
              <a:ea typeface="Segoe UI" pitchFamily="34" charset="0"/>
              <a:cs typeface="Segoe UI" pitchFamily="34" charset="0"/>
            </a:endParaRPr>
          </a:p>
          <a:p>
            <a:pPr defTabSz="932472" fontAlgn="base">
              <a:lnSpc>
                <a:spcPct val="90000"/>
              </a:lnSpc>
              <a:spcBef>
                <a:spcPct val="0"/>
              </a:spcBef>
              <a:spcAft>
                <a:spcPct val="0"/>
              </a:spcAft>
            </a:pPr>
            <a:endParaRPr lang="en-US" sz="5400" dirty="0">
              <a:solidFill>
                <a:schemeClr val="bg1"/>
              </a:solidFill>
              <a:latin typeface="+mj-lt"/>
              <a:ea typeface="Segoe UI" pitchFamily="34" charset="0"/>
              <a:cs typeface="Segoe UI" pitchFamily="34" charset="0"/>
            </a:endParaRPr>
          </a:p>
        </p:txBody>
      </p:sp>
      <p:sp>
        <p:nvSpPr>
          <p:cNvPr id="5" name="Rectangle 4"/>
          <p:cNvSpPr/>
          <p:nvPr/>
        </p:nvSpPr>
        <p:spPr bwMode="auto">
          <a:xfrm>
            <a:off x="0" y="6445885"/>
            <a:ext cx="5325035" cy="54864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rPr>
              <a:t>Tools</a:t>
            </a:r>
          </a:p>
        </p:txBody>
      </p:sp>
      <p:sp>
        <p:nvSpPr>
          <p:cNvPr id="6" name="Freeform 5"/>
          <p:cNvSpPr>
            <a:spLocks/>
          </p:cNvSpPr>
          <p:nvPr/>
        </p:nvSpPr>
        <p:spPr bwMode="auto">
          <a:xfrm flipH="1">
            <a:off x="2671625" y="4267200"/>
            <a:ext cx="2653409" cy="2178685"/>
          </a:xfrm>
          <a:custGeom>
            <a:avLst/>
            <a:gdLst>
              <a:gd name="connsiteX0" fmla="*/ 603413 w 1090712"/>
              <a:gd name="connsiteY0" fmla="*/ 721327 h 895572"/>
              <a:gd name="connsiteX1" fmla="*/ 578466 w 1090712"/>
              <a:gd name="connsiteY1" fmla="*/ 770746 h 895572"/>
              <a:gd name="connsiteX2" fmla="*/ 553519 w 1090712"/>
              <a:gd name="connsiteY2" fmla="*/ 818264 h 895572"/>
              <a:gd name="connsiteX3" fmla="*/ 528334 w 1090712"/>
              <a:gd name="connsiteY3" fmla="*/ 865069 h 895572"/>
              <a:gd name="connsiteX4" fmla="*/ 511825 w 1090712"/>
              <a:gd name="connsiteY4" fmla="*/ 895572 h 895572"/>
              <a:gd name="connsiteX5" fmla="*/ 624528 w 1090712"/>
              <a:gd name="connsiteY5" fmla="*/ 895572 h 895572"/>
              <a:gd name="connsiteX6" fmla="*/ 624796 w 1090712"/>
              <a:gd name="connsiteY6" fmla="*/ 894768 h 895572"/>
              <a:gd name="connsiteX7" fmla="*/ 625271 w 1090712"/>
              <a:gd name="connsiteY7" fmla="*/ 891679 h 895572"/>
              <a:gd name="connsiteX8" fmla="*/ 625747 w 1090712"/>
              <a:gd name="connsiteY8" fmla="*/ 889066 h 895572"/>
              <a:gd name="connsiteX9" fmla="*/ 625747 w 1090712"/>
              <a:gd name="connsiteY9" fmla="*/ 860555 h 895572"/>
              <a:gd name="connsiteX10" fmla="*/ 624796 w 1090712"/>
              <a:gd name="connsiteY10" fmla="*/ 833945 h 895572"/>
              <a:gd name="connsiteX11" fmla="*/ 624321 w 1090712"/>
              <a:gd name="connsiteY11" fmla="*/ 820877 h 895572"/>
              <a:gd name="connsiteX12" fmla="*/ 623608 w 1090712"/>
              <a:gd name="connsiteY12" fmla="*/ 808047 h 895572"/>
              <a:gd name="connsiteX13" fmla="*/ 621708 w 1090712"/>
              <a:gd name="connsiteY13" fmla="*/ 795218 h 895572"/>
              <a:gd name="connsiteX14" fmla="*/ 620044 w 1090712"/>
              <a:gd name="connsiteY14" fmla="*/ 782625 h 895572"/>
              <a:gd name="connsiteX15" fmla="*/ 616005 w 1090712"/>
              <a:gd name="connsiteY15" fmla="*/ 766707 h 895572"/>
              <a:gd name="connsiteX16" fmla="*/ 611966 w 1090712"/>
              <a:gd name="connsiteY16" fmla="*/ 751976 h 895572"/>
              <a:gd name="connsiteX17" fmla="*/ 607452 w 1090712"/>
              <a:gd name="connsiteY17" fmla="*/ 737245 h 895572"/>
              <a:gd name="connsiteX18" fmla="*/ 698212 w 1090712"/>
              <a:gd name="connsiteY18" fmla="*/ 530778 h 895572"/>
              <a:gd name="connsiteX19" fmla="*/ 693460 w 1090712"/>
              <a:gd name="connsiteY19" fmla="*/ 534818 h 895572"/>
              <a:gd name="connsiteX20" fmla="*/ 688471 w 1090712"/>
              <a:gd name="connsiteY20" fmla="*/ 538857 h 895572"/>
              <a:gd name="connsiteX21" fmla="*/ 678254 w 1090712"/>
              <a:gd name="connsiteY21" fmla="*/ 546935 h 895572"/>
              <a:gd name="connsiteX22" fmla="*/ 669226 w 1090712"/>
              <a:gd name="connsiteY22" fmla="*/ 553587 h 895572"/>
              <a:gd name="connsiteX23" fmla="*/ 663048 w 1090712"/>
              <a:gd name="connsiteY23" fmla="*/ 558814 h 895572"/>
              <a:gd name="connsiteX24" fmla="*/ 663048 w 1090712"/>
              <a:gd name="connsiteY24" fmla="*/ 556676 h 895572"/>
              <a:gd name="connsiteX25" fmla="*/ 663523 w 1090712"/>
              <a:gd name="connsiteY25" fmla="*/ 554538 h 895572"/>
              <a:gd name="connsiteX26" fmla="*/ 665424 w 1090712"/>
              <a:gd name="connsiteY26" fmla="*/ 550498 h 895572"/>
              <a:gd name="connsiteX27" fmla="*/ 668038 w 1090712"/>
              <a:gd name="connsiteY27" fmla="*/ 546459 h 895572"/>
              <a:gd name="connsiteX28" fmla="*/ 671602 w 1090712"/>
              <a:gd name="connsiteY28" fmla="*/ 542420 h 895572"/>
              <a:gd name="connsiteX29" fmla="*/ 676829 w 1090712"/>
              <a:gd name="connsiteY29" fmla="*/ 538857 h 895572"/>
              <a:gd name="connsiteX30" fmla="*/ 682768 w 1090712"/>
              <a:gd name="connsiteY30" fmla="*/ 535768 h 895572"/>
              <a:gd name="connsiteX31" fmla="*/ 689896 w 1090712"/>
              <a:gd name="connsiteY31" fmla="*/ 533154 h 895572"/>
              <a:gd name="connsiteX32" fmla="*/ 654257 w 1090712"/>
              <a:gd name="connsiteY32" fmla="*/ 302216 h 895572"/>
              <a:gd name="connsiteX33" fmla="*/ 651882 w 1090712"/>
              <a:gd name="connsiteY33" fmla="*/ 302691 h 895572"/>
              <a:gd name="connsiteX34" fmla="*/ 649268 w 1090712"/>
              <a:gd name="connsiteY34" fmla="*/ 303166 h 895572"/>
              <a:gd name="connsiteX35" fmla="*/ 647130 w 1090712"/>
              <a:gd name="connsiteY35" fmla="*/ 304354 h 895572"/>
              <a:gd name="connsiteX36" fmla="*/ 644516 w 1090712"/>
              <a:gd name="connsiteY36" fmla="*/ 306255 h 895572"/>
              <a:gd name="connsiteX37" fmla="*/ 642140 w 1090712"/>
              <a:gd name="connsiteY37" fmla="*/ 307918 h 895572"/>
              <a:gd name="connsiteX38" fmla="*/ 640002 w 1090712"/>
              <a:gd name="connsiteY38" fmla="*/ 310294 h 895572"/>
              <a:gd name="connsiteX39" fmla="*/ 638101 w 1090712"/>
              <a:gd name="connsiteY39" fmla="*/ 312432 h 895572"/>
              <a:gd name="connsiteX40" fmla="*/ 636913 w 1090712"/>
              <a:gd name="connsiteY40" fmla="*/ 314571 h 895572"/>
              <a:gd name="connsiteX41" fmla="*/ 635963 w 1090712"/>
              <a:gd name="connsiteY41" fmla="*/ 316946 h 895572"/>
              <a:gd name="connsiteX42" fmla="*/ 635963 w 1090712"/>
              <a:gd name="connsiteY42" fmla="*/ 319085 h 895572"/>
              <a:gd name="connsiteX43" fmla="*/ 636913 w 1090712"/>
              <a:gd name="connsiteY43" fmla="*/ 321223 h 895572"/>
              <a:gd name="connsiteX44" fmla="*/ 637626 w 1090712"/>
              <a:gd name="connsiteY44" fmla="*/ 324074 h 895572"/>
              <a:gd name="connsiteX45" fmla="*/ 639527 w 1090712"/>
              <a:gd name="connsiteY45" fmla="*/ 326688 h 895572"/>
              <a:gd name="connsiteX46" fmla="*/ 643091 w 1090712"/>
              <a:gd name="connsiteY46" fmla="*/ 331677 h 895572"/>
              <a:gd name="connsiteX47" fmla="*/ 647130 w 1090712"/>
              <a:gd name="connsiteY47" fmla="*/ 335954 h 895572"/>
              <a:gd name="connsiteX48" fmla="*/ 655920 w 1090712"/>
              <a:gd name="connsiteY48" fmla="*/ 330727 h 895572"/>
              <a:gd name="connsiteX49" fmla="*/ 663999 w 1090712"/>
              <a:gd name="connsiteY49" fmla="*/ 324787 h 895572"/>
              <a:gd name="connsiteX50" fmla="*/ 679917 w 1090712"/>
              <a:gd name="connsiteY50" fmla="*/ 313383 h 895572"/>
              <a:gd name="connsiteX51" fmla="*/ 676354 w 1090712"/>
              <a:gd name="connsiteY51" fmla="*/ 311007 h 895572"/>
              <a:gd name="connsiteX52" fmla="*/ 672790 w 1090712"/>
              <a:gd name="connsiteY52" fmla="*/ 308393 h 895572"/>
              <a:gd name="connsiteX53" fmla="*/ 668988 w 1090712"/>
              <a:gd name="connsiteY53" fmla="*/ 306730 h 895572"/>
              <a:gd name="connsiteX54" fmla="*/ 664949 w 1090712"/>
              <a:gd name="connsiteY54" fmla="*/ 304829 h 895572"/>
              <a:gd name="connsiteX55" fmla="*/ 660910 w 1090712"/>
              <a:gd name="connsiteY55" fmla="*/ 303641 h 895572"/>
              <a:gd name="connsiteX56" fmla="*/ 657346 w 1090712"/>
              <a:gd name="connsiteY56" fmla="*/ 302691 h 895572"/>
              <a:gd name="connsiteX57" fmla="*/ 696549 w 1090712"/>
              <a:gd name="connsiteY57" fmla="*/ 252322 h 895572"/>
              <a:gd name="connsiteX58" fmla="*/ 696786 w 1090712"/>
              <a:gd name="connsiteY58" fmla="*/ 259925 h 895572"/>
              <a:gd name="connsiteX59" fmla="*/ 698212 w 1090712"/>
              <a:gd name="connsiteY59" fmla="*/ 266102 h 895572"/>
              <a:gd name="connsiteX60" fmla="*/ 700113 w 1090712"/>
              <a:gd name="connsiteY60" fmla="*/ 272042 h 895572"/>
              <a:gd name="connsiteX61" fmla="*/ 701776 w 1090712"/>
              <a:gd name="connsiteY61" fmla="*/ 276794 h 895572"/>
              <a:gd name="connsiteX62" fmla="*/ 704389 w 1090712"/>
              <a:gd name="connsiteY62" fmla="*/ 280833 h 895572"/>
              <a:gd name="connsiteX63" fmla="*/ 707240 w 1090712"/>
              <a:gd name="connsiteY63" fmla="*/ 284397 h 895572"/>
              <a:gd name="connsiteX64" fmla="*/ 710329 w 1090712"/>
              <a:gd name="connsiteY64" fmla="*/ 287010 h 895572"/>
              <a:gd name="connsiteX65" fmla="*/ 713418 w 1090712"/>
              <a:gd name="connsiteY65" fmla="*/ 289624 h 895572"/>
              <a:gd name="connsiteX66" fmla="*/ 716506 w 1090712"/>
              <a:gd name="connsiteY66" fmla="*/ 291524 h 895572"/>
              <a:gd name="connsiteX67" fmla="*/ 719595 w 1090712"/>
              <a:gd name="connsiteY67" fmla="*/ 293187 h 895572"/>
              <a:gd name="connsiteX68" fmla="*/ 725772 w 1090712"/>
              <a:gd name="connsiteY68" fmla="*/ 295088 h 895572"/>
              <a:gd name="connsiteX69" fmla="*/ 731237 w 1090712"/>
              <a:gd name="connsiteY69" fmla="*/ 296514 h 895572"/>
              <a:gd name="connsiteX70" fmla="*/ 734801 w 1090712"/>
              <a:gd name="connsiteY70" fmla="*/ 296751 h 895572"/>
              <a:gd name="connsiteX71" fmla="*/ 722209 w 1090712"/>
              <a:gd name="connsiteY71" fmla="*/ 303879 h 895572"/>
              <a:gd name="connsiteX72" fmla="*/ 710804 w 1090712"/>
              <a:gd name="connsiteY72" fmla="*/ 311007 h 895572"/>
              <a:gd name="connsiteX73" fmla="*/ 688471 w 1090712"/>
              <a:gd name="connsiteY73" fmla="*/ 324787 h 895572"/>
              <a:gd name="connsiteX74" fmla="*/ 667563 w 1090712"/>
              <a:gd name="connsiteY74" fmla="*/ 339043 h 895572"/>
              <a:gd name="connsiteX75" fmla="*/ 646179 w 1090712"/>
              <a:gd name="connsiteY75" fmla="*/ 352823 h 895572"/>
              <a:gd name="connsiteX76" fmla="*/ 620044 w 1090712"/>
              <a:gd name="connsiteY76" fmla="*/ 313383 h 895572"/>
              <a:gd name="connsiteX77" fmla="*/ 617668 w 1090712"/>
              <a:gd name="connsiteY77" fmla="*/ 312432 h 895572"/>
              <a:gd name="connsiteX78" fmla="*/ 615055 w 1090712"/>
              <a:gd name="connsiteY78" fmla="*/ 312432 h 895572"/>
              <a:gd name="connsiteX79" fmla="*/ 612441 w 1090712"/>
              <a:gd name="connsiteY79" fmla="*/ 313383 h 895572"/>
              <a:gd name="connsiteX80" fmla="*/ 609353 w 1090712"/>
              <a:gd name="connsiteY80" fmla="*/ 314095 h 895572"/>
              <a:gd name="connsiteX81" fmla="*/ 602938 w 1090712"/>
              <a:gd name="connsiteY81" fmla="*/ 316946 h 895572"/>
              <a:gd name="connsiteX82" fmla="*/ 599849 w 1090712"/>
              <a:gd name="connsiteY82" fmla="*/ 317659 h 895572"/>
              <a:gd name="connsiteX83" fmla="*/ 596760 w 1090712"/>
              <a:gd name="connsiteY83" fmla="*/ 318610 h 895572"/>
              <a:gd name="connsiteX84" fmla="*/ 607927 w 1090712"/>
              <a:gd name="connsiteY84" fmla="*/ 307205 h 895572"/>
              <a:gd name="connsiteX85" fmla="*/ 618619 w 1090712"/>
              <a:gd name="connsiteY85" fmla="*/ 295088 h 895572"/>
              <a:gd name="connsiteX86" fmla="*/ 623846 w 1090712"/>
              <a:gd name="connsiteY86" fmla="*/ 289386 h 895572"/>
              <a:gd name="connsiteX87" fmla="*/ 629786 w 1090712"/>
              <a:gd name="connsiteY87" fmla="*/ 283921 h 895572"/>
              <a:gd name="connsiteX88" fmla="*/ 635963 w 1090712"/>
              <a:gd name="connsiteY88" fmla="*/ 278694 h 895572"/>
              <a:gd name="connsiteX89" fmla="*/ 642140 w 1090712"/>
              <a:gd name="connsiteY89" fmla="*/ 273705 h 895572"/>
              <a:gd name="connsiteX90" fmla="*/ 648793 w 1090712"/>
              <a:gd name="connsiteY90" fmla="*/ 269191 h 895572"/>
              <a:gd name="connsiteX91" fmla="*/ 655446 w 1090712"/>
              <a:gd name="connsiteY91" fmla="*/ 265627 h 895572"/>
              <a:gd name="connsiteX92" fmla="*/ 662098 w 1090712"/>
              <a:gd name="connsiteY92" fmla="*/ 263013 h 895572"/>
              <a:gd name="connsiteX93" fmla="*/ 668988 w 1090712"/>
              <a:gd name="connsiteY93" fmla="*/ 260400 h 895572"/>
              <a:gd name="connsiteX94" fmla="*/ 682768 w 1090712"/>
              <a:gd name="connsiteY94" fmla="*/ 256361 h 895572"/>
              <a:gd name="connsiteX95" fmla="*/ 1030602 w 1090712"/>
              <a:gd name="connsiteY95" fmla="*/ 200289 h 895572"/>
              <a:gd name="connsiteX96" fmla="*/ 1027513 w 1090712"/>
              <a:gd name="connsiteY96" fmla="*/ 207892 h 895572"/>
              <a:gd name="connsiteX97" fmla="*/ 1023949 w 1090712"/>
              <a:gd name="connsiteY97" fmla="*/ 214545 h 895572"/>
              <a:gd name="connsiteX98" fmla="*/ 1019910 w 1090712"/>
              <a:gd name="connsiteY98" fmla="*/ 221197 h 895572"/>
              <a:gd name="connsiteX99" fmla="*/ 1015396 w 1090712"/>
              <a:gd name="connsiteY99" fmla="*/ 226899 h 895572"/>
              <a:gd name="connsiteX100" fmla="*/ 1011119 w 1090712"/>
              <a:gd name="connsiteY100" fmla="*/ 232839 h 895572"/>
              <a:gd name="connsiteX101" fmla="*/ 1006130 w 1090712"/>
              <a:gd name="connsiteY101" fmla="*/ 237591 h 895572"/>
              <a:gd name="connsiteX102" fmla="*/ 1001140 w 1090712"/>
              <a:gd name="connsiteY102" fmla="*/ 242105 h 895572"/>
              <a:gd name="connsiteX103" fmla="*/ 996388 w 1090712"/>
              <a:gd name="connsiteY103" fmla="*/ 246144 h 895572"/>
              <a:gd name="connsiteX104" fmla="*/ 990924 w 1090712"/>
              <a:gd name="connsiteY104" fmla="*/ 249708 h 895572"/>
              <a:gd name="connsiteX105" fmla="*/ 985697 w 1090712"/>
              <a:gd name="connsiteY105" fmla="*/ 252797 h 895572"/>
              <a:gd name="connsiteX106" fmla="*/ 980232 w 1090712"/>
              <a:gd name="connsiteY106" fmla="*/ 254935 h 895572"/>
              <a:gd name="connsiteX107" fmla="*/ 975005 w 1090712"/>
              <a:gd name="connsiteY107" fmla="*/ 256836 h 895572"/>
              <a:gd name="connsiteX108" fmla="*/ 969541 w 1090712"/>
              <a:gd name="connsiteY108" fmla="*/ 258262 h 895572"/>
              <a:gd name="connsiteX109" fmla="*/ 963839 w 1090712"/>
              <a:gd name="connsiteY109" fmla="*/ 258499 h 895572"/>
              <a:gd name="connsiteX110" fmla="*/ 958612 w 1090712"/>
              <a:gd name="connsiteY110" fmla="*/ 258499 h 895572"/>
              <a:gd name="connsiteX111" fmla="*/ 953622 w 1090712"/>
              <a:gd name="connsiteY111" fmla="*/ 257786 h 895572"/>
              <a:gd name="connsiteX112" fmla="*/ 970966 w 1090712"/>
              <a:gd name="connsiteY112" fmla="*/ 244006 h 895572"/>
              <a:gd name="connsiteX113" fmla="*/ 990211 w 1090712"/>
              <a:gd name="connsiteY113" fmla="*/ 229275 h 895572"/>
              <a:gd name="connsiteX114" fmla="*/ 1010169 w 1090712"/>
              <a:gd name="connsiteY114" fmla="*/ 214069 h 895572"/>
              <a:gd name="connsiteX115" fmla="*/ 1020385 w 1090712"/>
              <a:gd name="connsiteY115" fmla="*/ 206942 h 895572"/>
              <a:gd name="connsiteX116" fmla="*/ 389581 w 1090712"/>
              <a:gd name="connsiteY116" fmla="*/ 176768 h 895572"/>
              <a:gd name="connsiteX117" fmla="*/ 397422 w 1090712"/>
              <a:gd name="connsiteY117" fmla="*/ 177243 h 895572"/>
              <a:gd name="connsiteX118" fmla="*/ 414766 w 1090712"/>
              <a:gd name="connsiteY118" fmla="*/ 178906 h 895572"/>
              <a:gd name="connsiteX119" fmla="*/ 405500 w 1090712"/>
              <a:gd name="connsiteY119" fmla="*/ 179856 h 895572"/>
              <a:gd name="connsiteX120" fmla="*/ 396946 w 1090712"/>
              <a:gd name="connsiteY120" fmla="*/ 181995 h 895572"/>
              <a:gd name="connsiteX121" fmla="*/ 389581 w 1090712"/>
              <a:gd name="connsiteY121" fmla="*/ 184371 h 895572"/>
              <a:gd name="connsiteX122" fmla="*/ 381978 w 1090712"/>
              <a:gd name="connsiteY122" fmla="*/ 186984 h 895572"/>
              <a:gd name="connsiteX123" fmla="*/ 375326 w 1090712"/>
              <a:gd name="connsiteY123" fmla="*/ 190548 h 895572"/>
              <a:gd name="connsiteX124" fmla="*/ 368911 w 1090712"/>
              <a:gd name="connsiteY124" fmla="*/ 194112 h 895572"/>
              <a:gd name="connsiteX125" fmla="*/ 363208 w 1090712"/>
              <a:gd name="connsiteY125" fmla="*/ 198626 h 895572"/>
              <a:gd name="connsiteX126" fmla="*/ 357981 w 1090712"/>
              <a:gd name="connsiteY126" fmla="*/ 202903 h 895572"/>
              <a:gd name="connsiteX127" fmla="*/ 352517 w 1090712"/>
              <a:gd name="connsiteY127" fmla="*/ 208367 h 895572"/>
              <a:gd name="connsiteX128" fmla="*/ 348003 w 1090712"/>
              <a:gd name="connsiteY128" fmla="*/ 214070 h 895572"/>
              <a:gd name="connsiteX129" fmla="*/ 343726 w 1090712"/>
              <a:gd name="connsiteY129" fmla="*/ 220247 h 895572"/>
              <a:gd name="connsiteX130" fmla="*/ 339687 w 1090712"/>
              <a:gd name="connsiteY130" fmla="*/ 226662 h 895572"/>
              <a:gd name="connsiteX131" fmla="*/ 335648 w 1090712"/>
              <a:gd name="connsiteY131" fmla="*/ 233790 h 895572"/>
              <a:gd name="connsiteX132" fmla="*/ 332559 w 1090712"/>
              <a:gd name="connsiteY132" fmla="*/ 240917 h 895572"/>
              <a:gd name="connsiteX133" fmla="*/ 328995 w 1090712"/>
              <a:gd name="connsiteY133" fmla="*/ 248758 h 895572"/>
              <a:gd name="connsiteX134" fmla="*/ 325907 w 1090712"/>
              <a:gd name="connsiteY134" fmla="*/ 256836 h 895572"/>
              <a:gd name="connsiteX135" fmla="*/ 325432 w 1090712"/>
              <a:gd name="connsiteY135" fmla="*/ 252797 h 895572"/>
              <a:gd name="connsiteX136" fmla="*/ 324956 w 1090712"/>
              <a:gd name="connsiteY136" fmla="*/ 248283 h 895572"/>
              <a:gd name="connsiteX137" fmla="*/ 323056 w 1090712"/>
              <a:gd name="connsiteY137" fmla="*/ 239492 h 895572"/>
              <a:gd name="connsiteX138" fmla="*/ 320917 w 1090712"/>
              <a:gd name="connsiteY138" fmla="*/ 229275 h 895572"/>
              <a:gd name="connsiteX139" fmla="*/ 320442 w 1090712"/>
              <a:gd name="connsiteY139" fmla="*/ 223811 h 895572"/>
              <a:gd name="connsiteX140" fmla="*/ 319967 w 1090712"/>
              <a:gd name="connsiteY140" fmla="*/ 217633 h 895572"/>
              <a:gd name="connsiteX141" fmla="*/ 314740 w 1090712"/>
              <a:gd name="connsiteY141" fmla="*/ 217633 h 895572"/>
              <a:gd name="connsiteX142" fmla="*/ 302148 w 1090712"/>
              <a:gd name="connsiteY142" fmla="*/ 243056 h 895572"/>
              <a:gd name="connsiteX143" fmla="*/ 289793 w 1090712"/>
              <a:gd name="connsiteY143" fmla="*/ 267528 h 895572"/>
              <a:gd name="connsiteX144" fmla="*/ 277438 w 1090712"/>
              <a:gd name="connsiteY144" fmla="*/ 291049 h 895572"/>
              <a:gd name="connsiteX145" fmla="*/ 264371 w 1090712"/>
              <a:gd name="connsiteY145" fmla="*/ 312907 h 895572"/>
              <a:gd name="connsiteX146" fmla="*/ 267459 w 1090712"/>
              <a:gd name="connsiteY146" fmla="*/ 295088 h 895572"/>
              <a:gd name="connsiteX147" fmla="*/ 271023 w 1090712"/>
              <a:gd name="connsiteY147" fmla="*/ 279170 h 895572"/>
              <a:gd name="connsiteX148" fmla="*/ 274587 w 1090712"/>
              <a:gd name="connsiteY148" fmla="*/ 263964 h 895572"/>
              <a:gd name="connsiteX149" fmla="*/ 279101 w 1090712"/>
              <a:gd name="connsiteY149" fmla="*/ 250183 h 895572"/>
              <a:gd name="connsiteX150" fmla="*/ 284091 w 1090712"/>
              <a:gd name="connsiteY150" fmla="*/ 238066 h 895572"/>
              <a:gd name="connsiteX151" fmla="*/ 289318 w 1090712"/>
              <a:gd name="connsiteY151" fmla="*/ 226900 h 895572"/>
              <a:gd name="connsiteX152" fmla="*/ 292406 w 1090712"/>
              <a:gd name="connsiteY152" fmla="*/ 221673 h 895572"/>
              <a:gd name="connsiteX153" fmla="*/ 295495 w 1090712"/>
              <a:gd name="connsiteY153" fmla="*/ 217158 h 895572"/>
              <a:gd name="connsiteX154" fmla="*/ 298584 w 1090712"/>
              <a:gd name="connsiteY154" fmla="*/ 212406 h 895572"/>
              <a:gd name="connsiteX155" fmla="*/ 302148 w 1090712"/>
              <a:gd name="connsiteY155" fmla="*/ 208367 h 895572"/>
              <a:gd name="connsiteX156" fmla="*/ 305711 w 1090712"/>
              <a:gd name="connsiteY156" fmla="*/ 204328 h 895572"/>
              <a:gd name="connsiteX157" fmla="*/ 309275 w 1090712"/>
              <a:gd name="connsiteY157" fmla="*/ 200765 h 895572"/>
              <a:gd name="connsiteX158" fmla="*/ 313314 w 1090712"/>
              <a:gd name="connsiteY158" fmla="*/ 197201 h 895572"/>
              <a:gd name="connsiteX159" fmla="*/ 317354 w 1090712"/>
              <a:gd name="connsiteY159" fmla="*/ 194112 h 895572"/>
              <a:gd name="connsiteX160" fmla="*/ 321868 w 1090712"/>
              <a:gd name="connsiteY160" fmla="*/ 191498 h 895572"/>
              <a:gd name="connsiteX161" fmla="*/ 326382 w 1090712"/>
              <a:gd name="connsiteY161" fmla="*/ 188647 h 895572"/>
              <a:gd name="connsiteX162" fmla="*/ 330659 w 1090712"/>
              <a:gd name="connsiteY162" fmla="*/ 186509 h 895572"/>
              <a:gd name="connsiteX163" fmla="*/ 335648 w 1090712"/>
              <a:gd name="connsiteY163" fmla="*/ 184371 h 895572"/>
              <a:gd name="connsiteX164" fmla="*/ 340637 w 1090712"/>
              <a:gd name="connsiteY164" fmla="*/ 182470 h 895572"/>
              <a:gd name="connsiteX165" fmla="*/ 345864 w 1090712"/>
              <a:gd name="connsiteY165" fmla="*/ 181282 h 895572"/>
              <a:gd name="connsiteX166" fmla="*/ 351091 w 1090712"/>
              <a:gd name="connsiteY166" fmla="*/ 179856 h 895572"/>
              <a:gd name="connsiteX167" fmla="*/ 357031 w 1090712"/>
              <a:gd name="connsiteY167" fmla="*/ 178431 h 895572"/>
              <a:gd name="connsiteX168" fmla="*/ 368911 w 1090712"/>
              <a:gd name="connsiteY168" fmla="*/ 177243 h 895572"/>
              <a:gd name="connsiteX169" fmla="*/ 381978 w 1090712"/>
              <a:gd name="connsiteY169" fmla="*/ 176768 h 895572"/>
              <a:gd name="connsiteX170" fmla="*/ 609353 w 1090712"/>
              <a:gd name="connsiteY170" fmla="*/ 174629 h 895572"/>
              <a:gd name="connsiteX171" fmla="*/ 602463 w 1090712"/>
              <a:gd name="connsiteY171" fmla="*/ 180807 h 895572"/>
              <a:gd name="connsiteX172" fmla="*/ 596285 w 1090712"/>
              <a:gd name="connsiteY172" fmla="*/ 187459 h 895572"/>
              <a:gd name="connsiteX173" fmla="*/ 583931 w 1090712"/>
              <a:gd name="connsiteY173" fmla="*/ 201715 h 895572"/>
              <a:gd name="connsiteX174" fmla="*/ 571101 w 1090712"/>
              <a:gd name="connsiteY174" fmla="*/ 215495 h 895572"/>
              <a:gd name="connsiteX175" fmla="*/ 564686 w 1090712"/>
              <a:gd name="connsiteY175" fmla="*/ 222148 h 895572"/>
              <a:gd name="connsiteX176" fmla="*/ 558508 w 1090712"/>
              <a:gd name="connsiteY176" fmla="*/ 228325 h 895572"/>
              <a:gd name="connsiteX177" fmla="*/ 557558 w 1090712"/>
              <a:gd name="connsiteY177" fmla="*/ 223335 h 895572"/>
              <a:gd name="connsiteX178" fmla="*/ 557083 w 1090712"/>
              <a:gd name="connsiteY178" fmla="*/ 219059 h 895572"/>
              <a:gd name="connsiteX179" fmla="*/ 557083 w 1090712"/>
              <a:gd name="connsiteY179" fmla="*/ 215020 h 895572"/>
              <a:gd name="connsiteX180" fmla="*/ 557558 w 1090712"/>
              <a:gd name="connsiteY180" fmla="*/ 210981 h 895572"/>
              <a:gd name="connsiteX181" fmla="*/ 558508 w 1090712"/>
              <a:gd name="connsiteY181" fmla="*/ 207417 h 895572"/>
              <a:gd name="connsiteX182" fmla="*/ 560409 w 1090712"/>
              <a:gd name="connsiteY182" fmla="*/ 203853 h 895572"/>
              <a:gd name="connsiteX183" fmla="*/ 562072 w 1090712"/>
              <a:gd name="connsiteY183" fmla="*/ 200764 h 895572"/>
              <a:gd name="connsiteX184" fmla="*/ 564686 w 1090712"/>
              <a:gd name="connsiteY184" fmla="*/ 197676 h 895572"/>
              <a:gd name="connsiteX185" fmla="*/ 567774 w 1090712"/>
              <a:gd name="connsiteY185" fmla="*/ 194587 h 895572"/>
              <a:gd name="connsiteX186" fmla="*/ 571813 w 1090712"/>
              <a:gd name="connsiteY186" fmla="*/ 191973 h 895572"/>
              <a:gd name="connsiteX187" fmla="*/ 576328 w 1090712"/>
              <a:gd name="connsiteY187" fmla="*/ 188647 h 895572"/>
              <a:gd name="connsiteX188" fmla="*/ 581317 w 1090712"/>
              <a:gd name="connsiteY188" fmla="*/ 186034 h 895572"/>
              <a:gd name="connsiteX189" fmla="*/ 587019 w 1090712"/>
              <a:gd name="connsiteY189" fmla="*/ 183420 h 895572"/>
              <a:gd name="connsiteX190" fmla="*/ 593672 w 1090712"/>
              <a:gd name="connsiteY190" fmla="*/ 180332 h 895572"/>
              <a:gd name="connsiteX191" fmla="*/ 586544 w 1090712"/>
              <a:gd name="connsiteY191" fmla="*/ 0 h 895572"/>
              <a:gd name="connsiteX192" fmla="*/ 570150 w 1090712"/>
              <a:gd name="connsiteY192" fmla="*/ 2851 h 895572"/>
              <a:gd name="connsiteX193" fmla="*/ 553519 w 1090712"/>
              <a:gd name="connsiteY193" fmla="*/ 5940 h 895572"/>
              <a:gd name="connsiteX194" fmla="*/ 536650 w 1090712"/>
              <a:gd name="connsiteY194" fmla="*/ 10454 h 895572"/>
              <a:gd name="connsiteX195" fmla="*/ 520256 w 1090712"/>
              <a:gd name="connsiteY195" fmla="*/ 14731 h 895572"/>
              <a:gd name="connsiteX196" fmla="*/ 486993 w 1090712"/>
              <a:gd name="connsiteY196" fmla="*/ 24472 h 895572"/>
              <a:gd name="connsiteX197" fmla="*/ 469887 w 1090712"/>
              <a:gd name="connsiteY197" fmla="*/ 28986 h 895572"/>
              <a:gd name="connsiteX198" fmla="*/ 453493 w 1090712"/>
              <a:gd name="connsiteY198" fmla="*/ 33500 h 895572"/>
              <a:gd name="connsiteX199" fmla="*/ 438762 w 1090712"/>
              <a:gd name="connsiteY199" fmla="*/ 40153 h 895572"/>
              <a:gd name="connsiteX200" fmla="*/ 424507 w 1090712"/>
              <a:gd name="connsiteY200" fmla="*/ 47281 h 895572"/>
              <a:gd name="connsiteX201" fmla="*/ 417379 w 1090712"/>
              <a:gd name="connsiteY201" fmla="*/ 51320 h 895572"/>
              <a:gd name="connsiteX202" fmla="*/ 410727 w 1090712"/>
              <a:gd name="connsiteY202" fmla="*/ 55834 h 895572"/>
              <a:gd name="connsiteX203" fmla="*/ 403599 w 1090712"/>
              <a:gd name="connsiteY203" fmla="*/ 60111 h 895572"/>
              <a:gd name="connsiteX204" fmla="*/ 397422 w 1090712"/>
              <a:gd name="connsiteY204" fmla="*/ 65100 h 895572"/>
              <a:gd name="connsiteX205" fmla="*/ 390769 w 1090712"/>
              <a:gd name="connsiteY205" fmla="*/ 69852 h 895572"/>
              <a:gd name="connsiteX206" fmla="*/ 384592 w 1090712"/>
              <a:gd name="connsiteY206" fmla="*/ 75792 h 895572"/>
              <a:gd name="connsiteX207" fmla="*/ 378889 w 1090712"/>
              <a:gd name="connsiteY207" fmla="*/ 81494 h 895572"/>
              <a:gd name="connsiteX208" fmla="*/ 372950 w 1090712"/>
              <a:gd name="connsiteY208" fmla="*/ 87671 h 895572"/>
              <a:gd name="connsiteX209" fmla="*/ 367723 w 1090712"/>
              <a:gd name="connsiteY209" fmla="*/ 94324 h 895572"/>
              <a:gd name="connsiteX210" fmla="*/ 362733 w 1090712"/>
              <a:gd name="connsiteY210" fmla="*/ 101452 h 895572"/>
              <a:gd name="connsiteX211" fmla="*/ 357981 w 1090712"/>
              <a:gd name="connsiteY211" fmla="*/ 109055 h 895572"/>
              <a:gd name="connsiteX212" fmla="*/ 353467 w 1090712"/>
              <a:gd name="connsiteY212" fmla="*/ 117608 h 895572"/>
              <a:gd name="connsiteX213" fmla="*/ 409064 w 1090712"/>
              <a:gd name="connsiteY213" fmla="*/ 117608 h 895572"/>
              <a:gd name="connsiteX214" fmla="*/ 406925 w 1090712"/>
              <a:gd name="connsiteY214" fmla="*/ 119271 h 895572"/>
              <a:gd name="connsiteX215" fmla="*/ 404074 w 1090712"/>
              <a:gd name="connsiteY215" fmla="*/ 121647 h 895572"/>
              <a:gd name="connsiteX216" fmla="*/ 400510 w 1090712"/>
              <a:gd name="connsiteY216" fmla="*/ 123310 h 895572"/>
              <a:gd name="connsiteX217" fmla="*/ 397422 w 1090712"/>
              <a:gd name="connsiteY217" fmla="*/ 125211 h 895572"/>
              <a:gd name="connsiteX218" fmla="*/ 393383 w 1090712"/>
              <a:gd name="connsiteY218" fmla="*/ 126399 h 895572"/>
              <a:gd name="connsiteX219" fmla="*/ 389581 w 1090712"/>
              <a:gd name="connsiteY219" fmla="*/ 127824 h 895572"/>
              <a:gd name="connsiteX220" fmla="*/ 385542 w 1090712"/>
              <a:gd name="connsiteY220" fmla="*/ 128299 h 895572"/>
              <a:gd name="connsiteX221" fmla="*/ 381503 w 1090712"/>
              <a:gd name="connsiteY221" fmla="*/ 128774 h 895572"/>
              <a:gd name="connsiteX222" fmla="*/ 375326 w 1090712"/>
              <a:gd name="connsiteY222" fmla="*/ 130438 h 895572"/>
              <a:gd name="connsiteX223" fmla="*/ 368435 w 1090712"/>
              <a:gd name="connsiteY223" fmla="*/ 131863 h 895572"/>
              <a:gd name="connsiteX224" fmla="*/ 361783 w 1090712"/>
              <a:gd name="connsiteY224" fmla="*/ 133051 h 895572"/>
              <a:gd name="connsiteX225" fmla="*/ 355606 w 1090712"/>
              <a:gd name="connsiteY225" fmla="*/ 134001 h 895572"/>
              <a:gd name="connsiteX226" fmla="*/ 342300 w 1090712"/>
              <a:gd name="connsiteY226" fmla="*/ 135427 h 895572"/>
              <a:gd name="connsiteX227" fmla="*/ 329471 w 1090712"/>
              <a:gd name="connsiteY227" fmla="*/ 137090 h 895572"/>
              <a:gd name="connsiteX228" fmla="*/ 322818 w 1090712"/>
              <a:gd name="connsiteY228" fmla="*/ 138040 h 895572"/>
              <a:gd name="connsiteX229" fmla="*/ 316403 w 1090712"/>
              <a:gd name="connsiteY229" fmla="*/ 139704 h 895572"/>
              <a:gd name="connsiteX230" fmla="*/ 310226 w 1090712"/>
              <a:gd name="connsiteY230" fmla="*/ 141604 h 895572"/>
              <a:gd name="connsiteX231" fmla="*/ 304048 w 1090712"/>
              <a:gd name="connsiteY231" fmla="*/ 144218 h 895572"/>
              <a:gd name="connsiteX232" fmla="*/ 298346 w 1090712"/>
              <a:gd name="connsiteY232" fmla="*/ 147307 h 895572"/>
              <a:gd name="connsiteX233" fmla="*/ 292406 w 1090712"/>
              <a:gd name="connsiteY233" fmla="*/ 151346 h 895572"/>
              <a:gd name="connsiteX234" fmla="*/ 286704 w 1090712"/>
              <a:gd name="connsiteY234" fmla="*/ 156335 h 895572"/>
              <a:gd name="connsiteX235" fmla="*/ 281240 w 1090712"/>
              <a:gd name="connsiteY235" fmla="*/ 162037 h 895572"/>
              <a:gd name="connsiteX236" fmla="*/ 262232 w 1090712"/>
              <a:gd name="connsiteY236" fmla="*/ 182945 h 895572"/>
              <a:gd name="connsiteX237" fmla="*/ 242987 w 1090712"/>
              <a:gd name="connsiteY237" fmla="*/ 203378 h 895572"/>
              <a:gd name="connsiteX238" fmla="*/ 203547 w 1090712"/>
              <a:gd name="connsiteY238" fmla="*/ 244006 h 895572"/>
              <a:gd name="connsiteX239" fmla="*/ 183827 w 1090712"/>
              <a:gd name="connsiteY239" fmla="*/ 264439 h 895572"/>
              <a:gd name="connsiteX240" fmla="*/ 164345 w 1090712"/>
              <a:gd name="connsiteY240" fmla="*/ 285822 h 895572"/>
              <a:gd name="connsiteX241" fmla="*/ 144862 w 1090712"/>
              <a:gd name="connsiteY241" fmla="*/ 307443 h 895572"/>
              <a:gd name="connsiteX242" fmla="*/ 126093 w 1090712"/>
              <a:gd name="connsiteY242" fmla="*/ 329777 h 895572"/>
              <a:gd name="connsiteX243" fmla="*/ 122054 w 1090712"/>
              <a:gd name="connsiteY243" fmla="*/ 335004 h 895572"/>
              <a:gd name="connsiteX244" fmla="*/ 118015 w 1090712"/>
              <a:gd name="connsiteY244" fmla="*/ 340468 h 895572"/>
              <a:gd name="connsiteX245" fmla="*/ 110887 w 1090712"/>
              <a:gd name="connsiteY245" fmla="*/ 352110 h 895572"/>
              <a:gd name="connsiteX246" fmla="*/ 104709 w 1090712"/>
              <a:gd name="connsiteY246" fmla="*/ 363514 h 895572"/>
              <a:gd name="connsiteX247" fmla="*/ 99007 w 1090712"/>
              <a:gd name="connsiteY247" fmla="*/ 375156 h 895572"/>
              <a:gd name="connsiteX248" fmla="*/ 87840 w 1090712"/>
              <a:gd name="connsiteY248" fmla="*/ 400103 h 895572"/>
              <a:gd name="connsiteX249" fmla="*/ 82138 w 1090712"/>
              <a:gd name="connsiteY249" fmla="*/ 412458 h 895572"/>
              <a:gd name="connsiteX250" fmla="*/ 75723 w 1090712"/>
              <a:gd name="connsiteY250" fmla="*/ 425050 h 895572"/>
              <a:gd name="connsiteX251" fmla="*/ 75723 w 1090712"/>
              <a:gd name="connsiteY251" fmla="*/ 429802 h 895572"/>
              <a:gd name="connsiteX252" fmla="*/ 76674 w 1090712"/>
              <a:gd name="connsiteY252" fmla="*/ 436217 h 895572"/>
              <a:gd name="connsiteX253" fmla="*/ 77149 w 1090712"/>
              <a:gd name="connsiteY253" fmla="*/ 439306 h 895572"/>
              <a:gd name="connsiteX254" fmla="*/ 78574 w 1090712"/>
              <a:gd name="connsiteY254" fmla="*/ 442395 h 895572"/>
              <a:gd name="connsiteX255" fmla="*/ 79762 w 1090712"/>
              <a:gd name="connsiteY255" fmla="*/ 445008 h 895572"/>
              <a:gd name="connsiteX256" fmla="*/ 81663 w 1090712"/>
              <a:gd name="connsiteY256" fmla="*/ 447147 h 895572"/>
              <a:gd name="connsiteX257" fmla="*/ 94018 w 1090712"/>
              <a:gd name="connsiteY257" fmla="*/ 468055 h 895572"/>
              <a:gd name="connsiteX258" fmla="*/ 106848 w 1090712"/>
              <a:gd name="connsiteY258" fmla="*/ 488963 h 895572"/>
              <a:gd name="connsiteX259" fmla="*/ 113975 w 1090712"/>
              <a:gd name="connsiteY259" fmla="*/ 499654 h 895572"/>
              <a:gd name="connsiteX260" fmla="*/ 121103 w 1090712"/>
              <a:gd name="connsiteY260" fmla="*/ 510346 h 895572"/>
              <a:gd name="connsiteX261" fmla="*/ 128706 w 1090712"/>
              <a:gd name="connsiteY261" fmla="*/ 520562 h 895572"/>
              <a:gd name="connsiteX262" fmla="*/ 137259 w 1090712"/>
              <a:gd name="connsiteY262" fmla="*/ 531254 h 895572"/>
              <a:gd name="connsiteX263" fmla="*/ 149614 w 1090712"/>
              <a:gd name="connsiteY263" fmla="*/ 514385 h 895572"/>
              <a:gd name="connsiteX264" fmla="*/ 162206 w 1090712"/>
              <a:gd name="connsiteY264" fmla="*/ 498466 h 895572"/>
              <a:gd name="connsiteX265" fmla="*/ 174561 w 1090712"/>
              <a:gd name="connsiteY265" fmla="*/ 483260 h 895572"/>
              <a:gd name="connsiteX266" fmla="*/ 180739 w 1090712"/>
              <a:gd name="connsiteY266" fmla="*/ 476133 h 895572"/>
              <a:gd name="connsiteX267" fmla="*/ 186916 w 1090712"/>
              <a:gd name="connsiteY267" fmla="*/ 469480 h 895572"/>
              <a:gd name="connsiteX268" fmla="*/ 182639 w 1090712"/>
              <a:gd name="connsiteY268" fmla="*/ 482310 h 895572"/>
              <a:gd name="connsiteX269" fmla="*/ 178125 w 1090712"/>
              <a:gd name="connsiteY269" fmla="*/ 495615 h 895572"/>
              <a:gd name="connsiteX270" fmla="*/ 172423 w 1090712"/>
              <a:gd name="connsiteY270" fmla="*/ 509871 h 895572"/>
              <a:gd name="connsiteX271" fmla="*/ 164820 w 1090712"/>
              <a:gd name="connsiteY271" fmla="*/ 525552 h 895572"/>
              <a:gd name="connsiteX272" fmla="*/ 156267 w 1090712"/>
              <a:gd name="connsiteY272" fmla="*/ 538381 h 895572"/>
              <a:gd name="connsiteX273" fmla="*/ 152703 w 1090712"/>
              <a:gd name="connsiteY273" fmla="*/ 544559 h 895572"/>
              <a:gd name="connsiteX274" fmla="*/ 148664 w 1090712"/>
              <a:gd name="connsiteY274" fmla="*/ 551449 h 895572"/>
              <a:gd name="connsiteX275" fmla="*/ 145100 w 1090712"/>
              <a:gd name="connsiteY275" fmla="*/ 558339 h 895572"/>
              <a:gd name="connsiteX276" fmla="*/ 142011 w 1090712"/>
              <a:gd name="connsiteY276" fmla="*/ 565467 h 895572"/>
              <a:gd name="connsiteX277" fmla="*/ 139398 w 1090712"/>
              <a:gd name="connsiteY277" fmla="*/ 573070 h 895572"/>
              <a:gd name="connsiteX278" fmla="*/ 137259 w 1090712"/>
              <a:gd name="connsiteY278" fmla="*/ 581623 h 895572"/>
              <a:gd name="connsiteX279" fmla="*/ 136309 w 1090712"/>
              <a:gd name="connsiteY279" fmla="*/ 583761 h 895572"/>
              <a:gd name="connsiteX280" fmla="*/ 135359 w 1090712"/>
              <a:gd name="connsiteY280" fmla="*/ 586137 h 895572"/>
              <a:gd name="connsiteX281" fmla="*/ 134883 w 1090712"/>
              <a:gd name="connsiteY281" fmla="*/ 590889 h 895572"/>
              <a:gd name="connsiteX282" fmla="*/ 134883 w 1090712"/>
              <a:gd name="connsiteY282" fmla="*/ 595879 h 895572"/>
              <a:gd name="connsiteX283" fmla="*/ 135359 w 1090712"/>
              <a:gd name="connsiteY283" fmla="*/ 601106 h 895572"/>
              <a:gd name="connsiteX284" fmla="*/ 136784 w 1090712"/>
              <a:gd name="connsiteY284" fmla="*/ 606095 h 895572"/>
              <a:gd name="connsiteX285" fmla="*/ 138447 w 1090712"/>
              <a:gd name="connsiteY285" fmla="*/ 611322 h 895572"/>
              <a:gd name="connsiteX286" fmla="*/ 140348 w 1090712"/>
              <a:gd name="connsiteY286" fmla="*/ 616311 h 895572"/>
              <a:gd name="connsiteX287" fmla="*/ 142486 w 1090712"/>
              <a:gd name="connsiteY287" fmla="*/ 620826 h 895572"/>
              <a:gd name="connsiteX288" fmla="*/ 148664 w 1090712"/>
              <a:gd name="connsiteY288" fmla="*/ 629616 h 895572"/>
              <a:gd name="connsiteX289" fmla="*/ 155554 w 1090712"/>
              <a:gd name="connsiteY289" fmla="*/ 637219 h 895572"/>
              <a:gd name="connsiteX290" fmla="*/ 162444 w 1090712"/>
              <a:gd name="connsiteY290" fmla="*/ 643872 h 895572"/>
              <a:gd name="connsiteX291" fmla="*/ 169572 w 1090712"/>
              <a:gd name="connsiteY291" fmla="*/ 649099 h 895572"/>
              <a:gd name="connsiteX292" fmla="*/ 177175 w 1090712"/>
              <a:gd name="connsiteY292" fmla="*/ 653613 h 895572"/>
              <a:gd name="connsiteX293" fmla="*/ 184778 w 1090712"/>
              <a:gd name="connsiteY293" fmla="*/ 657177 h 895572"/>
              <a:gd name="connsiteX294" fmla="*/ 192856 w 1090712"/>
              <a:gd name="connsiteY294" fmla="*/ 659553 h 895572"/>
              <a:gd name="connsiteX295" fmla="*/ 200934 w 1090712"/>
              <a:gd name="connsiteY295" fmla="*/ 661216 h 895572"/>
              <a:gd name="connsiteX296" fmla="*/ 209250 w 1090712"/>
              <a:gd name="connsiteY296" fmla="*/ 661691 h 895572"/>
              <a:gd name="connsiteX297" fmla="*/ 218278 w 1090712"/>
              <a:gd name="connsiteY297" fmla="*/ 661691 h 895572"/>
              <a:gd name="connsiteX298" fmla="*/ 227069 w 1090712"/>
              <a:gd name="connsiteY298" fmla="*/ 660266 h 895572"/>
              <a:gd name="connsiteX299" fmla="*/ 236335 w 1090712"/>
              <a:gd name="connsiteY299" fmla="*/ 658603 h 895572"/>
              <a:gd name="connsiteX300" fmla="*/ 245838 w 1090712"/>
              <a:gd name="connsiteY300" fmla="*/ 655514 h 895572"/>
              <a:gd name="connsiteX301" fmla="*/ 255580 w 1090712"/>
              <a:gd name="connsiteY301" fmla="*/ 652425 h 895572"/>
              <a:gd name="connsiteX302" fmla="*/ 265321 w 1090712"/>
              <a:gd name="connsiteY302" fmla="*/ 647911 h 895572"/>
              <a:gd name="connsiteX303" fmla="*/ 276013 w 1090712"/>
              <a:gd name="connsiteY303" fmla="*/ 642922 h 895572"/>
              <a:gd name="connsiteX304" fmla="*/ 288367 w 1090712"/>
              <a:gd name="connsiteY304" fmla="*/ 635081 h 895572"/>
              <a:gd name="connsiteX305" fmla="*/ 301910 w 1090712"/>
              <a:gd name="connsiteY305" fmla="*/ 627478 h 895572"/>
              <a:gd name="connsiteX306" fmla="*/ 315215 w 1090712"/>
              <a:gd name="connsiteY306" fmla="*/ 620350 h 895572"/>
              <a:gd name="connsiteX307" fmla="*/ 329471 w 1090712"/>
              <a:gd name="connsiteY307" fmla="*/ 613698 h 895572"/>
              <a:gd name="connsiteX308" fmla="*/ 343726 w 1090712"/>
              <a:gd name="connsiteY308" fmla="*/ 607283 h 895572"/>
              <a:gd name="connsiteX309" fmla="*/ 357981 w 1090712"/>
              <a:gd name="connsiteY309" fmla="*/ 602056 h 895572"/>
              <a:gd name="connsiteX310" fmla="*/ 371999 w 1090712"/>
              <a:gd name="connsiteY310" fmla="*/ 597066 h 895572"/>
              <a:gd name="connsiteX311" fmla="*/ 386730 w 1090712"/>
              <a:gd name="connsiteY311" fmla="*/ 592790 h 895572"/>
              <a:gd name="connsiteX312" fmla="*/ 394808 w 1090712"/>
              <a:gd name="connsiteY312" fmla="*/ 590414 h 895572"/>
              <a:gd name="connsiteX313" fmla="*/ 402411 w 1090712"/>
              <a:gd name="connsiteY313" fmla="*/ 587325 h 895572"/>
              <a:gd name="connsiteX314" fmla="*/ 409064 w 1090712"/>
              <a:gd name="connsiteY314" fmla="*/ 583761 h 895572"/>
              <a:gd name="connsiteX315" fmla="*/ 411677 w 1090712"/>
              <a:gd name="connsiteY315" fmla="*/ 581623 h 895572"/>
              <a:gd name="connsiteX316" fmla="*/ 414766 w 1090712"/>
              <a:gd name="connsiteY316" fmla="*/ 579247 h 895572"/>
              <a:gd name="connsiteX317" fmla="*/ 417142 w 1090712"/>
              <a:gd name="connsiteY317" fmla="*/ 577109 h 895572"/>
              <a:gd name="connsiteX318" fmla="*/ 419280 w 1090712"/>
              <a:gd name="connsiteY318" fmla="*/ 574495 h 895572"/>
              <a:gd name="connsiteX319" fmla="*/ 420943 w 1090712"/>
              <a:gd name="connsiteY319" fmla="*/ 571407 h 895572"/>
              <a:gd name="connsiteX320" fmla="*/ 422844 w 1090712"/>
              <a:gd name="connsiteY320" fmla="*/ 568318 h 895572"/>
              <a:gd name="connsiteX321" fmla="*/ 424269 w 1090712"/>
              <a:gd name="connsiteY321" fmla="*/ 565229 h 895572"/>
              <a:gd name="connsiteX322" fmla="*/ 424982 w 1090712"/>
              <a:gd name="connsiteY322" fmla="*/ 561665 h 895572"/>
              <a:gd name="connsiteX323" fmla="*/ 425457 w 1090712"/>
              <a:gd name="connsiteY323" fmla="*/ 557626 h 895572"/>
              <a:gd name="connsiteX324" fmla="*/ 425932 w 1090712"/>
              <a:gd name="connsiteY324" fmla="*/ 553587 h 895572"/>
              <a:gd name="connsiteX325" fmla="*/ 425932 w 1090712"/>
              <a:gd name="connsiteY325" fmla="*/ 413884 h 895572"/>
              <a:gd name="connsiteX326" fmla="*/ 425932 w 1090712"/>
              <a:gd name="connsiteY326" fmla="*/ 285347 h 895572"/>
              <a:gd name="connsiteX327" fmla="*/ 429496 w 1090712"/>
              <a:gd name="connsiteY327" fmla="*/ 300078 h 895572"/>
              <a:gd name="connsiteX328" fmla="*/ 433060 w 1090712"/>
              <a:gd name="connsiteY328" fmla="*/ 314096 h 895572"/>
              <a:gd name="connsiteX329" fmla="*/ 436149 w 1090712"/>
              <a:gd name="connsiteY329" fmla="*/ 328826 h 895572"/>
              <a:gd name="connsiteX330" fmla="*/ 438762 w 1090712"/>
              <a:gd name="connsiteY330" fmla="*/ 343082 h 895572"/>
              <a:gd name="connsiteX331" fmla="*/ 443752 w 1090712"/>
              <a:gd name="connsiteY331" fmla="*/ 370642 h 895572"/>
              <a:gd name="connsiteX332" fmla="*/ 447791 w 1090712"/>
              <a:gd name="connsiteY332" fmla="*/ 397015 h 895572"/>
              <a:gd name="connsiteX333" fmla="*/ 451830 w 1090712"/>
              <a:gd name="connsiteY333" fmla="*/ 421962 h 895572"/>
              <a:gd name="connsiteX334" fmla="*/ 454919 w 1090712"/>
              <a:gd name="connsiteY334" fmla="*/ 446434 h 895572"/>
              <a:gd name="connsiteX335" fmla="*/ 456106 w 1090712"/>
              <a:gd name="connsiteY335" fmla="*/ 458313 h 895572"/>
              <a:gd name="connsiteX336" fmla="*/ 457057 w 1090712"/>
              <a:gd name="connsiteY336" fmla="*/ 470430 h 895572"/>
              <a:gd name="connsiteX337" fmla="*/ 457532 w 1090712"/>
              <a:gd name="connsiteY337" fmla="*/ 482310 h 895572"/>
              <a:gd name="connsiteX338" fmla="*/ 457532 w 1090712"/>
              <a:gd name="connsiteY338" fmla="*/ 493952 h 895572"/>
              <a:gd name="connsiteX339" fmla="*/ 457532 w 1090712"/>
              <a:gd name="connsiteY339" fmla="*/ 506069 h 895572"/>
              <a:gd name="connsiteX340" fmla="*/ 456582 w 1090712"/>
              <a:gd name="connsiteY340" fmla="*/ 517473 h 895572"/>
              <a:gd name="connsiteX341" fmla="*/ 455869 w 1090712"/>
              <a:gd name="connsiteY341" fmla="*/ 529116 h 895572"/>
              <a:gd name="connsiteX342" fmla="*/ 453968 w 1090712"/>
              <a:gd name="connsiteY342" fmla="*/ 540757 h 895572"/>
              <a:gd name="connsiteX343" fmla="*/ 452305 w 1090712"/>
              <a:gd name="connsiteY343" fmla="*/ 552162 h 895572"/>
              <a:gd name="connsiteX344" fmla="*/ 449454 w 1090712"/>
              <a:gd name="connsiteY344" fmla="*/ 563804 h 895572"/>
              <a:gd name="connsiteX345" fmla="*/ 446365 w 1090712"/>
              <a:gd name="connsiteY345" fmla="*/ 575446 h 895572"/>
              <a:gd name="connsiteX346" fmla="*/ 442326 w 1090712"/>
              <a:gd name="connsiteY346" fmla="*/ 586850 h 895572"/>
              <a:gd name="connsiteX347" fmla="*/ 440188 w 1090712"/>
              <a:gd name="connsiteY347" fmla="*/ 591364 h 895572"/>
              <a:gd name="connsiteX348" fmla="*/ 437574 w 1090712"/>
              <a:gd name="connsiteY348" fmla="*/ 595403 h 895572"/>
              <a:gd name="connsiteX349" fmla="*/ 434486 w 1090712"/>
              <a:gd name="connsiteY349" fmla="*/ 598967 h 895572"/>
              <a:gd name="connsiteX350" fmla="*/ 431397 w 1090712"/>
              <a:gd name="connsiteY350" fmla="*/ 602531 h 895572"/>
              <a:gd name="connsiteX351" fmla="*/ 428071 w 1090712"/>
              <a:gd name="connsiteY351" fmla="*/ 605145 h 895572"/>
              <a:gd name="connsiteX352" fmla="*/ 424982 w 1090712"/>
              <a:gd name="connsiteY352" fmla="*/ 607283 h 895572"/>
              <a:gd name="connsiteX353" fmla="*/ 422369 w 1090712"/>
              <a:gd name="connsiteY353" fmla="*/ 608708 h 895572"/>
              <a:gd name="connsiteX354" fmla="*/ 420230 w 1090712"/>
              <a:gd name="connsiteY354" fmla="*/ 609659 h 895572"/>
              <a:gd name="connsiteX355" fmla="*/ 410727 w 1090712"/>
              <a:gd name="connsiteY355" fmla="*/ 610847 h 895572"/>
              <a:gd name="connsiteX356" fmla="*/ 401461 w 1090712"/>
              <a:gd name="connsiteY356" fmla="*/ 612748 h 895572"/>
              <a:gd name="connsiteX357" fmla="*/ 392670 w 1090712"/>
              <a:gd name="connsiteY357" fmla="*/ 614886 h 895572"/>
              <a:gd name="connsiteX358" fmla="*/ 383641 w 1090712"/>
              <a:gd name="connsiteY358" fmla="*/ 617262 h 895572"/>
              <a:gd name="connsiteX359" fmla="*/ 374850 w 1090712"/>
              <a:gd name="connsiteY359" fmla="*/ 620350 h 895572"/>
              <a:gd name="connsiteX360" fmla="*/ 365822 w 1090712"/>
              <a:gd name="connsiteY360" fmla="*/ 623914 h 895572"/>
              <a:gd name="connsiteX361" fmla="*/ 348478 w 1090712"/>
              <a:gd name="connsiteY361" fmla="*/ 631042 h 895572"/>
              <a:gd name="connsiteX362" fmla="*/ 331609 w 1090712"/>
              <a:gd name="connsiteY362" fmla="*/ 639358 h 895572"/>
              <a:gd name="connsiteX363" fmla="*/ 314740 w 1090712"/>
              <a:gd name="connsiteY363" fmla="*/ 647911 h 895572"/>
              <a:gd name="connsiteX364" fmla="*/ 281240 w 1090712"/>
              <a:gd name="connsiteY364" fmla="*/ 665255 h 895572"/>
              <a:gd name="connsiteX365" fmla="*/ 274587 w 1090712"/>
              <a:gd name="connsiteY365" fmla="*/ 669294 h 895572"/>
              <a:gd name="connsiteX366" fmla="*/ 267935 w 1090712"/>
              <a:gd name="connsiteY366" fmla="*/ 672858 h 895572"/>
              <a:gd name="connsiteX367" fmla="*/ 261757 w 1090712"/>
              <a:gd name="connsiteY367" fmla="*/ 675947 h 895572"/>
              <a:gd name="connsiteX368" fmla="*/ 255105 w 1090712"/>
              <a:gd name="connsiteY368" fmla="*/ 679035 h 895572"/>
              <a:gd name="connsiteX369" fmla="*/ 248927 w 1090712"/>
              <a:gd name="connsiteY369" fmla="*/ 681174 h 895572"/>
              <a:gd name="connsiteX370" fmla="*/ 242987 w 1090712"/>
              <a:gd name="connsiteY370" fmla="*/ 683075 h 895572"/>
              <a:gd name="connsiteX371" fmla="*/ 236810 w 1090712"/>
              <a:gd name="connsiteY371" fmla="*/ 684738 h 895572"/>
              <a:gd name="connsiteX372" fmla="*/ 231108 w 1090712"/>
              <a:gd name="connsiteY372" fmla="*/ 686163 h 895572"/>
              <a:gd name="connsiteX373" fmla="*/ 225406 w 1090712"/>
              <a:gd name="connsiteY373" fmla="*/ 687114 h 895572"/>
              <a:gd name="connsiteX374" fmla="*/ 219466 w 1090712"/>
              <a:gd name="connsiteY374" fmla="*/ 687589 h 895572"/>
              <a:gd name="connsiteX375" fmla="*/ 213764 w 1090712"/>
              <a:gd name="connsiteY375" fmla="*/ 687589 h 895572"/>
              <a:gd name="connsiteX376" fmla="*/ 208299 w 1090712"/>
              <a:gd name="connsiteY376" fmla="*/ 687589 h 895572"/>
              <a:gd name="connsiteX377" fmla="*/ 203072 w 1090712"/>
              <a:gd name="connsiteY377" fmla="*/ 687114 h 895572"/>
              <a:gd name="connsiteX378" fmla="*/ 197607 w 1090712"/>
              <a:gd name="connsiteY378" fmla="*/ 686163 h 895572"/>
              <a:gd name="connsiteX379" fmla="*/ 192380 w 1090712"/>
              <a:gd name="connsiteY379" fmla="*/ 684738 h 895572"/>
              <a:gd name="connsiteX380" fmla="*/ 186916 w 1090712"/>
              <a:gd name="connsiteY380" fmla="*/ 683550 h 895572"/>
              <a:gd name="connsiteX381" fmla="*/ 181689 w 1090712"/>
              <a:gd name="connsiteY381" fmla="*/ 681649 h 895572"/>
              <a:gd name="connsiteX382" fmla="*/ 176699 w 1090712"/>
              <a:gd name="connsiteY382" fmla="*/ 679986 h 895572"/>
              <a:gd name="connsiteX383" fmla="*/ 171472 w 1090712"/>
              <a:gd name="connsiteY383" fmla="*/ 677610 h 895572"/>
              <a:gd name="connsiteX384" fmla="*/ 166483 w 1090712"/>
              <a:gd name="connsiteY384" fmla="*/ 674996 h 895572"/>
              <a:gd name="connsiteX385" fmla="*/ 156742 w 1090712"/>
              <a:gd name="connsiteY385" fmla="*/ 669294 h 895572"/>
              <a:gd name="connsiteX386" fmla="*/ 147001 w 1090712"/>
              <a:gd name="connsiteY386" fmla="*/ 662167 h 895572"/>
              <a:gd name="connsiteX387" fmla="*/ 137735 w 1090712"/>
              <a:gd name="connsiteY387" fmla="*/ 654564 h 895572"/>
              <a:gd name="connsiteX388" fmla="*/ 127756 w 1090712"/>
              <a:gd name="connsiteY388" fmla="*/ 645535 h 895572"/>
              <a:gd name="connsiteX389" fmla="*/ 118490 w 1090712"/>
              <a:gd name="connsiteY389" fmla="*/ 636269 h 895572"/>
              <a:gd name="connsiteX390" fmla="*/ 109224 w 1090712"/>
              <a:gd name="connsiteY390" fmla="*/ 626053 h 895572"/>
              <a:gd name="connsiteX391" fmla="*/ 107323 w 1090712"/>
              <a:gd name="connsiteY391" fmla="*/ 623914 h 895572"/>
              <a:gd name="connsiteX392" fmla="*/ 106135 w 1090712"/>
              <a:gd name="connsiteY392" fmla="*/ 620350 h 895572"/>
              <a:gd name="connsiteX393" fmla="*/ 105185 w 1090712"/>
              <a:gd name="connsiteY393" fmla="*/ 616311 h 895572"/>
              <a:gd name="connsiteX394" fmla="*/ 105185 w 1090712"/>
              <a:gd name="connsiteY394" fmla="*/ 612272 h 895572"/>
              <a:gd name="connsiteX395" fmla="*/ 105185 w 1090712"/>
              <a:gd name="connsiteY395" fmla="*/ 608233 h 895572"/>
              <a:gd name="connsiteX396" fmla="*/ 106135 w 1090712"/>
              <a:gd name="connsiteY396" fmla="*/ 604194 h 895572"/>
              <a:gd name="connsiteX397" fmla="*/ 107323 w 1090712"/>
              <a:gd name="connsiteY397" fmla="*/ 600630 h 895572"/>
              <a:gd name="connsiteX398" fmla="*/ 109224 w 1090712"/>
              <a:gd name="connsiteY398" fmla="*/ 598017 h 895572"/>
              <a:gd name="connsiteX399" fmla="*/ 111837 w 1090712"/>
              <a:gd name="connsiteY399" fmla="*/ 591840 h 895572"/>
              <a:gd name="connsiteX400" fmla="*/ 113975 w 1090712"/>
              <a:gd name="connsiteY400" fmla="*/ 586137 h 895572"/>
              <a:gd name="connsiteX401" fmla="*/ 115401 w 1090712"/>
              <a:gd name="connsiteY401" fmla="*/ 579722 h 895572"/>
              <a:gd name="connsiteX402" fmla="*/ 115876 w 1090712"/>
              <a:gd name="connsiteY402" fmla="*/ 574020 h 895572"/>
              <a:gd name="connsiteX403" fmla="*/ 115876 w 1090712"/>
              <a:gd name="connsiteY403" fmla="*/ 568318 h 895572"/>
              <a:gd name="connsiteX404" fmla="*/ 115401 w 1090712"/>
              <a:gd name="connsiteY404" fmla="*/ 562378 h 895572"/>
              <a:gd name="connsiteX405" fmla="*/ 114451 w 1090712"/>
              <a:gd name="connsiteY405" fmla="*/ 557151 h 895572"/>
              <a:gd name="connsiteX406" fmla="*/ 112788 w 1090712"/>
              <a:gd name="connsiteY406" fmla="*/ 551449 h 895572"/>
              <a:gd name="connsiteX407" fmla="*/ 110412 w 1090712"/>
              <a:gd name="connsiteY407" fmla="*/ 545984 h 895572"/>
              <a:gd name="connsiteX408" fmla="*/ 108273 w 1090712"/>
              <a:gd name="connsiteY408" fmla="*/ 540757 h 895572"/>
              <a:gd name="connsiteX409" fmla="*/ 105185 w 1090712"/>
              <a:gd name="connsiteY409" fmla="*/ 535293 h 895572"/>
              <a:gd name="connsiteX410" fmla="*/ 102096 w 1090712"/>
              <a:gd name="connsiteY410" fmla="*/ 530066 h 895572"/>
              <a:gd name="connsiteX411" fmla="*/ 94968 w 1090712"/>
              <a:gd name="connsiteY411" fmla="*/ 519374 h 895572"/>
              <a:gd name="connsiteX412" fmla="*/ 86890 w 1090712"/>
              <a:gd name="connsiteY412" fmla="*/ 508683 h 895572"/>
              <a:gd name="connsiteX413" fmla="*/ 78812 w 1090712"/>
              <a:gd name="connsiteY413" fmla="*/ 497991 h 895572"/>
              <a:gd name="connsiteX414" fmla="*/ 70972 w 1090712"/>
              <a:gd name="connsiteY414" fmla="*/ 486824 h 895572"/>
              <a:gd name="connsiteX415" fmla="*/ 67408 w 1090712"/>
              <a:gd name="connsiteY415" fmla="*/ 481122 h 895572"/>
              <a:gd name="connsiteX416" fmla="*/ 64319 w 1090712"/>
              <a:gd name="connsiteY416" fmla="*/ 474707 h 895572"/>
              <a:gd name="connsiteX417" fmla="*/ 61230 w 1090712"/>
              <a:gd name="connsiteY417" fmla="*/ 469005 h 895572"/>
              <a:gd name="connsiteX418" fmla="*/ 58379 w 1090712"/>
              <a:gd name="connsiteY418" fmla="*/ 462828 h 895572"/>
              <a:gd name="connsiteX419" fmla="*/ 56716 w 1090712"/>
              <a:gd name="connsiteY419" fmla="*/ 456175 h 895572"/>
              <a:gd name="connsiteX420" fmla="*/ 54815 w 1090712"/>
              <a:gd name="connsiteY420" fmla="*/ 449998 h 895572"/>
              <a:gd name="connsiteX421" fmla="*/ 54103 w 1090712"/>
              <a:gd name="connsiteY421" fmla="*/ 443345 h 895572"/>
              <a:gd name="connsiteX422" fmla="*/ 53627 w 1090712"/>
              <a:gd name="connsiteY422" fmla="*/ 436455 h 895572"/>
              <a:gd name="connsiteX423" fmla="*/ 53627 w 1090712"/>
              <a:gd name="connsiteY423" fmla="*/ 429327 h 895572"/>
              <a:gd name="connsiteX424" fmla="*/ 54815 w 1090712"/>
              <a:gd name="connsiteY424" fmla="*/ 422675 h 895572"/>
              <a:gd name="connsiteX425" fmla="*/ 56716 w 1090712"/>
              <a:gd name="connsiteY425" fmla="*/ 415547 h 895572"/>
              <a:gd name="connsiteX426" fmla="*/ 59330 w 1090712"/>
              <a:gd name="connsiteY426" fmla="*/ 408182 h 895572"/>
              <a:gd name="connsiteX427" fmla="*/ 60280 w 1090712"/>
              <a:gd name="connsiteY427" fmla="*/ 403192 h 895572"/>
              <a:gd name="connsiteX428" fmla="*/ 61943 w 1090712"/>
              <a:gd name="connsiteY428" fmla="*/ 397965 h 895572"/>
              <a:gd name="connsiteX429" fmla="*/ 65507 w 1090712"/>
              <a:gd name="connsiteY429" fmla="*/ 387986 h 895572"/>
              <a:gd name="connsiteX430" fmla="*/ 69546 w 1090712"/>
              <a:gd name="connsiteY430" fmla="*/ 378720 h 895572"/>
              <a:gd name="connsiteX431" fmla="*/ 74535 w 1090712"/>
              <a:gd name="connsiteY431" fmla="*/ 369929 h 895572"/>
              <a:gd name="connsiteX432" fmla="*/ 79762 w 1090712"/>
              <a:gd name="connsiteY432" fmla="*/ 360901 h 895572"/>
              <a:gd name="connsiteX433" fmla="*/ 85940 w 1090712"/>
              <a:gd name="connsiteY433" fmla="*/ 352585 h 895572"/>
              <a:gd name="connsiteX434" fmla="*/ 98057 w 1090712"/>
              <a:gd name="connsiteY434" fmla="*/ 335479 h 895572"/>
              <a:gd name="connsiteX435" fmla="*/ 102571 w 1090712"/>
              <a:gd name="connsiteY435" fmla="*/ 328113 h 895572"/>
              <a:gd name="connsiteX436" fmla="*/ 106848 w 1090712"/>
              <a:gd name="connsiteY436" fmla="*/ 320986 h 895572"/>
              <a:gd name="connsiteX437" fmla="*/ 116827 w 1090712"/>
              <a:gd name="connsiteY437" fmla="*/ 307205 h 895572"/>
              <a:gd name="connsiteX438" fmla="*/ 127043 w 1090712"/>
              <a:gd name="connsiteY438" fmla="*/ 293188 h 895572"/>
              <a:gd name="connsiteX439" fmla="*/ 137735 w 1090712"/>
              <a:gd name="connsiteY439" fmla="*/ 279407 h 895572"/>
              <a:gd name="connsiteX440" fmla="*/ 159831 w 1090712"/>
              <a:gd name="connsiteY440" fmla="*/ 251847 h 895572"/>
              <a:gd name="connsiteX441" fmla="*/ 170522 w 1090712"/>
              <a:gd name="connsiteY441" fmla="*/ 238066 h 895572"/>
              <a:gd name="connsiteX442" fmla="*/ 181214 w 1090712"/>
              <a:gd name="connsiteY442" fmla="*/ 223336 h 895572"/>
              <a:gd name="connsiteX443" fmla="*/ 164820 w 1090712"/>
              <a:gd name="connsiteY443" fmla="*/ 223336 h 895572"/>
              <a:gd name="connsiteX444" fmla="*/ 137972 w 1090712"/>
              <a:gd name="connsiteY444" fmla="*/ 230226 h 895572"/>
              <a:gd name="connsiteX445" fmla="*/ 125142 w 1090712"/>
              <a:gd name="connsiteY445" fmla="*/ 233790 h 895572"/>
              <a:gd name="connsiteX446" fmla="*/ 112788 w 1090712"/>
              <a:gd name="connsiteY446" fmla="*/ 237591 h 895572"/>
              <a:gd name="connsiteX447" fmla="*/ 100195 w 1090712"/>
              <a:gd name="connsiteY447" fmla="*/ 241630 h 895572"/>
              <a:gd name="connsiteX448" fmla="*/ 87840 w 1090712"/>
              <a:gd name="connsiteY448" fmla="*/ 245669 h 895572"/>
              <a:gd name="connsiteX449" fmla="*/ 75723 w 1090712"/>
              <a:gd name="connsiteY449" fmla="*/ 250183 h 895572"/>
              <a:gd name="connsiteX450" fmla="*/ 64319 w 1090712"/>
              <a:gd name="connsiteY450" fmla="*/ 254935 h 895572"/>
              <a:gd name="connsiteX451" fmla="*/ 52677 w 1090712"/>
              <a:gd name="connsiteY451" fmla="*/ 260400 h 895572"/>
              <a:gd name="connsiteX452" fmla="*/ 41035 w 1090712"/>
              <a:gd name="connsiteY452" fmla="*/ 265627 h 895572"/>
              <a:gd name="connsiteX453" fmla="*/ 29868 w 1090712"/>
              <a:gd name="connsiteY453" fmla="*/ 271567 h 895572"/>
              <a:gd name="connsiteX454" fmla="*/ 18939 w 1090712"/>
              <a:gd name="connsiteY454" fmla="*/ 277744 h 895572"/>
              <a:gd name="connsiteX455" fmla="*/ 7772 w 1090712"/>
              <a:gd name="connsiteY455" fmla="*/ 284397 h 895572"/>
              <a:gd name="connsiteX456" fmla="*/ 0 w 1090712"/>
              <a:gd name="connsiteY456" fmla="*/ 289924 h 895572"/>
              <a:gd name="connsiteX457" fmla="*/ 0 w 1090712"/>
              <a:gd name="connsiteY457" fmla="*/ 895572 h 895572"/>
              <a:gd name="connsiteX458" fmla="*/ 125653 w 1090712"/>
              <a:gd name="connsiteY458" fmla="*/ 895572 h 895572"/>
              <a:gd name="connsiteX459" fmla="*/ 127756 w 1090712"/>
              <a:gd name="connsiteY459" fmla="*/ 892155 h 895572"/>
              <a:gd name="connsiteX460" fmla="*/ 131082 w 1090712"/>
              <a:gd name="connsiteY460" fmla="*/ 885502 h 895572"/>
              <a:gd name="connsiteX461" fmla="*/ 133696 w 1090712"/>
              <a:gd name="connsiteY461" fmla="*/ 878374 h 895572"/>
              <a:gd name="connsiteX462" fmla="*/ 135834 w 1090712"/>
              <a:gd name="connsiteY462" fmla="*/ 871722 h 895572"/>
              <a:gd name="connsiteX463" fmla="*/ 137735 w 1090712"/>
              <a:gd name="connsiteY463" fmla="*/ 864594 h 895572"/>
              <a:gd name="connsiteX464" fmla="*/ 138923 w 1090712"/>
              <a:gd name="connsiteY464" fmla="*/ 857466 h 895572"/>
              <a:gd name="connsiteX465" fmla="*/ 140348 w 1090712"/>
              <a:gd name="connsiteY465" fmla="*/ 850339 h 895572"/>
              <a:gd name="connsiteX466" fmla="*/ 141298 w 1090712"/>
              <a:gd name="connsiteY466" fmla="*/ 843211 h 895572"/>
              <a:gd name="connsiteX467" fmla="*/ 142011 w 1090712"/>
              <a:gd name="connsiteY467" fmla="*/ 828955 h 895572"/>
              <a:gd name="connsiteX468" fmla="*/ 142486 w 1090712"/>
              <a:gd name="connsiteY468" fmla="*/ 814225 h 895572"/>
              <a:gd name="connsiteX469" fmla="*/ 142486 w 1090712"/>
              <a:gd name="connsiteY469" fmla="*/ 799494 h 895572"/>
              <a:gd name="connsiteX470" fmla="*/ 142486 w 1090712"/>
              <a:gd name="connsiteY470" fmla="*/ 782625 h 895572"/>
              <a:gd name="connsiteX471" fmla="*/ 142486 w 1090712"/>
              <a:gd name="connsiteY471" fmla="*/ 771458 h 895572"/>
              <a:gd name="connsiteX472" fmla="*/ 143912 w 1090712"/>
              <a:gd name="connsiteY472" fmla="*/ 778586 h 895572"/>
              <a:gd name="connsiteX473" fmla="*/ 145100 w 1090712"/>
              <a:gd name="connsiteY473" fmla="*/ 784526 h 895572"/>
              <a:gd name="connsiteX474" fmla="*/ 147476 w 1090712"/>
              <a:gd name="connsiteY474" fmla="*/ 789753 h 895572"/>
              <a:gd name="connsiteX475" fmla="*/ 149614 w 1090712"/>
              <a:gd name="connsiteY475" fmla="*/ 794267 h 895572"/>
              <a:gd name="connsiteX476" fmla="*/ 152228 w 1090712"/>
              <a:gd name="connsiteY476" fmla="*/ 797831 h 895572"/>
              <a:gd name="connsiteX477" fmla="*/ 155554 w 1090712"/>
              <a:gd name="connsiteY477" fmla="*/ 801395 h 895572"/>
              <a:gd name="connsiteX478" fmla="*/ 158643 w 1090712"/>
              <a:gd name="connsiteY478" fmla="*/ 803533 h 895572"/>
              <a:gd name="connsiteX479" fmla="*/ 162206 w 1090712"/>
              <a:gd name="connsiteY479" fmla="*/ 805909 h 895572"/>
              <a:gd name="connsiteX480" fmla="*/ 165770 w 1090712"/>
              <a:gd name="connsiteY480" fmla="*/ 807572 h 895572"/>
              <a:gd name="connsiteX481" fmla="*/ 169572 w 1090712"/>
              <a:gd name="connsiteY481" fmla="*/ 808523 h 895572"/>
              <a:gd name="connsiteX482" fmla="*/ 174086 w 1090712"/>
              <a:gd name="connsiteY482" fmla="*/ 809473 h 895572"/>
              <a:gd name="connsiteX483" fmla="*/ 178600 w 1090712"/>
              <a:gd name="connsiteY483" fmla="*/ 810186 h 895572"/>
              <a:gd name="connsiteX484" fmla="*/ 187866 w 1090712"/>
              <a:gd name="connsiteY484" fmla="*/ 810661 h 895572"/>
              <a:gd name="connsiteX485" fmla="*/ 198083 w 1090712"/>
              <a:gd name="connsiteY485" fmla="*/ 810661 h 895572"/>
              <a:gd name="connsiteX486" fmla="*/ 236810 w 1090712"/>
              <a:gd name="connsiteY486" fmla="*/ 810661 h 895572"/>
              <a:gd name="connsiteX487" fmla="*/ 249640 w 1090712"/>
              <a:gd name="connsiteY487" fmla="*/ 811136 h 895572"/>
              <a:gd name="connsiteX488" fmla="*/ 263183 w 1090712"/>
              <a:gd name="connsiteY488" fmla="*/ 811611 h 895572"/>
              <a:gd name="connsiteX489" fmla="*/ 270310 w 1090712"/>
              <a:gd name="connsiteY489" fmla="*/ 811611 h 895572"/>
              <a:gd name="connsiteX490" fmla="*/ 276963 w 1090712"/>
              <a:gd name="connsiteY490" fmla="*/ 811136 h 895572"/>
              <a:gd name="connsiteX491" fmla="*/ 283140 w 1090712"/>
              <a:gd name="connsiteY491" fmla="*/ 810186 h 895572"/>
              <a:gd name="connsiteX492" fmla="*/ 289793 w 1090712"/>
              <a:gd name="connsiteY492" fmla="*/ 808523 h 895572"/>
              <a:gd name="connsiteX493" fmla="*/ 295495 w 1090712"/>
              <a:gd name="connsiteY493" fmla="*/ 806147 h 895572"/>
              <a:gd name="connsiteX494" fmla="*/ 301435 w 1090712"/>
              <a:gd name="connsiteY494" fmla="*/ 803058 h 895572"/>
              <a:gd name="connsiteX495" fmla="*/ 304524 w 1090712"/>
              <a:gd name="connsiteY495" fmla="*/ 801395 h 895572"/>
              <a:gd name="connsiteX496" fmla="*/ 307137 w 1090712"/>
              <a:gd name="connsiteY496" fmla="*/ 799256 h 895572"/>
              <a:gd name="connsiteX497" fmla="*/ 309275 w 1090712"/>
              <a:gd name="connsiteY497" fmla="*/ 796881 h 895572"/>
              <a:gd name="connsiteX498" fmla="*/ 312126 w 1090712"/>
              <a:gd name="connsiteY498" fmla="*/ 794267 h 895572"/>
              <a:gd name="connsiteX499" fmla="*/ 314265 w 1090712"/>
              <a:gd name="connsiteY499" fmla="*/ 791178 h 895572"/>
              <a:gd name="connsiteX500" fmla="*/ 316403 w 1090712"/>
              <a:gd name="connsiteY500" fmla="*/ 788090 h 895572"/>
              <a:gd name="connsiteX501" fmla="*/ 318304 w 1090712"/>
              <a:gd name="connsiteY501" fmla="*/ 784051 h 895572"/>
              <a:gd name="connsiteX502" fmla="*/ 319967 w 1090712"/>
              <a:gd name="connsiteY502" fmla="*/ 780012 h 895572"/>
              <a:gd name="connsiteX503" fmla="*/ 321868 w 1090712"/>
              <a:gd name="connsiteY503" fmla="*/ 775973 h 895572"/>
              <a:gd name="connsiteX504" fmla="*/ 323056 w 1090712"/>
              <a:gd name="connsiteY504" fmla="*/ 771221 h 895572"/>
              <a:gd name="connsiteX505" fmla="*/ 324481 w 1090712"/>
              <a:gd name="connsiteY505" fmla="*/ 765756 h 895572"/>
              <a:gd name="connsiteX506" fmla="*/ 325907 w 1090712"/>
              <a:gd name="connsiteY506" fmla="*/ 760529 h 895572"/>
              <a:gd name="connsiteX507" fmla="*/ 325907 w 1090712"/>
              <a:gd name="connsiteY507" fmla="*/ 827530 h 895572"/>
              <a:gd name="connsiteX508" fmla="*/ 310226 w 1090712"/>
              <a:gd name="connsiteY508" fmla="*/ 835608 h 895572"/>
              <a:gd name="connsiteX509" fmla="*/ 295970 w 1090712"/>
              <a:gd name="connsiteY509" fmla="*/ 843686 h 895572"/>
              <a:gd name="connsiteX510" fmla="*/ 282665 w 1090712"/>
              <a:gd name="connsiteY510" fmla="*/ 850339 h 895572"/>
              <a:gd name="connsiteX511" fmla="*/ 276488 w 1090712"/>
              <a:gd name="connsiteY511" fmla="*/ 852952 h 895572"/>
              <a:gd name="connsiteX512" fmla="*/ 270310 w 1090712"/>
              <a:gd name="connsiteY512" fmla="*/ 855565 h 895572"/>
              <a:gd name="connsiteX513" fmla="*/ 266271 w 1090712"/>
              <a:gd name="connsiteY513" fmla="*/ 857942 h 895572"/>
              <a:gd name="connsiteX514" fmla="*/ 262708 w 1090712"/>
              <a:gd name="connsiteY514" fmla="*/ 860080 h 895572"/>
              <a:gd name="connsiteX515" fmla="*/ 259619 w 1090712"/>
              <a:gd name="connsiteY515" fmla="*/ 862693 h 895572"/>
              <a:gd name="connsiteX516" fmla="*/ 256768 w 1090712"/>
              <a:gd name="connsiteY516" fmla="*/ 865544 h 895572"/>
              <a:gd name="connsiteX517" fmla="*/ 254154 w 1090712"/>
              <a:gd name="connsiteY517" fmla="*/ 868633 h 895572"/>
              <a:gd name="connsiteX518" fmla="*/ 252491 w 1090712"/>
              <a:gd name="connsiteY518" fmla="*/ 871722 h 895572"/>
              <a:gd name="connsiteX519" fmla="*/ 250590 w 1090712"/>
              <a:gd name="connsiteY519" fmla="*/ 874810 h 895572"/>
              <a:gd name="connsiteX520" fmla="*/ 249402 w 1090712"/>
              <a:gd name="connsiteY520" fmla="*/ 877899 h 895572"/>
              <a:gd name="connsiteX521" fmla="*/ 248452 w 1090712"/>
              <a:gd name="connsiteY521" fmla="*/ 880988 h 895572"/>
              <a:gd name="connsiteX522" fmla="*/ 247977 w 1090712"/>
              <a:gd name="connsiteY522" fmla="*/ 884076 h 895572"/>
              <a:gd name="connsiteX523" fmla="*/ 247977 w 1090712"/>
              <a:gd name="connsiteY523" fmla="*/ 887165 h 895572"/>
              <a:gd name="connsiteX524" fmla="*/ 248452 w 1090712"/>
              <a:gd name="connsiteY524" fmla="*/ 890016 h 895572"/>
              <a:gd name="connsiteX525" fmla="*/ 249402 w 1090712"/>
              <a:gd name="connsiteY525" fmla="*/ 893105 h 895572"/>
              <a:gd name="connsiteX526" fmla="*/ 250075 w 1090712"/>
              <a:gd name="connsiteY526" fmla="*/ 895572 h 895572"/>
              <a:gd name="connsiteX527" fmla="*/ 474750 w 1090712"/>
              <a:gd name="connsiteY527" fmla="*/ 895572 h 895572"/>
              <a:gd name="connsiteX528" fmla="*/ 475827 w 1090712"/>
              <a:gd name="connsiteY528" fmla="*/ 894768 h 895572"/>
              <a:gd name="connsiteX529" fmla="*/ 486993 w 1090712"/>
              <a:gd name="connsiteY529" fmla="*/ 882889 h 895572"/>
              <a:gd name="connsiteX530" fmla="*/ 497210 w 1090712"/>
              <a:gd name="connsiteY530" fmla="*/ 870296 h 895572"/>
              <a:gd name="connsiteX531" fmla="*/ 506951 w 1090712"/>
              <a:gd name="connsiteY531" fmla="*/ 857942 h 895572"/>
              <a:gd name="connsiteX532" fmla="*/ 515742 w 1090712"/>
              <a:gd name="connsiteY532" fmla="*/ 844636 h 895572"/>
              <a:gd name="connsiteX533" fmla="*/ 523820 w 1090712"/>
              <a:gd name="connsiteY533" fmla="*/ 831094 h 895572"/>
              <a:gd name="connsiteX534" fmla="*/ 531898 w 1090712"/>
              <a:gd name="connsiteY534" fmla="*/ 816838 h 895572"/>
              <a:gd name="connsiteX535" fmla="*/ 539026 w 1090712"/>
              <a:gd name="connsiteY535" fmla="*/ 802583 h 895572"/>
              <a:gd name="connsiteX536" fmla="*/ 545678 w 1090712"/>
              <a:gd name="connsiteY536" fmla="*/ 788565 h 895572"/>
              <a:gd name="connsiteX537" fmla="*/ 552331 w 1090712"/>
              <a:gd name="connsiteY537" fmla="*/ 773359 h 895572"/>
              <a:gd name="connsiteX538" fmla="*/ 558033 w 1090712"/>
              <a:gd name="connsiteY538" fmla="*/ 758628 h 895572"/>
              <a:gd name="connsiteX539" fmla="*/ 563498 w 1090712"/>
              <a:gd name="connsiteY539" fmla="*/ 743185 h 895572"/>
              <a:gd name="connsiteX540" fmla="*/ 568725 w 1090712"/>
              <a:gd name="connsiteY540" fmla="*/ 727979 h 895572"/>
              <a:gd name="connsiteX541" fmla="*/ 573714 w 1090712"/>
              <a:gd name="connsiteY541" fmla="*/ 712298 h 895572"/>
              <a:gd name="connsiteX542" fmla="*/ 577991 w 1090712"/>
              <a:gd name="connsiteY542" fmla="*/ 696855 h 895572"/>
              <a:gd name="connsiteX543" fmla="*/ 586544 w 1090712"/>
              <a:gd name="connsiteY543" fmla="*/ 665255 h 895572"/>
              <a:gd name="connsiteX544" fmla="*/ 586069 w 1090712"/>
              <a:gd name="connsiteY544" fmla="*/ 663117 h 895572"/>
              <a:gd name="connsiteX545" fmla="*/ 584881 w 1090712"/>
              <a:gd name="connsiteY545" fmla="*/ 660266 h 895572"/>
              <a:gd name="connsiteX546" fmla="*/ 582980 w 1090712"/>
              <a:gd name="connsiteY546" fmla="*/ 657177 h 895572"/>
              <a:gd name="connsiteX547" fmla="*/ 580367 w 1090712"/>
              <a:gd name="connsiteY547" fmla="*/ 654088 h 895572"/>
              <a:gd name="connsiteX548" fmla="*/ 574902 w 1090712"/>
              <a:gd name="connsiteY548" fmla="*/ 647911 h 895572"/>
              <a:gd name="connsiteX549" fmla="*/ 570150 w 1090712"/>
              <a:gd name="connsiteY549" fmla="*/ 642922 h 895572"/>
              <a:gd name="connsiteX550" fmla="*/ 565636 w 1090712"/>
              <a:gd name="connsiteY550" fmla="*/ 636744 h 895572"/>
              <a:gd name="connsiteX551" fmla="*/ 560647 w 1090712"/>
              <a:gd name="connsiteY551" fmla="*/ 631517 h 895572"/>
              <a:gd name="connsiteX552" fmla="*/ 555420 w 1090712"/>
              <a:gd name="connsiteY552" fmla="*/ 626053 h 895572"/>
              <a:gd name="connsiteX553" fmla="*/ 550193 w 1090712"/>
              <a:gd name="connsiteY553" fmla="*/ 621301 h 895572"/>
              <a:gd name="connsiteX554" fmla="*/ 544253 w 1090712"/>
              <a:gd name="connsiteY554" fmla="*/ 616787 h 895572"/>
              <a:gd name="connsiteX555" fmla="*/ 538075 w 1090712"/>
              <a:gd name="connsiteY555" fmla="*/ 612272 h 895572"/>
              <a:gd name="connsiteX556" fmla="*/ 525721 w 1090712"/>
              <a:gd name="connsiteY556" fmla="*/ 603719 h 895572"/>
              <a:gd name="connsiteX557" fmla="*/ 563023 w 1090712"/>
              <a:gd name="connsiteY557" fmla="*/ 619875 h 895572"/>
              <a:gd name="connsiteX558" fmla="*/ 581317 w 1090712"/>
              <a:gd name="connsiteY558" fmla="*/ 628191 h 895572"/>
              <a:gd name="connsiteX559" fmla="*/ 599374 w 1090712"/>
              <a:gd name="connsiteY559" fmla="*/ 636744 h 895572"/>
              <a:gd name="connsiteX560" fmla="*/ 607927 w 1090712"/>
              <a:gd name="connsiteY560" fmla="*/ 641259 h 895572"/>
              <a:gd name="connsiteX561" fmla="*/ 616718 w 1090712"/>
              <a:gd name="connsiteY561" fmla="*/ 646010 h 895572"/>
              <a:gd name="connsiteX562" fmla="*/ 625271 w 1090712"/>
              <a:gd name="connsiteY562" fmla="*/ 651000 h 895572"/>
              <a:gd name="connsiteX563" fmla="*/ 633349 w 1090712"/>
              <a:gd name="connsiteY563" fmla="*/ 656227 h 895572"/>
              <a:gd name="connsiteX564" fmla="*/ 641665 w 1090712"/>
              <a:gd name="connsiteY564" fmla="*/ 662167 h 895572"/>
              <a:gd name="connsiteX565" fmla="*/ 649268 w 1090712"/>
              <a:gd name="connsiteY565" fmla="*/ 668344 h 895572"/>
              <a:gd name="connsiteX566" fmla="*/ 656871 w 1090712"/>
              <a:gd name="connsiteY566" fmla="*/ 674996 h 895572"/>
              <a:gd name="connsiteX567" fmla="*/ 664474 w 1090712"/>
              <a:gd name="connsiteY567" fmla="*/ 682124 h 895572"/>
              <a:gd name="connsiteX568" fmla="*/ 668988 w 1090712"/>
              <a:gd name="connsiteY568" fmla="*/ 686163 h 895572"/>
              <a:gd name="connsiteX569" fmla="*/ 672790 w 1090712"/>
              <a:gd name="connsiteY569" fmla="*/ 690202 h 895572"/>
              <a:gd name="connsiteX570" fmla="*/ 677304 w 1090712"/>
              <a:gd name="connsiteY570" fmla="*/ 693291 h 895572"/>
              <a:gd name="connsiteX571" fmla="*/ 682293 w 1090712"/>
              <a:gd name="connsiteY571" fmla="*/ 696855 h 895572"/>
              <a:gd name="connsiteX572" fmla="*/ 686570 w 1090712"/>
              <a:gd name="connsiteY572" fmla="*/ 699468 h 895572"/>
              <a:gd name="connsiteX573" fmla="*/ 691559 w 1090712"/>
              <a:gd name="connsiteY573" fmla="*/ 702082 h 895572"/>
              <a:gd name="connsiteX574" fmla="*/ 696549 w 1090712"/>
              <a:gd name="connsiteY574" fmla="*/ 703983 h 895572"/>
              <a:gd name="connsiteX575" fmla="*/ 701300 w 1090712"/>
              <a:gd name="connsiteY575" fmla="*/ 705646 h 895572"/>
              <a:gd name="connsiteX576" fmla="*/ 706290 w 1090712"/>
              <a:gd name="connsiteY576" fmla="*/ 707071 h 895572"/>
              <a:gd name="connsiteX577" fmla="*/ 711042 w 1090712"/>
              <a:gd name="connsiteY577" fmla="*/ 708497 h 895572"/>
              <a:gd name="connsiteX578" fmla="*/ 716506 w 1090712"/>
              <a:gd name="connsiteY578" fmla="*/ 708734 h 895572"/>
              <a:gd name="connsiteX579" fmla="*/ 721258 w 1090712"/>
              <a:gd name="connsiteY579" fmla="*/ 708734 h 895572"/>
              <a:gd name="connsiteX580" fmla="*/ 726723 w 1090712"/>
              <a:gd name="connsiteY580" fmla="*/ 708497 h 895572"/>
              <a:gd name="connsiteX581" fmla="*/ 731712 w 1090712"/>
              <a:gd name="connsiteY581" fmla="*/ 707546 h 895572"/>
              <a:gd name="connsiteX582" fmla="*/ 736939 w 1090712"/>
              <a:gd name="connsiteY582" fmla="*/ 706121 h 895572"/>
              <a:gd name="connsiteX583" fmla="*/ 742166 w 1090712"/>
              <a:gd name="connsiteY583" fmla="*/ 704458 h 895572"/>
              <a:gd name="connsiteX584" fmla="*/ 749294 w 1090712"/>
              <a:gd name="connsiteY584" fmla="*/ 702082 h 895572"/>
              <a:gd name="connsiteX585" fmla="*/ 756184 w 1090712"/>
              <a:gd name="connsiteY585" fmla="*/ 699468 h 895572"/>
              <a:gd name="connsiteX586" fmla="*/ 762361 w 1090712"/>
              <a:gd name="connsiteY586" fmla="*/ 696380 h 895572"/>
              <a:gd name="connsiteX587" fmla="*/ 768063 w 1090712"/>
              <a:gd name="connsiteY587" fmla="*/ 692816 h 895572"/>
              <a:gd name="connsiteX588" fmla="*/ 773528 w 1090712"/>
              <a:gd name="connsiteY588" fmla="*/ 689252 h 895572"/>
              <a:gd name="connsiteX589" fmla="*/ 778755 w 1090712"/>
              <a:gd name="connsiteY589" fmla="*/ 684738 h 895572"/>
              <a:gd name="connsiteX590" fmla="*/ 783269 w 1090712"/>
              <a:gd name="connsiteY590" fmla="*/ 680461 h 895572"/>
              <a:gd name="connsiteX591" fmla="*/ 787308 w 1090712"/>
              <a:gd name="connsiteY591" fmla="*/ 674996 h 895572"/>
              <a:gd name="connsiteX592" fmla="*/ 791110 w 1090712"/>
              <a:gd name="connsiteY592" fmla="*/ 669769 h 895572"/>
              <a:gd name="connsiteX593" fmla="*/ 794436 w 1090712"/>
              <a:gd name="connsiteY593" fmla="*/ 663830 h 895572"/>
              <a:gd name="connsiteX594" fmla="*/ 797050 w 1090712"/>
              <a:gd name="connsiteY594" fmla="*/ 657652 h 895572"/>
              <a:gd name="connsiteX595" fmla="*/ 799188 w 1090712"/>
              <a:gd name="connsiteY595" fmla="*/ 651000 h 895572"/>
              <a:gd name="connsiteX596" fmla="*/ 801089 w 1090712"/>
              <a:gd name="connsiteY596" fmla="*/ 643872 h 895572"/>
              <a:gd name="connsiteX597" fmla="*/ 802277 w 1090712"/>
              <a:gd name="connsiteY597" fmla="*/ 636744 h 895572"/>
              <a:gd name="connsiteX598" fmla="*/ 803227 w 1090712"/>
              <a:gd name="connsiteY598" fmla="*/ 628666 h 895572"/>
              <a:gd name="connsiteX599" fmla="*/ 803227 w 1090712"/>
              <a:gd name="connsiteY599" fmla="*/ 620826 h 895572"/>
              <a:gd name="connsiteX600" fmla="*/ 801089 w 1090712"/>
              <a:gd name="connsiteY600" fmla="*/ 622489 h 895572"/>
              <a:gd name="connsiteX601" fmla="*/ 798238 w 1090712"/>
              <a:gd name="connsiteY601" fmla="*/ 623914 h 895572"/>
              <a:gd name="connsiteX602" fmla="*/ 793011 w 1090712"/>
              <a:gd name="connsiteY602" fmla="*/ 626053 h 895572"/>
              <a:gd name="connsiteX603" fmla="*/ 790397 w 1090712"/>
              <a:gd name="connsiteY603" fmla="*/ 627478 h 895572"/>
              <a:gd name="connsiteX604" fmla="*/ 788496 w 1090712"/>
              <a:gd name="connsiteY604" fmla="*/ 628191 h 895572"/>
              <a:gd name="connsiteX605" fmla="*/ 787308 w 1090712"/>
              <a:gd name="connsiteY605" fmla="*/ 630092 h 895572"/>
              <a:gd name="connsiteX606" fmla="*/ 786833 w 1090712"/>
              <a:gd name="connsiteY606" fmla="*/ 631755 h 895572"/>
              <a:gd name="connsiteX607" fmla="*/ 785408 w 1090712"/>
              <a:gd name="connsiteY607" fmla="*/ 635794 h 895572"/>
              <a:gd name="connsiteX608" fmla="*/ 784220 w 1090712"/>
              <a:gd name="connsiteY608" fmla="*/ 639833 h 895572"/>
              <a:gd name="connsiteX609" fmla="*/ 780656 w 1090712"/>
              <a:gd name="connsiteY609" fmla="*/ 646485 h 895572"/>
              <a:gd name="connsiteX610" fmla="*/ 776617 w 1090712"/>
              <a:gd name="connsiteY610" fmla="*/ 653138 h 895572"/>
              <a:gd name="connsiteX611" fmla="*/ 772103 w 1090712"/>
              <a:gd name="connsiteY611" fmla="*/ 659078 h 895572"/>
              <a:gd name="connsiteX612" fmla="*/ 762361 w 1090712"/>
              <a:gd name="connsiteY612" fmla="*/ 670007 h 895572"/>
              <a:gd name="connsiteX613" fmla="*/ 757847 w 1090712"/>
              <a:gd name="connsiteY613" fmla="*/ 675947 h 895572"/>
              <a:gd name="connsiteX614" fmla="*/ 753333 w 1090712"/>
              <a:gd name="connsiteY614" fmla="*/ 682124 h 895572"/>
              <a:gd name="connsiteX615" fmla="*/ 750244 w 1090712"/>
              <a:gd name="connsiteY615" fmla="*/ 684738 h 895572"/>
              <a:gd name="connsiteX616" fmla="*/ 747155 w 1090712"/>
              <a:gd name="connsiteY616" fmla="*/ 687589 h 895572"/>
              <a:gd name="connsiteX617" fmla="*/ 744067 w 1090712"/>
              <a:gd name="connsiteY617" fmla="*/ 689252 h 895572"/>
              <a:gd name="connsiteX618" fmla="*/ 740978 w 1090712"/>
              <a:gd name="connsiteY618" fmla="*/ 690915 h 895572"/>
              <a:gd name="connsiteX619" fmla="*/ 737890 w 1090712"/>
              <a:gd name="connsiteY619" fmla="*/ 691865 h 895572"/>
              <a:gd name="connsiteX620" fmla="*/ 734801 w 1090712"/>
              <a:gd name="connsiteY620" fmla="*/ 692816 h 895572"/>
              <a:gd name="connsiteX621" fmla="*/ 731950 w 1090712"/>
              <a:gd name="connsiteY621" fmla="*/ 693291 h 895572"/>
              <a:gd name="connsiteX622" fmla="*/ 728861 w 1090712"/>
              <a:gd name="connsiteY622" fmla="*/ 693291 h 895572"/>
              <a:gd name="connsiteX623" fmla="*/ 723634 w 1090712"/>
              <a:gd name="connsiteY623" fmla="*/ 692816 h 895572"/>
              <a:gd name="connsiteX624" fmla="*/ 718169 w 1090712"/>
              <a:gd name="connsiteY624" fmla="*/ 691390 h 895572"/>
              <a:gd name="connsiteX625" fmla="*/ 713418 w 1090712"/>
              <a:gd name="connsiteY625" fmla="*/ 689727 h 895572"/>
              <a:gd name="connsiteX626" fmla="*/ 708903 w 1090712"/>
              <a:gd name="connsiteY626" fmla="*/ 687826 h 895572"/>
              <a:gd name="connsiteX627" fmla="*/ 706765 w 1090712"/>
              <a:gd name="connsiteY627" fmla="*/ 687589 h 895572"/>
              <a:gd name="connsiteX628" fmla="*/ 704864 w 1090712"/>
              <a:gd name="connsiteY628" fmla="*/ 687114 h 895572"/>
              <a:gd name="connsiteX629" fmla="*/ 703201 w 1090712"/>
              <a:gd name="connsiteY629" fmla="*/ 686163 h 895572"/>
              <a:gd name="connsiteX630" fmla="*/ 701776 w 1090712"/>
              <a:gd name="connsiteY630" fmla="*/ 684738 h 895572"/>
              <a:gd name="connsiteX631" fmla="*/ 698687 w 1090712"/>
              <a:gd name="connsiteY631" fmla="*/ 681649 h 895572"/>
              <a:gd name="connsiteX632" fmla="*/ 696549 w 1090712"/>
              <a:gd name="connsiteY632" fmla="*/ 678085 h 895572"/>
              <a:gd name="connsiteX633" fmla="*/ 694648 w 1090712"/>
              <a:gd name="connsiteY633" fmla="*/ 673571 h 895572"/>
              <a:gd name="connsiteX634" fmla="*/ 693460 w 1090712"/>
              <a:gd name="connsiteY634" fmla="*/ 668819 h 895572"/>
              <a:gd name="connsiteX635" fmla="*/ 692510 w 1090712"/>
              <a:gd name="connsiteY635" fmla="*/ 664305 h 895572"/>
              <a:gd name="connsiteX636" fmla="*/ 692510 w 1090712"/>
              <a:gd name="connsiteY636" fmla="*/ 659790 h 895572"/>
              <a:gd name="connsiteX637" fmla="*/ 692510 w 1090712"/>
              <a:gd name="connsiteY637" fmla="*/ 647436 h 895572"/>
              <a:gd name="connsiteX638" fmla="*/ 693460 w 1090712"/>
              <a:gd name="connsiteY638" fmla="*/ 635319 h 895572"/>
              <a:gd name="connsiteX639" fmla="*/ 694173 w 1090712"/>
              <a:gd name="connsiteY639" fmla="*/ 624389 h 895572"/>
              <a:gd name="connsiteX640" fmla="*/ 695598 w 1090712"/>
              <a:gd name="connsiteY640" fmla="*/ 612748 h 895572"/>
              <a:gd name="connsiteX641" fmla="*/ 699162 w 1090712"/>
              <a:gd name="connsiteY641" fmla="*/ 591364 h 895572"/>
              <a:gd name="connsiteX642" fmla="*/ 703676 w 1090712"/>
              <a:gd name="connsiteY642" fmla="*/ 570456 h 895572"/>
              <a:gd name="connsiteX643" fmla="*/ 720070 w 1090712"/>
              <a:gd name="connsiteY643" fmla="*/ 574971 h 895572"/>
              <a:gd name="connsiteX644" fmla="*/ 736939 w 1090712"/>
              <a:gd name="connsiteY644" fmla="*/ 579247 h 895572"/>
              <a:gd name="connsiteX645" fmla="*/ 770677 w 1090712"/>
              <a:gd name="connsiteY645" fmla="*/ 589226 h 895572"/>
              <a:gd name="connsiteX646" fmla="*/ 788021 w 1090712"/>
              <a:gd name="connsiteY646" fmla="*/ 593503 h 895572"/>
              <a:gd name="connsiteX647" fmla="*/ 805365 w 1090712"/>
              <a:gd name="connsiteY647" fmla="*/ 597542 h 895572"/>
              <a:gd name="connsiteX648" fmla="*/ 823660 w 1090712"/>
              <a:gd name="connsiteY648" fmla="*/ 601106 h 895572"/>
              <a:gd name="connsiteX649" fmla="*/ 841954 w 1090712"/>
              <a:gd name="connsiteY649" fmla="*/ 603719 h 895572"/>
              <a:gd name="connsiteX650" fmla="*/ 861437 w 1090712"/>
              <a:gd name="connsiteY650" fmla="*/ 606570 h 895572"/>
              <a:gd name="connsiteX651" fmla="*/ 880682 w 1090712"/>
              <a:gd name="connsiteY651" fmla="*/ 608233 h 895572"/>
              <a:gd name="connsiteX652" fmla="*/ 889948 w 1090712"/>
              <a:gd name="connsiteY652" fmla="*/ 608708 h 895572"/>
              <a:gd name="connsiteX653" fmla="*/ 898976 w 1090712"/>
              <a:gd name="connsiteY653" fmla="*/ 608708 h 895572"/>
              <a:gd name="connsiteX654" fmla="*/ 908242 w 1090712"/>
              <a:gd name="connsiteY654" fmla="*/ 608708 h 895572"/>
              <a:gd name="connsiteX655" fmla="*/ 916795 w 1090712"/>
              <a:gd name="connsiteY655" fmla="*/ 608233 h 895572"/>
              <a:gd name="connsiteX656" fmla="*/ 925586 w 1090712"/>
              <a:gd name="connsiteY656" fmla="*/ 607283 h 895572"/>
              <a:gd name="connsiteX657" fmla="*/ 934140 w 1090712"/>
              <a:gd name="connsiteY657" fmla="*/ 606095 h 895572"/>
              <a:gd name="connsiteX658" fmla="*/ 942455 w 1090712"/>
              <a:gd name="connsiteY658" fmla="*/ 604669 h 895572"/>
              <a:gd name="connsiteX659" fmla="*/ 950533 w 1090712"/>
              <a:gd name="connsiteY659" fmla="*/ 603006 h 895572"/>
              <a:gd name="connsiteX660" fmla="*/ 958611 w 1090712"/>
              <a:gd name="connsiteY660" fmla="*/ 600630 h 895572"/>
              <a:gd name="connsiteX661" fmla="*/ 966452 w 1090712"/>
              <a:gd name="connsiteY661" fmla="*/ 598017 h 895572"/>
              <a:gd name="connsiteX662" fmla="*/ 974055 w 1090712"/>
              <a:gd name="connsiteY662" fmla="*/ 595403 h 895572"/>
              <a:gd name="connsiteX663" fmla="*/ 981658 w 1090712"/>
              <a:gd name="connsiteY663" fmla="*/ 591840 h 895572"/>
              <a:gd name="connsiteX664" fmla="*/ 989261 w 1090712"/>
              <a:gd name="connsiteY664" fmla="*/ 588276 h 895572"/>
              <a:gd name="connsiteX665" fmla="*/ 996388 w 1090712"/>
              <a:gd name="connsiteY665" fmla="*/ 584237 h 895572"/>
              <a:gd name="connsiteX666" fmla="*/ 1003041 w 1090712"/>
              <a:gd name="connsiteY666" fmla="*/ 579247 h 895572"/>
              <a:gd name="connsiteX667" fmla="*/ 1009694 w 1090712"/>
              <a:gd name="connsiteY667" fmla="*/ 574495 h 895572"/>
              <a:gd name="connsiteX668" fmla="*/ 1016346 w 1090712"/>
              <a:gd name="connsiteY668" fmla="*/ 569031 h 895572"/>
              <a:gd name="connsiteX669" fmla="*/ 1022998 w 1090712"/>
              <a:gd name="connsiteY669" fmla="*/ 562853 h 895572"/>
              <a:gd name="connsiteX670" fmla="*/ 1029176 w 1090712"/>
              <a:gd name="connsiteY670" fmla="*/ 556676 h 895572"/>
              <a:gd name="connsiteX671" fmla="*/ 1035116 w 1090712"/>
              <a:gd name="connsiteY671" fmla="*/ 549548 h 895572"/>
              <a:gd name="connsiteX672" fmla="*/ 1040818 w 1090712"/>
              <a:gd name="connsiteY672" fmla="*/ 541945 h 895572"/>
              <a:gd name="connsiteX673" fmla="*/ 1046520 w 1090712"/>
              <a:gd name="connsiteY673" fmla="*/ 534342 h 895572"/>
              <a:gd name="connsiteX674" fmla="*/ 1051985 w 1090712"/>
              <a:gd name="connsiteY674" fmla="*/ 526027 h 895572"/>
              <a:gd name="connsiteX675" fmla="*/ 1056737 w 1090712"/>
              <a:gd name="connsiteY675" fmla="*/ 516523 h 895572"/>
              <a:gd name="connsiteX676" fmla="*/ 1061726 w 1090712"/>
              <a:gd name="connsiteY676" fmla="*/ 507257 h 895572"/>
              <a:gd name="connsiteX677" fmla="*/ 1066715 w 1090712"/>
              <a:gd name="connsiteY677" fmla="*/ 497041 h 895572"/>
              <a:gd name="connsiteX678" fmla="*/ 1070992 w 1090712"/>
              <a:gd name="connsiteY678" fmla="*/ 486349 h 895572"/>
              <a:gd name="connsiteX679" fmla="*/ 1075506 w 1090712"/>
              <a:gd name="connsiteY679" fmla="*/ 475182 h 895572"/>
              <a:gd name="connsiteX680" fmla="*/ 1079070 w 1090712"/>
              <a:gd name="connsiteY680" fmla="*/ 462828 h 895572"/>
              <a:gd name="connsiteX681" fmla="*/ 1082634 w 1090712"/>
              <a:gd name="connsiteY681" fmla="*/ 449998 h 895572"/>
              <a:gd name="connsiteX682" fmla="*/ 1084772 w 1090712"/>
              <a:gd name="connsiteY682" fmla="*/ 437405 h 895572"/>
              <a:gd name="connsiteX683" fmla="*/ 1087148 w 1090712"/>
              <a:gd name="connsiteY683" fmla="*/ 425050 h 895572"/>
              <a:gd name="connsiteX684" fmla="*/ 1088811 w 1090712"/>
              <a:gd name="connsiteY684" fmla="*/ 411983 h 895572"/>
              <a:gd name="connsiteX685" fmla="*/ 1089762 w 1090712"/>
              <a:gd name="connsiteY685" fmla="*/ 399628 h 895572"/>
              <a:gd name="connsiteX686" fmla="*/ 1090712 w 1090712"/>
              <a:gd name="connsiteY686" fmla="*/ 386798 h 895572"/>
              <a:gd name="connsiteX687" fmla="*/ 1090712 w 1090712"/>
              <a:gd name="connsiteY687" fmla="*/ 373731 h 895572"/>
              <a:gd name="connsiteX688" fmla="*/ 1090712 w 1090712"/>
              <a:gd name="connsiteY688" fmla="*/ 360901 h 895572"/>
              <a:gd name="connsiteX689" fmla="*/ 1089762 w 1090712"/>
              <a:gd name="connsiteY689" fmla="*/ 348071 h 895572"/>
              <a:gd name="connsiteX690" fmla="*/ 1088811 w 1090712"/>
              <a:gd name="connsiteY690" fmla="*/ 335004 h 895572"/>
              <a:gd name="connsiteX691" fmla="*/ 1088099 w 1090712"/>
              <a:gd name="connsiteY691" fmla="*/ 321698 h 895572"/>
              <a:gd name="connsiteX692" fmla="*/ 1084772 w 1090712"/>
              <a:gd name="connsiteY692" fmla="*/ 295563 h 895572"/>
              <a:gd name="connsiteX693" fmla="*/ 1080971 w 1090712"/>
              <a:gd name="connsiteY693" fmla="*/ 268478 h 895572"/>
              <a:gd name="connsiteX694" fmla="*/ 1078595 w 1090712"/>
              <a:gd name="connsiteY694" fmla="*/ 258262 h 895572"/>
              <a:gd name="connsiteX695" fmla="*/ 1075981 w 1090712"/>
              <a:gd name="connsiteY695" fmla="*/ 248283 h 895572"/>
              <a:gd name="connsiteX696" fmla="*/ 1072417 w 1090712"/>
              <a:gd name="connsiteY696" fmla="*/ 238542 h 895572"/>
              <a:gd name="connsiteX697" fmla="*/ 1069329 w 1090712"/>
              <a:gd name="connsiteY697" fmla="*/ 229275 h 895572"/>
              <a:gd name="connsiteX698" fmla="*/ 1061251 w 1090712"/>
              <a:gd name="connsiteY698" fmla="*/ 210031 h 895572"/>
              <a:gd name="connsiteX699" fmla="*/ 1053173 w 1090712"/>
              <a:gd name="connsiteY699" fmla="*/ 190073 h 895572"/>
              <a:gd name="connsiteX700" fmla="*/ 1051034 w 1090712"/>
              <a:gd name="connsiteY700" fmla="*/ 186034 h 895572"/>
              <a:gd name="connsiteX701" fmla="*/ 1048896 w 1090712"/>
              <a:gd name="connsiteY701" fmla="*/ 182470 h 895572"/>
              <a:gd name="connsiteX702" fmla="*/ 1046045 w 1090712"/>
              <a:gd name="connsiteY702" fmla="*/ 179381 h 895572"/>
              <a:gd name="connsiteX703" fmla="*/ 1043906 w 1090712"/>
              <a:gd name="connsiteY703" fmla="*/ 176768 h 895572"/>
              <a:gd name="connsiteX704" fmla="*/ 1041293 w 1090712"/>
              <a:gd name="connsiteY704" fmla="*/ 174630 h 895572"/>
              <a:gd name="connsiteX705" fmla="*/ 1038680 w 1090712"/>
              <a:gd name="connsiteY705" fmla="*/ 172729 h 895572"/>
              <a:gd name="connsiteX706" fmla="*/ 1035828 w 1090712"/>
              <a:gd name="connsiteY706" fmla="*/ 171303 h 895572"/>
              <a:gd name="connsiteX707" fmla="*/ 1032740 w 1090712"/>
              <a:gd name="connsiteY707" fmla="*/ 170591 h 895572"/>
              <a:gd name="connsiteX708" fmla="*/ 1030126 w 1090712"/>
              <a:gd name="connsiteY708" fmla="*/ 170591 h 895572"/>
              <a:gd name="connsiteX709" fmla="*/ 1027038 w 1090712"/>
              <a:gd name="connsiteY709" fmla="*/ 170591 h 895572"/>
              <a:gd name="connsiteX710" fmla="*/ 1024424 w 1090712"/>
              <a:gd name="connsiteY710" fmla="*/ 171303 h 895572"/>
              <a:gd name="connsiteX711" fmla="*/ 1021335 w 1090712"/>
              <a:gd name="connsiteY711" fmla="*/ 172729 h 895572"/>
              <a:gd name="connsiteX712" fmla="*/ 1018247 w 1090712"/>
              <a:gd name="connsiteY712" fmla="*/ 174867 h 895572"/>
              <a:gd name="connsiteX713" fmla="*/ 1014920 w 1090712"/>
              <a:gd name="connsiteY713" fmla="*/ 177718 h 895572"/>
              <a:gd name="connsiteX714" fmla="*/ 1011832 w 1090712"/>
              <a:gd name="connsiteY714" fmla="*/ 180807 h 895572"/>
              <a:gd name="connsiteX715" fmla="*/ 1008743 w 1090712"/>
              <a:gd name="connsiteY715" fmla="*/ 184846 h 895572"/>
              <a:gd name="connsiteX716" fmla="*/ 991874 w 1090712"/>
              <a:gd name="connsiteY716" fmla="*/ 201240 h 895572"/>
              <a:gd name="connsiteX717" fmla="*/ 983321 w 1090712"/>
              <a:gd name="connsiteY717" fmla="*/ 209318 h 895572"/>
              <a:gd name="connsiteX718" fmla="*/ 974530 w 1090712"/>
              <a:gd name="connsiteY718" fmla="*/ 216683 h 895572"/>
              <a:gd name="connsiteX719" fmla="*/ 965739 w 1090712"/>
              <a:gd name="connsiteY719" fmla="*/ 223811 h 895572"/>
              <a:gd name="connsiteX720" fmla="*/ 956236 w 1090712"/>
              <a:gd name="connsiteY720" fmla="*/ 230226 h 895572"/>
              <a:gd name="connsiteX721" fmla="*/ 946494 w 1090712"/>
              <a:gd name="connsiteY721" fmla="*/ 235928 h 895572"/>
              <a:gd name="connsiteX722" fmla="*/ 941505 w 1090712"/>
              <a:gd name="connsiteY722" fmla="*/ 238066 h 895572"/>
              <a:gd name="connsiteX723" fmla="*/ 936753 w 1090712"/>
              <a:gd name="connsiteY723" fmla="*/ 240442 h 895572"/>
              <a:gd name="connsiteX724" fmla="*/ 932239 w 1090712"/>
              <a:gd name="connsiteY724" fmla="*/ 242581 h 895572"/>
              <a:gd name="connsiteX725" fmla="*/ 928675 w 1090712"/>
              <a:gd name="connsiteY725" fmla="*/ 245669 h 895572"/>
              <a:gd name="connsiteX726" fmla="*/ 925111 w 1090712"/>
              <a:gd name="connsiteY726" fmla="*/ 249233 h 895572"/>
              <a:gd name="connsiteX727" fmla="*/ 922022 w 1090712"/>
              <a:gd name="connsiteY727" fmla="*/ 252797 h 895572"/>
              <a:gd name="connsiteX728" fmla="*/ 919884 w 1090712"/>
              <a:gd name="connsiteY728" fmla="*/ 257311 h 895572"/>
              <a:gd name="connsiteX729" fmla="*/ 918934 w 1090712"/>
              <a:gd name="connsiteY729" fmla="*/ 259925 h 895572"/>
              <a:gd name="connsiteX730" fmla="*/ 918459 w 1090712"/>
              <a:gd name="connsiteY730" fmla="*/ 262538 h 895572"/>
              <a:gd name="connsiteX731" fmla="*/ 918459 w 1090712"/>
              <a:gd name="connsiteY731" fmla="*/ 265389 h 895572"/>
              <a:gd name="connsiteX732" fmla="*/ 918459 w 1090712"/>
              <a:gd name="connsiteY732" fmla="*/ 268003 h 895572"/>
              <a:gd name="connsiteX733" fmla="*/ 918934 w 1090712"/>
              <a:gd name="connsiteY733" fmla="*/ 271091 h 895572"/>
              <a:gd name="connsiteX734" fmla="*/ 919884 w 1090712"/>
              <a:gd name="connsiteY734" fmla="*/ 274180 h 895572"/>
              <a:gd name="connsiteX735" fmla="*/ 921547 w 1090712"/>
              <a:gd name="connsiteY735" fmla="*/ 282258 h 895572"/>
              <a:gd name="connsiteX736" fmla="*/ 922973 w 1090712"/>
              <a:gd name="connsiteY736" fmla="*/ 290574 h 895572"/>
              <a:gd name="connsiteX737" fmla="*/ 923923 w 1090712"/>
              <a:gd name="connsiteY737" fmla="*/ 299127 h 895572"/>
              <a:gd name="connsiteX738" fmla="*/ 924161 w 1090712"/>
              <a:gd name="connsiteY738" fmla="*/ 307443 h 895572"/>
              <a:gd name="connsiteX739" fmla="*/ 924161 w 1090712"/>
              <a:gd name="connsiteY739" fmla="*/ 315996 h 895572"/>
              <a:gd name="connsiteX740" fmla="*/ 923923 w 1090712"/>
              <a:gd name="connsiteY740" fmla="*/ 324550 h 895572"/>
              <a:gd name="connsiteX741" fmla="*/ 922973 w 1090712"/>
              <a:gd name="connsiteY741" fmla="*/ 332865 h 895572"/>
              <a:gd name="connsiteX742" fmla="*/ 922022 w 1090712"/>
              <a:gd name="connsiteY742" fmla="*/ 340943 h 895572"/>
              <a:gd name="connsiteX743" fmla="*/ 920597 w 1090712"/>
              <a:gd name="connsiteY743" fmla="*/ 349259 h 895572"/>
              <a:gd name="connsiteX744" fmla="*/ 918934 w 1090712"/>
              <a:gd name="connsiteY744" fmla="*/ 357812 h 895572"/>
              <a:gd name="connsiteX745" fmla="*/ 914420 w 1090712"/>
              <a:gd name="connsiteY745" fmla="*/ 374681 h 895572"/>
              <a:gd name="connsiteX746" fmla="*/ 909192 w 1090712"/>
              <a:gd name="connsiteY746" fmla="*/ 391075 h 895572"/>
              <a:gd name="connsiteX747" fmla="*/ 903253 w 1090712"/>
              <a:gd name="connsiteY747" fmla="*/ 408182 h 895572"/>
              <a:gd name="connsiteX748" fmla="*/ 903253 w 1090712"/>
              <a:gd name="connsiteY748" fmla="*/ 397965 h 895572"/>
              <a:gd name="connsiteX749" fmla="*/ 904203 w 1090712"/>
              <a:gd name="connsiteY749" fmla="*/ 387274 h 895572"/>
              <a:gd name="connsiteX750" fmla="*/ 906104 w 1090712"/>
              <a:gd name="connsiteY750" fmla="*/ 367078 h 895572"/>
              <a:gd name="connsiteX751" fmla="*/ 907767 w 1090712"/>
              <a:gd name="connsiteY751" fmla="*/ 347596 h 895572"/>
              <a:gd name="connsiteX752" fmla="*/ 908717 w 1090712"/>
              <a:gd name="connsiteY752" fmla="*/ 338567 h 895572"/>
              <a:gd name="connsiteX753" fmla="*/ 908717 w 1090712"/>
              <a:gd name="connsiteY753" fmla="*/ 329777 h 895572"/>
              <a:gd name="connsiteX754" fmla="*/ 908717 w 1090712"/>
              <a:gd name="connsiteY754" fmla="*/ 325738 h 895572"/>
              <a:gd name="connsiteX755" fmla="*/ 907767 w 1090712"/>
              <a:gd name="connsiteY755" fmla="*/ 322649 h 895572"/>
              <a:gd name="connsiteX756" fmla="*/ 906817 w 1090712"/>
              <a:gd name="connsiteY756" fmla="*/ 319560 h 895572"/>
              <a:gd name="connsiteX757" fmla="*/ 905154 w 1090712"/>
              <a:gd name="connsiteY757" fmla="*/ 316471 h 895572"/>
              <a:gd name="connsiteX758" fmla="*/ 903728 w 1090712"/>
              <a:gd name="connsiteY758" fmla="*/ 314096 h 895572"/>
              <a:gd name="connsiteX759" fmla="*/ 901590 w 1090712"/>
              <a:gd name="connsiteY759" fmla="*/ 311957 h 895572"/>
              <a:gd name="connsiteX760" fmla="*/ 897551 w 1090712"/>
              <a:gd name="connsiteY760" fmla="*/ 307443 h 895572"/>
              <a:gd name="connsiteX761" fmla="*/ 895412 w 1090712"/>
              <a:gd name="connsiteY761" fmla="*/ 309344 h 895572"/>
              <a:gd name="connsiteX762" fmla="*/ 892561 w 1090712"/>
              <a:gd name="connsiteY762" fmla="*/ 310769 h 895572"/>
              <a:gd name="connsiteX763" fmla="*/ 887334 w 1090712"/>
              <a:gd name="connsiteY763" fmla="*/ 313383 h 895572"/>
              <a:gd name="connsiteX764" fmla="*/ 884721 w 1090712"/>
              <a:gd name="connsiteY764" fmla="*/ 314096 h 895572"/>
              <a:gd name="connsiteX765" fmla="*/ 882820 w 1090712"/>
              <a:gd name="connsiteY765" fmla="*/ 315521 h 895572"/>
              <a:gd name="connsiteX766" fmla="*/ 881632 w 1090712"/>
              <a:gd name="connsiteY766" fmla="*/ 316947 h 895572"/>
              <a:gd name="connsiteX767" fmla="*/ 881157 w 1090712"/>
              <a:gd name="connsiteY767" fmla="*/ 318610 h 895572"/>
              <a:gd name="connsiteX768" fmla="*/ 872604 w 1090712"/>
              <a:gd name="connsiteY768" fmla="*/ 331915 h 895572"/>
              <a:gd name="connsiteX769" fmla="*/ 864288 w 1090712"/>
              <a:gd name="connsiteY769" fmla="*/ 346646 h 895572"/>
              <a:gd name="connsiteX770" fmla="*/ 856210 w 1090712"/>
              <a:gd name="connsiteY770" fmla="*/ 361376 h 895572"/>
              <a:gd name="connsiteX771" fmla="*/ 847656 w 1090712"/>
              <a:gd name="connsiteY771" fmla="*/ 374681 h 895572"/>
              <a:gd name="connsiteX772" fmla="*/ 841954 w 1090712"/>
              <a:gd name="connsiteY772" fmla="*/ 374681 h 895572"/>
              <a:gd name="connsiteX773" fmla="*/ 846468 w 1090712"/>
              <a:gd name="connsiteY773" fmla="*/ 357812 h 895572"/>
              <a:gd name="connsiteX774" fmla="*/ 850508 w 1090712"/>
              <a:gd name="connsiteY774" fmla="*/ 339518 h 895572"/>
              <a:gd name="connsiteX775" fmla="*/ 854784 w 1090712"/>
              <a:gd name="connsiteY775" fmla="*/ 319560 h 895572"/>
              <a:gd name="connsiteX776" fmla="*/ 858823 w 1090712"/>
              <a:gd name="connsiteY776" fmla="*/ 296514 h 895572"/>
              <a:gd name="connsiteX777" fmla="*/ 848132 w 1090712"/>
              <a:gd name="connsiteY777" fmla="*/ 303879 h 895572"/>
              <a:gd name="connsiteX778" fmla="*/ 840054 w 1090712"/>
              <a:gd name="connsiteY778" fmla="*/ 310294 h 895572"/>
              <a:gd name="connsiteX779" fmla="*/ 833163 w 1090712"/>
              <a:gd name="connsiteY779" fmla="*/ 316947 h 895572"/>
              <a:gd name="connsiteX780" fmla="*/ 825560 w 1090712"/>
              <a:gd name="connsiteY780" fmla="*/ 324550 h 895572"/>
              <a:gd name="connsiteX781" fmla="*/ 823185 w 1090712"/>
              <a:gd name="connsiteY781" fmla="*/ 326688 h 895572"/>
              <a:gd name="connsiteX782" fmla="*/ 821522 w 1090712"/>
              <a:gd name="connsiteY782" fmla="*/ 329301 h 895572"/>
              <a:gd name="connsiteX783" fmla="*/ 817007 w 1090712"/>
              <a:gd name="connsiteY783" fmla="*/ 335954 h 895572"/>
              <a:gd name="connsiteX784" fmla="*/ 812968 w 1090712"/>
              <a:gd name="connsiteY784" fmla="*/ 344032 h 895572"/>
              <a:gd name="connsiteX785" fmla="*/ 808929 w 1090712"/>
              <a:gd name="connsiteY785" fmla="*/ 352585 h 895572"/>
              <a:gd name="connsiteX786" fmla="*/ 809880 w 1090712"/>
              <a:gd name="connsiteY786" fmla="*/ 343557 h 895572"/>
              <a:gd name="connsiteX787" fmla="*/ 811305 w 1090712"/>
              <a:gd name="connsiteY787" fmla="*/ 335479 h 895572"/>
              <a:gd name="connsiteX788" fmla="*/ 812493 w 1090712"/>
              <a:gd name="connsiteY788" fmla="*/ 328826 h 895572"/>
              <a:gd name="connsiteX789" fmla="*/ 814394 w 1090712"/>
              <a:gd name="connsiteY789" fmla="*/ 323124 h 895572"/>
              <a:gd name="connsiteX790" fmla="*/ 816532 w 1090712"/>
              <a:gd name="connsiteY790" fmla="*/ 317659 h 895572"/>
              <a:gd name="connsiteX791" fmla="*/ 819146 w 1090712"/>
              <a:gd name="connsiteY791" fmla="*/ 313383 h 895572"/>
              <a:gd name="connsiteX792" fmla="*/ 822709 w 1090712"/>
              <a:gd name="connsiteY792" fmla="*/ 309344 h 895572"/>
              <a:gd name="connsiteX793" fmla="*/ 826748 w 1090712"/>
              <a:gd name="connsiteY793" fmla="*/ 306255 h 895572"/>
              <a:gd name="connsiteX794" fmla="*/ 832213 w 1090712"/>
              <a:gd name="connsiteY794" fmla="*/ 303166 h 895572"/>
              <a:gd name="connsiteX795" fmla="*/ 838390 w 1090712"/>
              <a:gd name="connsiteY795" fmla="*/ 300315 h 895572"/>
              <a:gd name="connsiteX796" fmla="*/ 845518 w 1090712"/>
              <a:gd name="connsiteY796" fmla="*/ 298177 h 895572"/>
              <a:gd name="connsiteX797" fmla="*/ 854071 w 1090712"/>
              <a:gd name="connsiteY797" fmla="*/ 295563 h 895572"/>
              <a:gd name="connsiteX798" fmla="*/ 875217 w 1090712"/>
              <a:gd name="connsiteY798" fmla="*/ 290574 h 895572"/>
              <a:gd name="connsiteX799" fmla="*/ 903253 w 1090712"/>
              <a:gd name="connsiteY799" fmla="*/ 285347 h 895572"/>
              <a:gd name="connsiteX800" fmla="*/ 886384 w 1090712"/>
              <a:gd name="connsiteY800" fmla="*/ 268478 h 895572"/>
              <a:gd name="connsiteX801" fmla="*/ 879731 w 1090712"/>
              <a:gd name="connsiteY801" fmla="*/ 270141 h 895572"/>
              <a:gd name="connsiteX802" fmla="*/ 873079 w 1090712"/>
              <a:gd name="connsiteY802" fmla="*/ 271091 h 895572"/>
              <a:gd name="connsiteX803" fmla="*/ 867376 w 1090712"/>
              <a:gd name="connsiteY803" fmla="*/ 271567 h 895572"/>
              <a:gd name="connsiteX804" fmla="*/ 862387 w 1090712"/>
              <a:gd name="connsiteY804" fmla="*/ 271091 h 895572"/>
              <a:gd name="connsiteX805" fmla="*/ 857398 w 1090712"/>
              <a:gd name="connsiteY805" fmla="*/ 269666 h 895572"/>
              <a:gd name="connsiteX806" fmla="*/ 853596 w 1090712"/>
              <a:gd name="connsiteY806" fmla="*/ 268003 h 895572"/>
              <a:gd name="connsiteX807" fmla="*/ 849557 w 1090712"/>
              <a:gd name="connsiteY807" fmla="*/ 265627 h 895572"/>
              <a:gd name="connsiteX808" fmla="*/ 846468 w 1090712"/>
              <a:gd name="connsiteY808" fmla="*/ 262538 h 895572"/>
              <a:gd name="connsiteX809" fmla="*/ 843380 w 1090712"/>
              <a:gd name="connsiteY809" fmla="*/ 259450 h 895572"/>
              <a:gd name="connsiteX810" fmla="*/ 840529 w 1090712"/>
              <a:gd name="connsiteY810" fmla="*/ 255411 h 895572"/>
              <a:gd name="connsiteX811" fmla="*/ 838390 w 1090712"/>
              <a:gd name="connsiteY811" fmla="*/ 251134 h 895572"/>
              <a:gd name="connsiteX812" fmla="*/ 836490 w 1090712"/>
              <a:gd name="connsiteY812" fmla="*/ 246620 h 895572"/>
              <a:gd name="connsiteX813" fmla="*/ 834827 w 1090712"/>
              <a:gd name="connsiteY813" fmla="*/ 241155 h 895572"/>
              <a:gd name="connsiteX814" fmla="*/ 833401 w 1090712"/>
              <a:gd name="connsiteY814" fmla="*/ 235453 h 895572"/>
              <a:gd name="connsiteX815" fmla="*/ 831263 w 1090712"/>
              <a:gd name="connsiteY815" fmla="*/ 223336 h 895572"/>
              <a:gd name="connsiteX816" fmla="*/ 897551 w 1090712"/>
              <a:gd name="connsiteY816" fmla="*/ 206942 h 895572"/>
              <a:gd name="connsiteX817" fmla="*/ 888997 w 1090712"/>
              <a:gd name="connsiteY817" fmla="*/ 194112 h 895572"/>
              <a:gd name="connsiteX818" fmla="*/ 880682 w 1090712"/>
              <a:gd name="connsiteY818" fmla="*/ 181282 h 895572"/>
              <a:gd name="connsiteX819" fmla="*/ 871416 w 1090712"/>
              <a:gd name="connsiteY819" fmla="*/ 168690 h 895572"/>
              <a:gd name="connsiteX820" fmla="*/ 866901 w 1090712"/>
              <a:gd name="connsiteY820" fmla="*/ 162988 h 895572"/>
              <a:gd name="connsiteX821" fmla="*/ 861437 w 1090712"/>
              <a:gd name="connsiteY821" fmla="*/ 157048 h 895572"/>
              <a:gd name="connsiteX822" fmla="*/ 856210 w 1090712"/>
              <a:gd name="connsiteY822" fmla="*/ 151821 h 895572"/>
              <a:gd name="connsiteX823" fmla="*/ 850745 w 1090712"/>
              <a:gd name="connsiteY823" fmla="*/ 146831 h 895572"/>
              <a:gd name="connsiteX824" fmla="*/ 844568 w 1090712"/>
              <a:gd name="connsiteY824" fmla="*/ 142555 h 895572"/>
              <a:gd name="connsiteX825" fmla="*/ 838390 w 1090712"/>
              <a:gd name="connsiteY825" fmla="*/ 138516 h 895572"/>
              <a:gd name="connsiteX826" fmla="*/ 831738 w 1090712"/>
              <a:gd name="connsiteY826" fmla="*/ 134952 h 895572"/>
              <a:gd name="connsiteX827" fmla="*/ 824610 w 1090712"/>
              <a:gd name="connsiteY827" fmla="*/ 132338 h 895572"/>
              <a:gd name="connsiteX828" fmla="*/ 817007 w 1090712"/>
              <a:gd name="connsiteY828" fmla="*/ 129963 h 895572"/>
              <a:gd name="connsiteX829" fmla="*/ 808929 w 1090712"/>
              <a:gd name="connsiteY829" fmla="*/ 128774 h 895572"/>
              <a:gd name="connsiteX830" fmla="*/ 806791 w 1090712"/>
              <a:gd name="connsiteY830" fmla="*/ 128299 h 895572"/>
              <a:gd name="connsiteX831" fmla="*/ 804652 w 1090712"/>
              <a:gd name="connsiteY831" fmla="*/ 127824 h 895572"/>
              <a:gd name="connsiteX832" fmla="*/ 802752 w 1090712"/>
              <a:gd name="connsiteY832" fmla="*/ 126399 h 895572"/>
              <a:gd name="connsiteX833" fmla="*/ 801089 w 1090712"/>
              <a:gd name="connsiteY833" fmla="*/ 125211 h 895572"/>
              <a:gd name="connsiteX834" fmla="*/ 799663 w 1090712"/>
              <a:gd name="connsiteY834" fmla="*/ 123310 h 895572"/>
              <a:gd name="connsiteX835" fmla="*/ 798713 w 1090712"/>
              <a:gd name="connsiteY835" fmla="*/ 121647 h 895572"/>
              <a:gd name="connsiteX836" fmla="*/ 798000 w 1090712"/>
              <a:gd name="connsiteY836" fmla="*/ 119271 h 895572"/>
              <a:gd name="connsiteX837" fmla="*/ 798000 w 1090712"/>
              <a:gd name="connsiteY837" fmla="*/ 117608 h 895572"/>
              <a:gd name="connsiteX838" fmla="*/ 785408 w 1090712"/>
              <a:gd name="connsiteY838" fmla="*/ 106916 h 895572"/>
              <a:gd name="connsiteX839" fmla="*/ 772578 w 1090712"/>
              <a:gd name="connsiteY839" fmla="*/ 95749 h 895572"/>
              <a:gd name="connsiteX840" fmla="*/ 747155 w 1090712"/>
              <a:gd name="connsiteY840" fmla="*/ 72703 h 895572"/>
              <a:gd name="connsiteX841" fmla="*/ 733850 w 1090712"/>
              <a:gd name="connsiteY841" fmla="*/ 61061 h 895572"/>
              <a:gd name="connsiteX842" fmla="*/ 720545 w 1090712"/>
              <a:gd name="connsiteY842" fmla="*/ 49894 h 895572"/>
              <a:gd name="connsiteX843" fmla="*/ 706765 w 1090712"/>
              <a:gd name="connsiteY843" fmla="*/ 38728 h 895572"/>
              <a:gd name="connsiteX844" fmla="*/ 692510 w 1090712"/>
              <a:gd name="connsiteY844" fmla="*/ 28036 h 895572"/>
              <a:gd name="connsiteX845" fmla="*/ 679442 w 1090712"/>
              <a:gd name="connsiteY845" fmla="*/ 21859 h 895572"/>
              <a:gd name="connsiteX846" fmla="*/ 666137 w 1090712"/>
              <a:gd name="connsiteY846" fmla="*/ 16632 h 895572"/>
              <a:gd name="connsiteX847" fmla="*/ 652832 w 1090712"/>
              <a:gd name="connsiteY847" fmla="*/ 11642 h 895572"/>
              <a:gd name="connsiteX848" fmla="*/ 639527 w 1090712"/>
              <a:gd name="connsiteY848" fmla="*/ 7603 h 895572"/>
              <a:gd name="connsiteX849" fmla="*/ 626222 w 1090712"/>
              <a:gd name="connsiteY849" fmla="*/ 4514 h 895572"/>
              <a:gd name="connsiteX850" fmla="*/ 612917 w 1090712"/>
              <a:gd name="connsiteY850" fmla="*/ 1901 h 895572"/>
              <a:gd name="connsiteX851" fmla="*/ 599374 w 1090712"/>
              <a:gd name="connsiteY851" fmla="*/ 475 h 89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Lst>
            <a:rect l="l" t="t" r="r" b="b"/>
            <a:pathLst>
              <a:path w="1090712" h="895572">
                <a:moveTo>
                  <a:pt x="603413" y="721327"/>
                </a:moveTo>
                <a:lnTo>
                  <a:pt x="578466" y="770746"/>
                </a:lnTo>
                <a:lnTo>
                  <a:pt x="553519" y="818264"/>
                </a:lnTo>
                <a:lnTo>
                  <a:pt x="528334" y="865069"/>
                </a:lnTo>
                <a:lnTo>
                  <a:pt x="511825" y="895572"/>
                </a:lnTo>
                <a:lnTo>
                  <a:pt x="624528" y="895572"/>
                </a:lnTo>
                <a:lnTo>
                  <a:pt x="624796" y="894768"/>
                </a:lnTo>
                <a:lnTo>
                  <a:pt x="625271" y="891679"/>
                </a:lnTo>
                <a:lnTo>
                  <a:pt x="625747" y="889066"/>
                </a:lnTo>
                <a:lnTo>
                  <a:pt x="625747" y="860555"/>
                </a:lnTo>
                <a:lnTo>
                  <a:pt x="624796" y="833945"/>
                </a:lnTo>
                <a:lnTo>
                  <a:pt x="624321" y="820877"/>
                </a:lnTo>
                <a:lnTo>
                  <a:pt x="623608" y="808047"/>
                </a:lnTo>
                <a:lnTo>
                  <a:pt x="621708" y="795218"/>
                </a:lnTo>
                <a:lnTo>
                  <a:pt x="620044" y="782625"/>
                </a:lnTo>
                <a:lnTo>
                  <a:pt x="616005" y="766707"/>
                </a:lnTo>
                <a:lnTo>
                  <a:pt x="611966" y="751976"/>
                </a:lnTo>
                <a:lnTo>
                  <a:pt x="607452" y="737245"/>
                </a:lnTo>
                <a:close/>
                <a:moveTo>
                  <a:pt x="698212" y="530778"/>
                </a:moveTo>
                <a:lnTo>
                  <a:pt x="693460" y="534818"/>
                </a:lnTo>
                <a:lnTo>
                  <a:pt x="688471" y="538857"/>
                </a:lnTo>
                <a:lnTo>
                  <a:pt x="678254" y="546935"/>
                </a:lnTo>
                <a:lnTo>
                  <a:pt x="669226" y="553587"/>
                </a:lnTo>
                <a:lnTo>
                  <a:pt x="663048" y="558814"/>
                </a:lnTo>
                <a:lnTo>
                  <a:pt x="663048" y="556676"/>
                </a:lnTo>
                <a:lnTo>
                  <a:pt x="663523" y="554538"/>
                </a:lnTo>
                <a:lnTo>
                  <a:pt x="665424" y="550498"/>
                </a:lnTo>
                <a:lnTo>
                  <a:pt x="668038" y="546459"/>
                </a:lnTo>
                <a:lnTo>
                  <a:pt x="671602" y="542420"/>
                </a:lnTo>
                <a:lnTo>
                  <a:pt x="676829" y="538857"/>
                </a:lnTo>
                <a:lnTo>
                  <a:pt x="682768" y="535768"/>
                </a:lnTo>
                <a:lnTo>
                  <a:pt x="689896" y="533154"/>
                </a:lnTo>
                <a:close/>
                <a:moveTo>
                  <a:pt x="654257" y="302216"/>
                </a:moveTo>
                <a:lnTo>
                  <a:pt x="651882" y="302691"/>
                </a:lnTo>
                <a:lnTo>
                  <a:pt x="649268" y="303166"/>
                </a:lnTo>
                <a:lnTo>
                  <a:pt x="647130" y="304354"/>
                </a:lnTo>
                <a:lnTo>
                  <a:pt x="644516" y="306255"/>
                </a:lnTo>
                <a:lnTo>
                  <a:pt x="642140" y="307918"/>
                </a:lnTo>
                <a:lnTo>
                  <a:pt x="640002" y="310294"/>
                </a:lnTo>
                <a:lnTo>
                  <a:pt x="638101" y="312432"/>
                </a:lnTo>
                <a:lnTo>
                  <a:pt x="636913" y="314571"/>
                </a:lnTo>
                <a:lnTo>
                  <a:pt x="635963" y="316946"/>
                </a:lnTo>
                <a:lnTo>
                  <a:pt x="635963" y="319085"/>
                </a:lnTo>
                <a:lnTo>
                  <a:pt x="636913" y="321223"/>
                </a:lnTo>
                <a:lnTo>
                  <a:pt x="637626" y="324074"/>
                </a:lnTo>
                <a:lnTo>
                  <a:pt x="639527" y="326688"/>
                </a:lnTo>
                <a:lnTo>
                  <a:pt x="643091" y="331677"/>
                </a:lnTo>
                <a:lnTo>
                  <a:pt x="647130" y="335954"/>
                </a:lnTo>
                <a:lnTo>
                  <a:pt x="655920" y="330727"/>
                </a:lnTo>
                <a:lnTo>
                  <a:pt x="663999" y="324787"/>
                </a:lnTo>
                <a:lnTo>
                  <a:pt x="679917" y="313383"/>
                </a:lnTo>
                <a:lnTo>
                  <a:pt x="676354" y="311007"/>
                </a:lnTo>
                <a:lnTo>
                  <a:pt x="672790" y="308393"/>
                </a:lnTo>
                <a:lnTo>
                  <a:pt x="668988" y="306730"/>
                </a:lnTo>
                <a:lnTo>
                  <a:pt x="664949" y="304829"/>
                </a:lnTo>
                <a:lnTo>
                  <a:pt x="660910" y="303641"/>
                </a:lnTo>
                <a:lnTo>
                  <a:pt x="657346" y="302691"/>
                </a:lnTo>
                <a:close/>
                <a:moveTo>
                  <a:pt x="696549" y="252322"/>
                </a:moveTo>
                <a:lnTo>
                  <a:pt x="696786" y="259925"/>
                </a:lnTo>
                <a:lnTo>
                  <a:pt x="698212" y="266102"/>
                </a:lnTo>
                <a:lnTo>
                  <a:pt x="700113" y="272042"/>
                </a:lnTo>
                <a:lnTo>
                  <a:pt x="701776" y="276794"/>
                </a:lnTo>
                <a:lnTo>
                  <a:pt x="704389" y="280833"/>
                </a:lnTo>
                <a:lnTo>
                  <a:pt x="707240" y="284397"/>
                </a:lnTo>
                <a:lnTo>
                  <a:pt x="710329" y="287010"/>
                </a:lnTo>
                <a:lnTo>
                  <a:pt x="713418" y="289624"/>
                </a:lnTo>
                <a:lnTo>
                  <a:pt x="716506" y="291524"/>
                </a:lnTo>
                <a:lnTo>
                  <a:pt x="719595" y="293187"/>
                </a:lnTo>
                <a:lnTo>
                  <a:pt x="725772" y="295088"/>
                </a:lnTo>
                <a:lnTo>
                  <a:pt x="731237" y="296514"/>
                </a:lnTo>
                <a:lnTo>
                  <a:pt x="734801" y="296751"/>
                </a:lnTo>
                <a:lnTo>
                  <a:pt x="722209" y="303879"/>
                </a:lnTo>
                <a:lnTo>
                  <a:pt x="710804" y="311007"/>
                </a:lnTo>
                <a:lnTo>
                  <a:pt x="688471" y="324787"/>
                </a:lnTo>
                <a:lnTo>
                  <a:pt x="667563" y="339043"/>
                </a:lnTo>
                <a:lnTo>
                  <a:pt x="646179" y="352823"/>
                </a:lnTo>
                <a:lnTo>
                  <a:pt x="620044" y="313383"/>
                </a:lnTo>
                <a:lnTo>
                  <a:pt x="617668" y="312432"/>
                </a:lnTo>
                <a:lnTo>
                  <a:pt x="615055" y="312432"/>
                </a:lnTo>
                <a:lnTo>
                  <a:pt x="612441" y="313383"/>
                </a:lnTo>
                <a:lnTo>
                  <a:pt x="609353" y="314095"/>
                </a:lnTo>
                <a:lnTo>
                  <a:pt x="602938" y="316946"/>
                </a:lnTo>
                <a:lnTo>
                  <a:pt x="599849" y="317659"/>
                </a:lnTo>
                <a:lnTo>
                  <a:pt x="596760" y="318610"/>
                </a:lnTo>
                <a:lnTo>
                  <a:pt x="607927" y="307205"/>
                </a:lnTo>
                <a:lnTo>
                  <a:pt x="618619" y="295088"/>
                </a:lnTo>
                <a:lnTo>
                  <a:pt x="623846" y="289386"/>
                </a:lnTo>
                <a:lnTo>
                  <a:pt x="629786" y="283921"/>
                </a:lnTo>
                <a:lnTo>
                  <a:pt x="635963" y="278694"/>
                </a:lnTo>
                <a:lnTo>
                  <a:pt x="642140" y="273705"/>
                </a:lnTo>
                <a:lnTo>
                  <a:pt x="648793" y="269191"/>
                </a:lnTo>
                <a:lnTo>
                  <a:pt x="655446" y="265627"/>
                </a:lnTo>
                <a:lnTo>
                  <a:pt x="662098" y="263013"/>
                </a:lnTo>
                <a:lnTo>
                  <a:pt x="668988" y="260400"/>
                </a:lnTo>
                <a:lnTo>
                  <a:pt x="682768" y="256361"/>
                </a:lnTo>
                <a:close/>
                <a:moveTo>
                  <a:pt x="1030602" y="200289"/>
                </a:moveTo>
                <a:lnTo>
                  <a:pt x="1027513" y="207892"/>
                </a:lnTo>
                <a:lnTo>
                  <a:pt x="1023949" y="214545"/>
                </a:lnTo>
                <a:lnTo>
                  <a:pt x="1019910" y="221197"/>
                </a:lnTo>
                <a:lnTo>
                  <a:pt x="1015396" y="226899"/>
                </a:lnTo>
                <a:lnTo>
                  <a:pt x="1011119" y="232839"/>
                </a:lnTo>
                <a:lnTo>
                  <a:pt x="1006130" y="237591"/>
                </a:lnTo>
                <a:lnTo>
                  <a:pt x="1001140" y="242105"/>
                </a:lnTo>
                <a:lnTo>
                  <a:pt x="996388" y="246144"/>
                </a:lnTo>
                <a:lnTo>
                  <a:pt x="990924" y="249708"/>
                </a:lnTo>
                <a:lnTo>
                  <a:pt x="985697" y="252797"/>
                </a:lnTo>
                <a:lnTo>
                  <a:pt x="980232" y="254935"/>
                </a:lnTo>
                <a:lnTo>
                  <a:pt x="975005" y="256836"/>
                </a:lnTo>
                <a:lnTo>
                  <a:pt x="969541" y="258262"/>
                </a:lnTo>
                <a:lnTo>
                  <a:pt x="963839" y="258499"/>
                </a:lnTo>
                <a:lnTo>
                  <a:pt x="958612" y="258499"/>
                </a:lnTo>
                <a:lnTo>
                  <a:pt x="953622" y="257786"/>
                </a:lnTo>
                <a:lnTo>
                  <a:pt x="970966" y="244006"/>
                </a:lnTo>
                <a:lnTo>
                  <a:pt x="990211" y="229275"/>
                </a:lnTo>
                <a:lnTo>
                  <a:pt x="1010169" y="214069"/>
                </a:lnTo>
                <a:lnTo>
                  <a:pt x="1020385" y="206942"/>
                </a:lnTo>
                <a:close/>
                <a:moveTo>
                  <a:pt x="389581" y="176768"/>
                </a:moveTo>
                <a:lnTo>
                  <a:pt x="397422" y="177243"/>
                </a:lnTo>
                <a:lnTo>
                  <a:pt x="414766" y="178906"/>
                </a:lnTo>
                <a:lnTo>
                  <a:pt x="405500" y="179856"/>
                </a:lnTo>
                <a:lnTo>
                  <a:pt x="396946" y="181995"/>
                </a:lnTo>
                <a:lnTo>
                  <a:pt x="389581" y="184371"/>
                </a:lnTo>
                <a:lnTo>
                  <a:pt x="381978" y="186984"/>
                </a:lnTo>
                <a:lnTo>
                  <a:pt x="375326" y="190548"/>
                </a:lnTo>
                <a:lnTo>
                  <a:pt x="368911" y="194112"/>
                </a:lnTo>
                <a:lnTo>
                  <a:pt x="363208" y="198626"/>
                </a:lnTo>
                <a:lnTo>
                  <a:pt x="357981" y="202903"/>
                </a:lnTo>
                <a:lnTo>
                  <a:pt x="352517" y="208367"/>
                </a:lnTo>
                <a:lnTo>
                  <a:pt x="348003" y="214070"/>
                </a:lnTo>
                <a:lnTo>
                  <a:pt x="343726" y="220247"/>
                </a:lnTo>
                <a:lnTo>
                  <a:pt x="339687" y="226662"/>
                </a:lnTo>
                <a:lnTo>
                  <a:pt x="335648" y="233790"/>
                </a:lnTo>
                <a:lnTo>
                  <a:pt x="332559" y="240917"/>
                </a:lnTo>
                <a:lnTo>
                  <a:pt x="328995" y="248758"/>
                </a:lnTo>
                <a:lnTo>
                  <a:pt x="325907" y="256836"/>
                </a:lnTo>
                <a:lnTo>
                  <a:pt x="325432" y="252797"/>
                </a:lnTo>
                <a:lnTo>
                  <a:pt x="324956" y="248283"/>
                </a:lnTo>
                <a:lnTo>
                  <a:pt x="323056" y="239492"/>
                </a:lnTo>
                <a:lnTo>
                  <a:pt x="320917" y="229275"/>
                </a:lnTo>
                <a:lnTo>
                  <a:pt x="320442" y="223811"/>
                </a:lnTo>
                <a:lnTo>
                  <a:pt x="319967" y="217633"/>
                </a:lnTo>
                <a:lnTo>
                  <a:pt x="314740" y="217633"/>
                </a:lnTo>
                <a:lnTo>
                  <a:pt x="302148" y="243056"/>
                </a:lnTo>
                <a:lnTo>
                  <a:pt x="289793" y="267528"/>
                </a:lnTo>
                <a:lnTo>
                  <a:pt x="277438" y="291049"/>
                </a:lnTo>
                <a:lnTo>
                  <a:pt x="264371" y="312907"/>
                </a:lnTo>
                <a:lnTo>
                  <a:pt x="267459" y="295088"/>
                </a:lnTo>
                <a:lnTo>
                  <a:pt x="271023" y="279170"/>
                </a:lnTo>
                <a:lnTo>
                  <a:pt x="274587" y="263964"/>
                </a:lnTo>
                <a:lnTo>
                  <a:pt x="279101" y="250183"/>
                </a:lnTo>
                <a:lnTo>
                  <a:pt x="284091" y="238066"/>
                </a:lnTo>
                <a:lnTo>
                  <a:pt x="289318" y="226900"/>
                </a:lnTo>
                <a:lnTo>
                  <a:pt x="292406" y="221673"/>
                </a:lnTo>
                <a:lnTo>
                  <a:pt x="295495" y="217158"/>
                </a:lnTo>
                <a:lnTo>
                  <a:pt x="298584" y="212406"/>
                </a:lnTo>
                <a:lnTo>
                  <a:pt x="302148" y="208367"/>
                </a:lnTo>
                <a:lnTo>
                  <a:pt x="305711" y="204328"/>
                </a:lnTo>
                <a:lnTo>
                  <a:pt x="309275" y="200765"/>
                </a:lnTo>
                <a:lnTo>
                  <a:pt x="313314" y="197201"/>
                </a:lnTo>
                <a:lnTo>
                  <a:pt x="317354" y="194112"/>
                </a:lnTo>
                <a:lnTo>
                  <a:pt x="321868" y="191498"/>
                </a:lnTo>
                <a:lnTo>
                  <a:pt x="326382" y="188647"/>
                </a:lnTo>
                <a:lnTo>
                  <a:pt x="330659" y="186509"/>
                </a:lnTo>
                <a:lnTo>
                  <a:pt x="335648" y="184371"/>
                </a:lnTo>
                <a:lnTo>
                  <a:pt x="340637" y="182470"/>
                </a:lnTo>
                <a:lnTo>
                  <a:pt x="345864" y="181282"/>
                </a:lnTo>
                <a:lnTo>
                  <a:pt x="351091" y="179856"/>
                </a:lnTo>
                <a:lnTo>
                  <a:pt x="357031" y="178431"/>
                </a:lnTo>
                <a:lnTo>
                  <a:pt x="368911" y="177243"/>
                </a:lnTo>
                <a:lnTo>
                  <a:pt x="381978" y="176768"/>
                </a:lnTo>
                <a:close/>
                <a:moveTo>
                  <a:pt x="609353" y="174629"/>
                </a:moveTo>
                <a:lnTo>
                  <a:pt x="602463" y="180807"/>
                </a:lnTo>
                <a:lnTo>
                  <a:pt x="596285" y="187459"/>
                </a:lnTo>
                <a:lnTo>
                  <a:pt x="583931" y="201715"/>
                </a:lnTo>
                <a:lnTo>
                  <a:pt x="571101" y="215495"/>
                </a:lnTo>
                <a:lnTo>
                  <a:pt x="564686" y="222148"/>
                </a:lnTo>
                <a:lnTo>
                  <a:pt x="558508" y="228325"/>
                </a:lnTo>
                <a:lnTo>
                  <a:pt x="557558" y="223335"/>
                </a:lnTo>
                <a:lnTo>
                  <a:pt x="557083" y="219059"/>
                </a:lnTo>
                <a:lnTo>
                  <a:pt x="557083" y="215020"/>
                </a:lnTo>
                <a:lnTo>
                  <a:pt x="557558" y="210981"/>
                </a:lnTo>
                <a:lnTo>
                  <a:pt x="558508" y="207417"/>
                </a:lnTo>
                <a:lnTo>
                  <a:pt x="560409" y="203853"/>
                </a:lnTo>
                <a:lnTo>
                  <a:pt x="562072" y="200764"/>
                </a:lnTo>
                <a:lnTo>
                  <a:pt x="564686" y="197676"/>
                </a:lnTo>
                <a:lnTo>
                  <a:pt x="567774" y="194587"/>
                </a:lnTo>
                <a:lnTo>
                  <a:pt x="571813" y="191973"/>
                </a:lnTo>
                <a:lnTo>
                  <a:pt x="576328" y="188647"/>
                </a:lnTo>
                <a:lnTo>
                  <a:pt x="581317" y="186034"/>
                </a:lnTo>
                <a:lnTo>
                  <a:pt x="587019" y="183420"/>
                </a:lnTo>
                <a:lnTo>
                  <a:pt x="593672" y="180332"/>
                </a:lnTo>
                <a:close/>
                <a:moveTo>
                  <a:pt x="586544" y="0"/>
                </a:moveTo>
                <a:lnTo>
                  <a:pt x="570150" y="2851"/>
                </a:lnTo>
                <a:lnTo>
                  <a:pt x="553519" y="5940"/>
                </a:lnTo>
                <a:lnTo>
                  <a:pt x="536650" y="10454"/>
                </a:lnTo>
                <a:lnTo>
                  <a:pt x="520256" y="14731"/>
                </a:lnTo>
                <a:lnTo>
                  <a:pt x="486993" y="24472"/>
                </a:lnTo>
                <a:lnTo>
                  <a:pt x="469887" y="28986"/>
                </a:lnTo>
                <a:lnTo>
                  <a:pt x="453493" y="33500"/>
                </a:lnTo>
                <a:lnTo>
                  <a:pt x="438762" y="40153"/>
                </a:lnTo>
                <a:lnTo>
                  <a:pt x="424507" y="47281"/>
                </a:lnTo>
                <a:lnTo>
                  <a:pt x="417379" y="51320"/>
                </a:lnTo>
                <a:lnTo>
                  <a:pt x="410727" y="55834"/>
                </a:lnTo>
                <a:lnTo>
                  <a:pt x="403599" y="60111"/>
                </a:lnTo>
                <a:lnTo>
                  <a:pt x="397422" y="65100"/>
                </a:lnTo>
                <a:lnTo>
                  <a:pt x="390769" y="69852"/>
                </a:lnTo>
                <a:lnTo>
                  <a:pt x="384592" y="75792"/>
                </a:lnTo>
                <a:lnTo>
                  <a:pt x="378889" y="81494"/>
                </a:lnTo>
                <a:lnTo>
                  <a:pt x="372950" y="87671"/>
                </a:lnTo>
                <a:lnTo>
                  <a:pt x="367723" y="94324"/>
                </a:lnTo>
                <a:lnTo>
                  <a:pt x="362733" y="101452"/>
                </a:lnTo>
                <a:lnTo>
                  <a:pt x="357981" y="109055"/>
                </a:lnTo>
                <a:lnTo>
                  <a:pt x="353467" y="117608"/>
                </a:lnTo>
                <a:lnTo>
                  <a:pt x="409064" y="117608"/>
                </a:lnTo>
                <a:lnTo>
                  <a:pt x="406925" y="119271"/>
                </a:lnTo>
                <a:lnTo>
                  <a:pt x="404074" y="121647"/>
                </a:lnTo>
                <a:lnTo>
                  <a:pt x="400510" y="123310"/>
                </a:lnTo>
                <a:lnTo>
                  <a:pt x="397422" y="125211"/>
                </a:lnTo>
                <a:lnTo>
                  <a:pt x="393383" y="126399"/>
                </a:lnTo>
                <a:lnTo>
                  <a:pt x="389581" y="127824"/>
                </a:lnTo>
                <a:lnTo>
                  <a:pt x="385542" y="128299"/>
                </a:lnTo>
                <a:lnTo>
                  <a:pt x="381503" y="128774"/>
                </a:lnTo>
                <a:lnTo>
                  <a:pt x="375326" y="130438"/>
                </a:lnTo>
                <a:lnTo>
                  <a:pt x="368435" y="131863"/>
                </a:lnTo>
                <a:lnTo>
                  <a:pt x="361783" y="133051"/>
                </a:lnTo>
                <a:lnTo>
                  <a:pt x="355606" y="134001"/>
                </a:lnTo>
                <a:lnTo>
                  <a:pt x="342300" y="135427"/>
                </a:lnTo>
                <a:lnTo>
                  <a:pt x="329471" y="137090"/>
                </a:lnTo>
                <a:lnTo>
                  <a:pt x="322818" y="138040"/>
                </a:lnTo>
                <a:lnTo>
                  <a:pt x="316403" y="139704"/>
                </a:lnTo>
                <a:lnTo>
                  <a:pt x="310226" y="141604"/>
                </a:lnTo>
                <a:lnTo>
                  <a:pt x="304048" y="144218"/>
                </a:lnTo>
                <a:lnTo>
                  <a:pt x="298346" y="147307"/>
                </a:lnTo>
                <a:lnTo>
                  <a:pt x="292406" y="151346"/>
                </a:lnTo>
                <a:lnTo>
                  <a:pt x="286704" y="156335"/>
                </a:lnTo>
                <a:lnTo>
                  <a:pt x="281240" y="162037"/>
                </a:lnTo>
                <a:lnTo>
                  <a:pt x="262232" y="182945"/>
                </a:lnTo>
                <a:lnTo>
                  <a:pt x="242987" y="203378"/>
                </a:lnTo>
                <a:lnTo>
                  <a:pt x="203547" y="244006"/>
                </a:lnTo>
                <a:lnTo>
                  <a:pt x="183827" y="264439"/>
                </a:lnTo>
                <a:lnTo>
                  <a:pt x="164345" y="285822"/>
                </a:lnTo>
                <a:lnTo>
                  <a:pt x="144862" y="307443"/>
                </a:lnTo>
                <a:lnTo>
                  <a:pt x="126093" y="329777"/>
                </a:lnTo>
                <a:lnTo>
                  <a:pt x="122054" y="335004"/>
                </a:lnTo>
                <a:lnTo>
                  <a:pt x="118015" y="340468"/>
                </a:lnTo>
                <a:lnTo>
                  <a:pt x="110887" y="352110"/>
                </a:lnTo>
                <a:lnTo>
                  <a:pt x="104709" y="363514"/>
                </a:lnTo>
                <a:lnTo>
                  <a:pt x="99007" y="375156"/>
                </a:lnTo>
                <a:lnTo>
                  <a:pt x="87840" y="400103"/>
                </a:lnTo>
                <a:lnTo>
                  <a:pt x="82138" y="412458"/>
                </a:lnTo>
                <a:lnTo>
                  <a:pt x="75723" y="425050"/>
                </a:lnTo>
                <a:lnTo>
                  <a:pt x="75723" y="429802"/>
                </a:lnTo>
                <a:lnTo>
                  <a:pt x="76674" y="436217"/>
                </a:lnTo>
                <a:lnTo>
                  <a:pt x="77149" y="439306"/>
                </a:lnTo>
                <a:lnTo>
                  <a:pt x="78574" y="442395"/>
                </a:lnTo>
                <a:lnTo>
                  <a:pt x="79762" y="445008"/>
                </a:lnTo>
                <a:lnTo>
                  <a:pt x="81663" y="447147"/>
                </a:lnTo>
                <a:lnTo>
                  <a:pt x="94018" y="468055"/>
                </a:lnTo>
                <a:lnTo>
                  <a:pt x="106848" y="488963"/>
                </a:lnTo>
                <a:lnTo>
                  <a:pt x="113975" y="499654"/>
                </a:lnTo>
                <a:lnTo>
                  <a:pt x="121103" y="510346"/>
                </a:lnTo>
                <a:lnTo>
                  <a:pt x="128706" y="520562"/>
                </a:lnTo>
                <a:lnTo>
                  <a:pt x="137259" y="531254"/>
                </a:lnTo>
                <a:lnTo>
                  <a:pt x="149614" y="514385"/>
                </a:lnTo>
                <a:lnTo>
                  <a:pt x="162206" y="498466"/>
                </a:lnTo>
                <a:lnTo>
                  <a:pt x="174561" y="483260"/>
                </a:lnTo>
                <a:lnTo>
                  <a:pt x="180739" y="476133"/>
                </a:lnTo>
                <a:lnTo>
                  <a:pt x="186916" y="469480"/>
                </a:lnTo>
                <a:lnTo>
                  <a:pt x="182639" y="482310"/>
                </a:lnTo>
                <a:lnTo>
                  <a:pt x="178125" y="495615"/>
                </a:lnTo>
                <a:lnTo>
                  <a:pt x="172423" y="509871"/>
                </a:lnTo>
                <a:lnTo>
                  <a:pt x="164820" y="525552"/>
                </a:lnTo>
                <a:lnTo>
                  <a:pt x="156267" y="538381"/>
                </a:lnTo>
                <a:lnTo>
                  <a:pt x="152703" y="544559"/>
                </a:lnTo>
                <a:lnTo>
                  <a:pt x="148664" y="551449"/>
                </a:lnTo>
                <a:lnTo>
                  <a:pt x="145100" y="558339"/>
                </a:lnTo>
                <a:lnTo>
                  <a:pt x="142011" y="565467"/>
                </a:lnTo>
                <a:lnTo>
                  <a:pt x="139398" y="573070"/>
                </a:lnTo>
                <a:lnTo>
                  <a:pt x="137259" y="581623"/>
                </a:lnTo>
                <a:lnTo>
                  <a:pt x="136309" y="583761"/>
                </a:lnTo>
                <a:lnTo>
                  <a:pt x="135359" y="586137"/>
                </a:lnTo>
                <a:lnTo>
                  <a:pt x="134883" y="590889"/>
                </a:lnTo>
                <a:lnTo>
                  <a:pt x="134883" y="595879"/>
                </a:lnTo>
                <a:lnTo>
                  <a:pt x="135359" y="601106"/>
                </a:lnTo>
                <a:lnTo>
                  <a:pt x="136784" y="606095"/>
                </a:lnTo>
                <a:lnTo>
                  <a:pt x="138447" y="611322"/>
                </a:lnTo>
                <a:lnTo>
                  <a:pt x="140348" y="616311"/>
                </a:lnTo>
                <a:lnTo>
                  <a:pt x="142486" y="620826"/>
                </a:lnTo>
                <a:lnTo>
                  <a:pt x="148664" y="629616"/>
                </a:lnTo>
                <a:lnTo>
                  <a:pt x="155554" y="637219"/>
                </a:lnTo>
                <a:lnTo>
                  <a:pt x="162444" y="643872"/>
                </a:lnTo>
                <a:lnTo>
                  <a:pt x="169572" y="649099"/>
                </a:lnTo>
                <a:lnTo>
                  <a:pt x="177175" y="653613"/>
                </a:lnTo>
                <a:lnTo>
                  <a:pt x="184778" y="657177"/>
                </a:lnTo>
                <a:lnTo>
                  <a:pt x="192856" y="659553"/>
                </a:lnTo>
                <a:lnTo>
                  <a:pt x="200934" y="661216"/>
                </a:lnTo>
                <a:lnTo>
                  <a:pt x="209250" y="661691"/>
                </a:lnTo>
                <a:lnTo>
                  <a:pt x="218278" y="661691"/>
                </a:lnTo>
                <a:lnTo>
                  <a:pt x="227069" y="660266"/>
                </a:lnTo>
                <a:lnTo>
                  <a:pt x="236335" y="658603"/>
                </a:lnTo>
                <a:lnTo>
                  <a:pt x="245838" y="655514"/>
                </a:lnTo>
                <a:lnTo>
                  <a:pt x="255580" y="652425"/>
                </a:lnTo>
                <a:lnTo>
                  <a:pt x="265321" y="647911"/>
                </a:lnTo>
                <a:lnTo>
                  <a:pt x="276013" y="642922"/>
                </a:lnTo>
                <a:lnTo>
                  <a:pt x="288367" y="635081"/>
                </a:lnTo>
                <a:lnTo>
                  <a:pt x="301910" y="627478"/>
                </a:lnTo>
                <a:lnTo>
                  <a:pt x="315215" y="620350"/>
                </a:lnTo>
                <a:lnTo>
                  <a:pt x="329471" y="613698"/>
                </a:lnTo>
                <a:lnTo>
                  <a:pt x="343726" y="607283"/>
                </a:lnTo>
                <a:lnTo>
                  <a:pt x="357981" y="602056"/>
                </a:lnTo>
                <a:lnTo>
                  <a:pt x="371999" y="597066"/>
                </a:lnTo>
                <a:lnTo>
                  <a:pt x="386730" y="592790"/>
                </a:lnTo>
                <a:lnTo>
                  <a:pt x="394808" y="590414"/>
                </a:lnTo>
                <a:lnTo>
                  <a:pt x="402411" y="587325"/>
                </a:lnTo>
                <a:lnTo>
                  <a:pt x="409064" y="583761"/>
                </a:lnTo>
                <a:lnTo>
                  <a:pt x="411677" y="581623"/>
                </a:lnTo>
                <a:lnTo>
                  <a:pt x="414766" y="579247"/>
                </a:lnTo>
                <a:lnTo>
                  <a:pt x="417142" y="577109"/>
                </a:lnTo>
                <a:lnTo>
                  <a:pt x="419280" y="574495"/>
                </a:lnTo>
                <a:lnTo>
                  <a:pt x="420943" y="571407"/>
                </a:lnTo>
                <a:lnTo>
                  <a:pt x="422844" y="568318"/>
                </a:lnTo>
                <a:lnTo>
                  <a:pt x="424269" y="565229"/>
                </a:lnTo>
                <a:lnTo>
                  <a:pt x="424982" y="561665"/>
                </a:lnTo>
                <a:lnTo>
                  <a:pt x="425457" y="557626"/>
                </a:lnTo>
                <a:lnTo>
                  <a:pt x="425932" y="553587"/>
                </a:lnTo>
                <a:lnTo>
                  <a:pt x="425932" y="413884"/>
                </a:lnTo>
                <a:lnTo>
                  <a:pt x="425932" y="285347"/>
                </a:lnTo>
                <a:lnTo>
                  <a:pt x="429496" y="300078"/>
                </a:lnTo>
                <a:lnTo>
                  <a:pt x="433060" y="314096"/>
                </a:lnTo>
                <a:lnTo>
                  <a:pt x="436149" y="328826"/>
                </a:lnTo>
                <a:lnTo>
                  <a:pt x="438762" y="343082"/>
                </a:lnTo>
                <a:lnTo>
                  <a:pt x="443752" y="370642"/>
                </a:lnTo>
                <a:lnTo>
                  <a:pt x="447791" y="397015"/>
                </a:lnTo>
                <a:lnTo>
                  <a:pt x="451830" y="421962"/>
                </a:lnTo>
                <a:lnTo>
                  <a:pt x="454919" y="446434"/>
                </a:lnTo>
                <a:lnTo>
                  <a:pt x="456106" y="458313"/>
                </a:lnTo>
                <a:lnTo>
                  <a:pt x="457057" y="470430"/>
                </a:lnTo>
                <a:lnTo>
                  <a:pt x="457532" y="482310"/>
                </a:lnTo>
                <a:lnTo>
                  <a:pt x="457532" y="493952"/>
                </a:lnTo>
                <a:lnTo>
                  <a:pt x="457532" y="506069"/>
                </a:lnTo>
                <a:lnTo>
                  <a:pt x="456582" y="517473"/>
                </a:lnTo>
                <a:lnTo>
                  <a:pt x="455869" y="529116"/>
                </a:lnTo>
                <a:lnTo>
                  <a:pt x="453968" y="540757"/>
                </a:lnTo>
                <a:lnTo>
                  <a:pt x="452305" y="552162"/>
                </a:lnTo>
                <a:lnTo>
                  <a:pt x="449454" y="563804"/>
                </a:lnTo>
                <a:lnTo>
                  <a:pt x="446365" y="575446"/>
                </a:lnTo>
                <a:lnTo>
                  <a:pt x="442326" y="586850"/>
                </a:lnTo>
                <a:lnTo>
                  <a:pt x="440188" y="591364"/>
                </a:lnTo>
                <a:lnTo>
                  <a:pt x="437574" y="595403"/>
                </a:lnTo>
                <a:lnTo>
                  <a:pt x="434486" y="598967"/>
                </a:lnTo>
                <a:lnTo>
                  <a:pt x="431397" y="602531"/>
                </a:lnTo>
                <a:lnTo>
                  <a:pt x="428071" y="605145"/>
                </a:lnTo>
                <a:lnTo>
                  <a:pt x="424982" y="607283"/>
                </a:lnTo>
                <a:lnTo>
                  <a:pt x="422369" y="608708"/>
                </a:lnTo>
                <a:lnTo>
                  <a:pt x="420230" y="609659"/>
                </a:lnTo>
                <a:lnTo>
                  <a:pt x="410727" y="610847"/>
                </a:lnTo>
                <a:lnTo>
                  <a:pt x="401461" y="612748"/>
                </a:lnTo>
                <a:lnTo>
                  <a:pt x="392670" y="614886"/>
                </a:lnTo>
                <a:lnTo>
                  <a:pt x="383641" y="617262"/>
                </a:lnTo>
                <a:lnTo>
                  <a:pt x="374850" y="620350"/>
                </a:lnTo>
                <a:lnTo>
                  <a:pt x="365822" y="623914"/>
                </a:lnTo>
                <a:lnTo>
                  <a:pt x="348478" y="631042"/>
                </a:lnTo>
                <a:lnTo>
                  <a:pt x="331609" y="639358"/>
                </a:lnTo>
                <a:lnTo>
                  <a:pt x="314740" y="647911"/>
                </a:lnTo>
                <a:lnTo>
                  <a:pt x="281240" y="665255"/>
                </a:lnTo>
                <a:lnTo>
                  <a:pt x="274587" y="669294"/>
                </a:lnTo>
                <a:lnTo>
                  <a:pt x="267935" y="672858"/>
                </a:lnTo>
                <a:lnTo>
                  <a:pt x="261757" y="675947"/>
                </a:lnTo>
                <a:lnTo>
                  <a:pt x="255105" y="679035"/>
                </a:lnTo>
                <a:lnTo>
                  <a:pt x="248927" y="681174"/>
                </a:lnTo>
                <a:lnTo>
                  <a:pt x="242987" y="683075"/>
                </a:lnTo>
                <a:lnTo>
                  <a:pt x="236810" y="684738"/>
                </a:lnTo>
                <a:lnTo>
                  <a:pt x="231108" y="686163"/>
                </a:lnTo>
                <a:lnTo>
                  <a:pt x="225406" y="687114"/>
                </a:lnTo>
                <a:lnTo>
                  <a:pt x="219466" y="687589"/>
                </a:lnTo>
                <a:lnTo>
                  <a:pt x="213764" y="687589"/>
                </a:lnTo>
                <a:lnTo>
                  <a:pt x="208299" y="687589"/>
                </a:lnTo>
                <a:lnTo>
                  <a:pt x="203072" y="687114"/>
                </a:lnTo>
                <a:lnTo>
                  <a:pt x="197607" y="686163"/>
                </a:lnTo>
                <a:lnTo>
                  <a:pt x="192380" y="684738"/>
                </a:lnTo>
                <a:lnTo>
                  <a:pt x="186916" y="683550"/>
                </a:lnTo>
                <a:lnTo>
                  <a:pt x="181689" y="681649"/>
                </a:lnTo>
                <a:lnTo>
                  <a:pt x="176699" y="679986"/>
                </a:lnTo>
                <a:lnTo>
                  <a:pt x="171472" y="677610"/>
                </a:lnTo>
                <a:lnTo>
                  <a:pt x="166483" y="674996"/>
                </a:lnTo>
                <a:lnTo>
                  <a:pt x="156742" y="669294"/>
                </a:lnTo>
                <a:lnTo>
                  <a:pt x="147001" y="662167"/>
                </a:lnTo>
                <a:lnTo>
                  <a:pt x="137735" y="654564"/>
                </a:lnTo>
                <a:lnTo>
                  <a:pt x="127756" y="645535"/>
                </a:lnTo>
                <a:lnTo>
                  <a:pt x="118490" y="636269"/>
                </a:lnTo>
                <a:lnTo>
                  <a:pt x="109224" y="626053"/>
                </a:lnTo>
                <a:lnTo>
                  <a:pt x="107323" y="623914"/>
                </a:lnTo>
                <a:lnTo>
                  <a:pt x="106135" y="620350"/>
                </a:lnTo>
                <a:lnTo>
                  <a:pt x="105185" y="616311"/>
                </a:lnTo>
                <a:lnTo>
                  <a:pt x="105185" y="612272"/>
                </a:lnTo>
                <a:lnTo>
                  <a:pt x="105185" y="608233"/>
                </a:lnTo>
                <a:lnTo>
                  <a:pt x="106135" y="604194"/>
                </a:lnTo>
                <a:lnTo>
                  <a:pt x="107323" y="600630"/>
                </a:lnTo>
                <a:lnTo>
                  <a:pt x="109224" y="598017"/>
                </a:lnTo>
                <a:lnTo>
                  <a:pt x="111837" y="591840"/>
                </a:lnTo>
                <a:lnTo>
                  <a:pt x="113975" y="586137"/>
                </a:lnTo>
                <a:lnTo>
                  <a:pt x="115401" y="579722"/>
                </a:lnTo>
                <a:lnTo>
                  <a:pt x="115876" y="574020"/>
                </a:lnTo>
                <a:lnTo>
                  <a:pt x="115876" y="568318"/>
                </a:lnTo>
                <a:lnTo>
                  <a:pt x="115401" y="562378"/>
                </a:lnTo>
                <a:lnTo>
                  <a:pt x="114451" y="557151"/>
                </a:lnTo>
                <a:lnTo>
                  <a:pt x="112788" y="551449"/>
                </a:lnTo>
                <a:lnTo>
                  <a:pt x="110412" y="545984"/>
                </a:lnTo>
                <a:lnTo>
                  <a:pt x="108273" y="540757"/>
                </a:lnTo>
                <a:lnTo>
                  <a:pt x="105185" y="535293"/>
                </a:lnTo>
                <a:lnTo>
                  <a:pt x="102096" y="530066"/>
                </a:lnTo>
                <a:lnTo>
                  <a:pt x="94968" y="519374"/>
                </a:lnTo>
                <a:lnTo>
                  <a:pt x="86890" y="508683"/>
                </a:lnTo>
                <a:lnTo>
                  <a:pt x="78812" y="497991"/>
                </a:lnTo>
                <a:lnTo>
                  <a:pt x="70972" y="486824"/>
                </a:lnTo>
                <a:lnTo>
                  <a:pt x="67408" y="481122"/>
                </a:lnTo>
                <a:lnTo>
                  <a:pt x="64319" y="474707"/>
                </a:lnTo>
                <a:lnTo>
                  <a:pt x="61230" y="469005"/>
                </a:lnTo>
                <a:lnTo>
                  <a:pt x="58379" y="462828"/>
                </a:lnTo>
                <a:lnTo>
                  <a:pt x="56716" y="456175"/>
                </a:lnTo>
                <a:lnTo>
                  <a:pt x="54815" y="449998"/>
                </a:lnTo>
                <a:lnTo>
                  <a:pt x="54103" y="443345"/>
                </a:lnTo>
                <a:lnTo>
                  <a:pt x="53627" y="436455"/>
                </a:lnTo>
                <a:lnTo>
                  <a:pt x="53627" y="429327"/>
                </a:lnTo>
                <a:lnTo>
                  <a:pt x="54815" y="422675"/>
                </a:lnTo>
                <a:lnTo>
                  <a:pt x="56716" y="415547"/>
                </a:lnTo>
                <a:lnTo>
                  <a:pt x="59330" y="408182"/>
                </a:lnTo>
                <a:lnTo>
                  <a:pt x="60280" y="403192"/>
                </a:lnTo>
                <a:lnTo>
                  <a:pt x="61943" y="397965"/>
                </a:lnTo>
                <a:lnTo>
                  <a:pt x="65507" y="387986"/>
                </a:lnTo>
                <a:lnTo>
                  <a:pt x="69546" y="378720"/>
                </a:lnTo>
                <a:lnTo>
                  <a:pt x="74535" y="369929"/>
                </a:lnTo>
                <a:lnTo>
                  <a:pt x="79762" y="360901"/>
                </a:lnTo>
                <a:lnTo>
                  <a:pt x="85940" y="352585"/>
                </a:lnTo>
                <a:lnTo>
                  <a:pt x="98057" y="335479"/>
                </a:lnTo>
                <a:lnTo>
                  <a:pt x="102571" y="328113"/>
                </a:lnTo>
                <a:lnTo>
                  <a:pt x="106848" y="320986"/>
                </a:lnTo>
                <a:lnTo>
                  <a:pt x="116827" y="307205"/>
                </a:lnTo>
                <a:lnTo>
                  <a:pt x="127043" y="293188"/>
                </a:lnTo>
                <a:lnTo>
                  <a:pt x="137735" y="279407"/>
                </a:lnTo>
                <a:lnTo>
                  <a:pt x="159831" y="251847"/>
                </a:lnTo>
                <a:lnTo>
                  <a:pt x="170522" y="238066"/>
                </a:lnTo>
                <a:lnTo>
                  <a:pt x="181214" y="223336"/>
                </a:lnTo>
                <a:lnTo>
                  <a:pt x="164820" y="223336"/>
                </a:lnTo>
                <a:lnTo>
                  <a:pt x="137972" y="230226"/>
                </a:lnTo>
                <a:lnTo>
                  <a:pt x="125142" y="233790"/>
                </a:lnTo>
                <a:lnTo>
                  <a:pt x="112788" y="237591"/>
                </a:lnTo>
                <a:lnTo>
                  <a:pt x="100195" y="241630"/>
                </a:lnTo>
                <a:lnTo>
                  <a:pt x="87840" y="245669"/>
                </a:lnTo>
                <a:lnTo>
                  <a:pt x="75723" y="250183"/>
                </a:lnTo>
                <a:lnTo>
                  <a:pt x="64319" y="254935"/>
                </a:lnTo>
                <a:lnTo>
                  <a:pt x="52677" y="260400"/>
                </a:lnTo>
                <a:lnTo>
                  <a:pt x="41035" y="265627"/>
                </a:lnTo>
                <a:lnTo>
                  <a:pt x="29868" y="271567"/>
                </a:lnTo>
                <a:lnTo>
                  <a:pt x="18939" y="277744"/>
                </a:lnTo>
                <a:lnTo>
                  <a:pt x="7772" y="284397"/>
                </a:lnTo>
                <a:lnTo>
                  <a:pt x="0" y="289924"/>
                </a:lnTo>
                <a:lnTo>
                  <a:pt x="0" y="895572"/>
                </a:lnTo>
                <a:lnTo>
                  <a:pt x="125653" y="895572"/>
                </a:lnTo>
                <a:lnTo>
                  <a:pt x="127756" y="892155"/>
                </a:lnTo>
                <a:lnTo>
                  <a:pt x="131082" y="885502"/>
                </a:lnTo>
                <a:lnTo>
                  <a:pt x="133696" y="878374"/>
                </a:lnTo>
                <a:lnTo>
                  <a:pt x="135834" y="871722"/>
                </a:lnTo>
                <a:lnTo>
                  <a:pt x="137735" y="864594"/>
                </a:lnTo>
                <a:lnTo>
                  <a:pt x="138923" y="857466"/>
                </a:lnTo>
                <a:lnTo>
                  <a:pt x="140348" y="850339"/>
                </a:lnTo>
                <a:lnTo>
                  <a:pt x="141298" y="843211"/>
                </a:lnTo>
                <a:lnTo>
                  <a:pt x="142011" y="828955"/>
                </a:lnTo>
                <a:lnTo>
                  <a:pt x="142486" y="814225"/>
                </a:lnTo>
                <a:lnTo>
                  <a:pt x="142486" y="799494"/>
                </a:lnTo>
                <a:lnTo>
                  <a:pt x="142486" y="782625"/>
                </a:lnTo>
                <a:lnTo>
                  <a:pt x="142486" y="771458"/>
                </a:lnTo>
                <a:lnTo>
                  <a:pt x="143912" y="778586"/>
                </a:lnTo>
                <a:lnTo>
                  <a:pt x="145100" y="784526"/>
                </a:lnTo>
                <a:lnTo>
                  <a:pt x="147476" y="789753"/>
                </a:lnTo>
                <a:lnTo>
                  <a:pt x="149614" y="794267"/>
                </a:lnTo>
                <a:lnTo>
                  <a:pt x="152228" y="797831"/>
                </a:lnTo>
                <a:lnTo>
                  <a:pt x="155554" y="801395"/>
                </a:lnTo>
                <a:lnTo>
                  <a:pt x="158643" y="803533"/>
                </a:lnTo>
                <a:lnTo>
                  <a:pt x="162206" y="805909"/>
                </a:lnTo>
                <a:lnTo>
                  <a:pt x="165770" y="807572"/>
                </a:lnTo>
                <a:lnTo>
                  <a:pt x="169572" y="808523"/>
                </a:lnTo>
                <a:lnTo>
                  <a:pt x="174086" y="809473"/>
                </a:lnTo>
                <a:lnTo>
                  <a:pt x="178600" y="810186"/>
                </a:lnTo>
                <a:lnTo>
                  <a:pt x="187866" y="810661"/>
                </a:lnTo>
                <a:lnTo>
                  <a:pt x="198083" y="810661"/>
                </a:lnTo>
                <a:lnTo>
                  <a:pt x="236810" y="810661"/>
                </a:lnTo>
                <a:lnTo>
                  <a:pt x="249640" y="811136"/>
                </a:lnTo>
                <a:lnTo>
                  <a:pt x="263183" y="811611"/>
                </a:lnTo>
                <a:lnTo>
                  <a:pt x="270310" y="811611"/>
                </a:lnTo>
                <a:lnTo>
                  <a:pt x="276963" y="811136"/>
                </a:lnTo>
                <a:lnTo>
                  <a:pt x="283140" y="810186"/>
                </a:lnTo>
                <a:lnTo>
                  <a:pt x="289793" y="808523"/>
                </a:lnTo>
                <a:lnTo>
                  <a:pt x="295495" y="806147"/>
                </a:lnTo>
                <a:lnTo>
                  <a:pt x="301435" y="803058"/>
                </a:lnTo>
                <a:lnTo>
                  <a:pt x="304524" y="801395"/>
                </a:lnTo>
                <a:lnTo>
                  <a:pt x="307137" y="799256"/>
                </a:lnTo>
                <a:lnTo>
                  <a:pt x="309275" y="796881"/>
                </a:lnTo>
                <a:lnTo>
                  <a:pt x="312126" y="794267"/>
                </a:lnTo>
                <a:lnTo>
                  <a:pt x="314265" y="791178"/>
                </a:lnTo>
                <a:lnTo>
                  <a:pt x="316403" y="788090"/>
                </a:lnTo>
                <a:lnTo>
                  <a:pt x="318304" y="784051"/>
                </a:lnTo>
                <a:lnTo>
                  <a:pt x="319967" y="780012"/>
                </a:lnTo>
                <a:lnTo>
                  <a:pt x="321868" y="775973"/>
                </a:lnTo>
                <a:lnTo>
                  <a:pt x="323056" y="771221"/>
                </a:lnTo>
                <a:lnTo>
                  <a:pt x="324481" y="765756"/>
                </a:lnTo>
                <a:lnTo>
                  <a:pt x="325907" y="760529"/>
                </a:lnTo>
                <a:lnTo>
                  <a:pt x="325907" y="827530"/>
                </a:lnTo>
                <a:lnTo>
                  <a:pt x="310226" y="835608"/>
                </a:lnTo>
                <a:lnTo>
                  <a:pt x="295970" y="843686"/>
                </a:lnTo>
                <a:lnTo>
                  <a:pt x="282665" y="850339"/>
                </a:lnTo>
                <a:lnTo>
                  <a:pt x="276488" y="852952"/>
                </a:lnTo>
                <a:lnTo>
                  <a:pt x="270310" y="855565"/>
                </a:lnTo>
                <a:lnTo>
                  <a:pt x="266271" y="857942"/>
                </a:lnTo>
                <a:lnTo>
                  <a:pt x="262708" y="860080"/>
                </a:lnTo>
                <a:lnTo>
                  <a:pt x="259619" y="862693"/>
                </a:lnTo>
                <a:lnTo>
                  <a:pt x="256768" y="865544"/>
                </a:lnTo>
                <a:lnTo>
                  <a:pt x="254154" y="868633"/>
                </a:lnTo>
                <a:lnTo>
                  <a:pt x="252491" y="871722"/>
                </a:lnTo>
                <a:lnTo>
                  <a:pt x="250590" y="874810"/>
                </a:lnTo>
                <a:lnTo>
                  <a:pt x="249402" y="877899"/>
                </a:lnTo>
                <a:lnTo>
                  <a:pt x="248452" y="880988"/>
                </a:lnTo>
                <a:lnTo>
                  <a:pt x="247977" y="884076"/>
                </a:lnTo>
                <a:lnTo>
                  <a:pt x="247977" y="887165"/>
                </a:lnTo>
                <a:lnTo>
                  <a:pt x="248452" y="890016"/>
                </a:lnTo>
                <a:lnTo>
                  <a:pt x="249402" y="893105"/>
                </a:lnTo>
                <a:lnTo>
                  <a:pt x="250075" y="895572"/>
                </a:lnTo>
                <a:lnTo>
                  <a:pt x="474750" y="895572"/>
                </a:lnTo>
                <a:lnTo>
                  <a:pt x="475827" y="894768"/>
                </a:lnTo>
                <a:lnTo>
                  <a:pt x="486993" y="882889"/>
                </a:lnTo>
                <a:lnTo>
                  <a:pt x="497210" y="870296"/>
                </a:lnTo>
                <a:lnTo>
                  <a:pt x="506951" y="857942"/>
                </a:lnTo>
                <a:lnTo>
                  <a:pt x="515742" y="844636"/>
                </a:lnTo>
                <a:lnTo>
                  <a:pt x="523820" y="831094"/>
                </a:lnTo>
                <a:lnTo>
                  <a:pt x="531898" y="816838"/>
                </a:lnTo>
                <a:lnTo>
                  <a:pt x="539026" y="802583"/>
                </a:lnTo>
                <a:lnTo>
                  <a:pt x="545678" y="788565"/>
                </a:lnTo>
                <a:lnTo>
                  <a:pt x="552331" y="773359"/>
                </a:lnTo>
                <a:lnTo>
                  <a:pt x="558033" y="758628"/>
                </a:lnTo>
                <a:lnTo>
                  <a:pt x="563498" y="743185"/>
                </a:lnTo>
                <a:lnTo>
                  <a:pt x="568725" y="727979"/>
                </a:lnTo>
                <a:lnTo>
                  <a:pt x="573714" y="712298"/>
                </a:lnTo>
                <a:lnTo>
                  <a:pt x="577991" y="696855"/>
                </a:lnTo>
                <a:lnTo>
                  <a:pt x="586544" y="665255"/>
                </a:lnTo>
                <a:lnTo>
                  <a:pt x="586069" y="663117"/>
                </a:lnTo>
                <a:lnTo>
                  <a:pt x="584881" y="660266"/>
                </a:lnTo>
                <a:lnTo>
                  <a:pt x="582980" y="657177"/>
                </a:lnTo>
                <a:lnTo>
                  <a:pt x="580367" y="654088"/>
                </a:lnTo>
                <a:lnTo>
                  <a:pt x="574902" y="647911"/>
                </a:lnTo>
                <a:lnTo>
                  <a:pt x="570150" y="642922"/>
                </a:lnTo>
                <a:lnTo>
                  <a:pt x="565636" y="636744"/>
                </a:lnTo>
                <a:lnTo>
                  <a:pt x="560647" y="631517"/>
                </a:lnTo>
                <a:lnTo>
                  <a:pt x="555420" y="626053"/>
                </a:lnTo>
                <a:lnTo>
                  <a:pt x="550193" y="621301"/>
                </a:lnTo>
                <a:lnTo>
                  <a:pt x="544253" y="616787"/>
                </a:lnTo>
                <a:lnTo>
                  <a:pt x="538075" y="612272"/>
                </a:lnTo>
                <a:lnTo>
                  <a:pt x="525721" y="603719"/>
                </a:lnTo>
                <a:lnTo>
                  <a:pt x="563023" y="619875"/>
                </a:lnTo>
                <a:lnTo>
                  <a:pt x="581317" y="628191"/>
                </a:lnTo>
                <a:lnTo>
                  <a:pt x="599374" y="636744"/>
                </a:lnTo>
                <a:lnTo>
                  <a:pt x="607927" y="641259"/>
                </a:lnTo>
                <a:lnTo>
                  <a:pt x="616718" y="646010"/>
                </a:lnTo>
                <a:lnTo>
                  <a:pt x="625271" y="651000"/>
                </a:lnTo>
                <a:lnTo>
                  <a:pt x="633349" y="656227"/>
                </a:lnTo>
                <a:lnTo>
                  <a:pt x="641665" y="662167"/>
                </a:lnTo>
                <a:lnTo>
                  <a:pt x="649268" y="668344"/>
                </a:lnTo>
                <a:lnTo>
                  <a:pt x="656871" y="674996"/>
                </a:lnTo>
                <a:lnTo>
                  <a:pt x="664474" y="682124"/>
                </a:lnTo>
                <a:lnTo>
                  <a:pt x="668988" y="686163"/>
                </a:lnTo>
                <a:lnTo>
                  <a:pt x="672790" y="690202"/>
                </a:lnTo>
                <a:lnTo>
                  <a:pt x="677304" y="693291"/>
                </a:lnTo>
                <a:lnTo>
                  <a:pt x="682293" y="696855"/>
                </a:lnTo>
                <a:lnTo>
                  <a:pt x="686570" y="699468"/>
                </a:lnTo>
                <a:lnTo>
                  <a:pt x="691559" y="702082"/>
                </a:lnTo>
                <a:lnTo>
                  <a:pt x="696549" y="703983"/>
                </a:lnTo>
                <a:lnTo>
                  <a:pt x="701300" y="705646"/>
                </a:lnTo>
                <a:lnTo>
                  <a:pt x="706290" y="707071"/>
                </a:lnTo>
                <a:lnTo>
                  <a:pt x="711042" y="708497"/>
                </a:lnTo>
                <a:lnTo>
                  <a:pt x="716506" y="708734"/>
                </a:lnTo>
                <a:lnTo>
                  <a:pt x="721258" y="708734"/>
                </a:lnTo>
                <a:lnTo>
                  <a:pt x="726723" y="708497"/>
                </a:lnTo>
                <a:lnTo>
                  <a:pt x="731712" y="707546"/>
                </a:lnTo>
                <a:lnTo>
                  <a:pt x="736939" y="706121"/>
                </a:lnTo>
                <a:lnTo>
                  <a:pt x="742166" y="704458"/>
                </a:lnTo>
                <a:lnTo>
                  <a:pt x="749294" y="702082"/>
                </a:lnTo>
                <a:lnTo>
                  <a:pt x="756184" y="699468"/>
                </a:lnTo>
                <a:lnTo>
                  <a:pt x="762361" y="696380"/>
                </a:lnTo>
                <a:lnTo>
                  <a:pt x="768063" y="692816"/>
                </a:lnTo>
                <a:lnTo>
                  <a:pt x="773528" y="689252"/>
                </a:lnTo>
                <a:lnTo>
                  <a:pt x="778755" y="684738"/>
                </a:lnTo>
                <a:lnTo>
                  <a:pt x="783269" y="680461"/>
                </a:lnTo>
                <a:lnTo>
                  <a:pt x="787308" y="674996"/>
                </a:lnTo>
                <a:lnTo>
                  <a:pt x="791110" y="669769"/>
                </a:lnTo>
                <a:lnTo>
                  <a:pt x="794436" y="663830"/>
                </a:lnTo>
                <a:lnTo>
                  <a:pt x="797050" y="657652"/>
                </a:lnTo>
                <a:lnTo>
                  <a:pt x="799188" y="651000"/>
                </a:lnTo>
                <a:lnTo>
                  <a:pt x="801089" y="643872"/>
                </a:lnTo>
                <a:lnTo>
                  <a:pt x="802277" y="636744"/>
                </a:lnTo>
                <a:lnTo>
                  <a:pt x="803227" y="628666"/>
                </a:lnTo>
                <a:lnTo>
                  <a:pt x="803227" y="620826"/>
                </a:lnTo>
                <a:lnTo>
                  <a:pt x="801089" y="622489"/>
                </a:lnTo>
                <a:lnTo>
                  <a:pt x="798238" y="623914"/>
                </a:lnTo>
                <a:lnTo>
                  <a:pt x="793011" y="626053"/>
                </a:lnTo>
                <a:lnTo>
                  <a:pt x="790397" y="627478"/>
                </a:lnTo>
                <a:lnTo>
                  <a:pt x="788496" y="628191"/>
                </a:lnTo>
                <a:lnTo>
                  <a:pt x="787308" y="630092"/>
                </a:lnTo>
                <a:lnTo>
                  <a:pt x="786833" y="631755"/>
                </a:lnTo>
                <a:lnTo>
                  <a:pt x="785408" y="635794"/>
                </a:lnTo>
                <a:lnTo>
                  <a:pt x="784220" y="639833"/>
                </a:lnTo>
                <a:lnTo>
                  <a:pt x="780656" y="646485"/>
                </a:lnTo>
                <a:lnTo>
                  <a:pt x="776617" y="653138"/>
                </a:lnTo>
                <a:lnTo>
                  <a:pt x="772103" y="659078"/>
                </a:lnTo>
                <a:lnTo>
                  <a:pt x="762361" y="670007"/>
                </a:lnTo>
                <a:lnTo>
                  <a:pt x="757847" y="675947"/>
                </a:lnTo>
                <a:lnTo>
                  <a:pt x="753333" y="682124"/>
                </a:lnTo>
                <a:lnTo>
                  <a:pt x="750244" y="684738"/>
                </a:lnTo>
                <a:lnTo>
                  <a:pt x="747155" y="687589"/>
                </a:lnTo>
                <a:lnTo>
                  <a:pt x="744067" y="689252"/>
                </a:lnTo>
                <a:lnTo>
                  <a:pt x="740978" y="690915"/>
                </a:lnTo>
                <a:lnTo>
                  <a:pt x="737890" y="691865"/>
                </a:lnTo>
                <a:lnTo>
                  <a:pt x="734801" y="692816"/>
                </a:lnTo>
                <a:lnTo>
                  <a:pt x="731950" y="693291"/>
                </a:lnTo>
                <a:lnTo>
                  <a:pt x="728861" y="693291"/>
                </a:lnTo>
                <a:lnTo>
                  <a:pt x="723634" y="692816"/>
                </a:lnTo>
                <a:lnTo>
                  <a:pt x="718169" y="691390"/>
                </a:lnTo>
                <a:lnTo>
                  <a:pt x="713418" y="689727"/>
                </a:lnTo>
                <a:lnTo>
                  <a:pt x="708903" y="687826"/>
                </a:lnTo>
                <a:lnTo>
                  <a:pt x="706765" y="687589"/>
                </a:lnTo>
                <a:lnTo>
                  <a:pt x="704864" y="687114"/>
                </a:lnTo>
                <a:lnTo>
                  <a:pt x="703201" y="686163"/>
                </a:lnTo>
                <a:lnTo>
                  <a:pt x="701776" y="684738"/>
                </a:lnTo>
                <a:lnTo>
                  <a:pt x="698687" y="681649"/>
                </a:lnTo>
                <a:lnTo>
                  <a:pt x="696549" y="678085"/>
                </a:lnTo>
                <a:lnTo>
                  <a:pt x="694648" y="673571"/>
                </a:lnTo>
                <a:lnTo>
                  <a:pt x="693460" y="668819"/>
                </a:lnTo>
                <a:lnTo>
                  <a:pt x="692510" y="664305"/>
                </a:lnTo>
                <a:lnTo>
                  <a:pt x="692510" y="659790"/>
                </a:lnTo>
                <a:lnTo>
                  <a:pt x="692510" y="647436"/>
                </a:lnTo>
                <a:lnTo>
                  <a:pt x="693460" y="635319"/>
                </a:lnTo>
                <a:lnTo>
                  <a:pt x="694173" y="624389"/>
                </a:lnTo>
                <a:lnTo>
                  <a:pt x="695598" y="612748"/>
                </a:lnTo>
                <a:lnTo>
                  <a:pt x="699162" y="591364"/>
                </a:lnTo>
                <a:lnTo>
                  <a:pt x="703676" y="570456"/>
                </a:lnTo>
                <a:lnTo>
                  <a:pt x="720070" y="574971"/>
                </a:lnTo>
                <a:lnTo>
                  <a:pt x="736939" y="579247"/>
                </a:lnTo>
                <a:lnTo>
                  <a:pt x="770677" y="589226"/>
                </a:lnTo>
                <a:lnTo>
                  <a:pt x="788021" y="593503"/>
                </a:lnTo>
                <a:lnTo>
                  <a:pt x="805365" y="597542"/>
                </a:lnTo>
                <a:lnTo>
                  <a:pt x="823660" y="601106"/>
                </a:lnTo>
                <a:lnTo>
                  <a:pt x="841954" y="603719"/>
                </a:lnTo>
                <a:lnTo>
                  <a:pt x="861437" y="606570"/>
                </a:lnTo>
                <a:lnTo>
                  <a:pt x="880682" y="608233"/>
                </a:lnTo>
                <a:lnTo>
                  <a:pt x="889948" y="608708"/>
                </a:lnTo>
                <a:lnTo>
                  <a:pt x="898976" y="608708"/>
                </a:lnTo>
                <a:lnTo>
                  <a:pt x="908242" y="608708"/>
                </a:lnTo>
                <a:lnTo>
                  <a:pt x="916795" y="608233"/>
                </a:lnTo>
                <a:lnTo>
                  <a:pt x="925586" y="607283"/>
                </a:lnTo>
                <a:lnTo>
                  <a:pt x="934140" y="606095"/>
                </a:lnTo>
                <a:lnTo>
                  <a:pt x="942455" y="604669"/>
                </a:lnTo>
                <a:lnTo>
                  <a:pt x="950533" y="603006"/>
                </a:lnTo>
                <a:lnTo>
                  <a:pt x="958611" y="600630"/>
                </a:lnTo>
                <a:lnTo>
                  <a:pt x="966452" y="598017"/>
                </a:lnTo>
                <a:lnTo>
                  <a:pt x="974055" y="595403"/>
                </a:lnTo>
                <a:lnTo>
                  <a:pt x="981658" y="591840"/>
                </a:lnTo>
                <a:lnTo>
                  <a:pt x="989261" y="588276"/>
                </a:lnTo>
                <a:lnTo>
                  <a:pt x="996388" y="584237"/>
                </a:lnTo>
                <a:lnTo>
                  <a:pt x="1003041" y="579247"/>
                </a:lnTo>
                <a:lnTo>
                  <a:pt x="1009694" y="574495"/>
                </a:lnTo>
                <a:lnTo>
                  <a:pt x="1016346" y="569031"/>
                </a:lnTo>
                <a:lnTo>
                  <a:pt x="1022998" y="562853"/>
                </a:lnTo>
                <a:lnTo>
                  <a:pt x="1029176" y="556676"/>
                </a:lnTo>
                <a:lnTo>
                  <a:pt x="1035116" y="549548"/>
                </a:lnTo>
                <a:lnTo>
                  <a:pt x="1040818" y="541945"/>
                </a:lnTo>
                <a:lnTo>
                  <a:pt x="1046520" y="534342"/>
                </a:lnTo>
                <a:lnTo>
                  <a:pt x="1051985" y="526027"/>
                </a:lnTo>
                <a:lnTo>
                  <a:pt x="1056737" y="516523"/>
                </a:lnTo>
                <a:lnTo>
                  <a:pt x="1061726" y="507257"/>
                </a:lnTo>
                <a:lnTo>
                  <a:pt x="1066715" y="497041"/>
                </a:lnTo>
                <a:lnTo>
                  <a:pt x="1070992" y="486349"/>
                </a:lnTo>
                <a:lnTo>
                  <a:pt x="1075506" y="475182"/>
                </a:lnTo>
                <a:lnTo>
                  <a:pt x="1079070" y="462828"/>
                </a:lnTo>
                <a:lnTo>
                  <a:pt x="1082634" y="449998"/>
                </a:lnTo>
                <a:lnTo>
                  <a:pt x="1084772" y="437405"/>
                </a:lnTo>
                <a:lnTo>
                  <a:pt x="1087148" y="425050"/>
                </a:lnTo>
                <a:lnTo>
                  <a:pt x="1088811" y="411983"/>
                </a:lnTo>
                <a:lnTo>
                  <a:pt x="1089762" y="399628"/>
                </a:lnTo>
                <a:lnTo>
                  <a:pt x="1090712" y="386798"/>
                </a:lnTo>
                <a:lnTo>
                  <a:pt x="1090712" y="373731"/>
                </a:lnTo>
                <a:lnTo>
                  <a:pt x="1090712" y="360901"/>
                </a:lnTo>
                <a:lnTo>
                  <a:pt x="1089762" y="348071"/>
                </a:lnTo>
                <a:lnTo>
                  <a:pt x="1088811" y="335004"/>
                </a:lnTo>
                <a:lnTo>
                  <a:pt x="1088099" y="321698"/>
                </a:lnTo>
                <a:lnTo>
                  <a:pt x="1084772" y="295563"/>
                </a:lnTo>
                <a:lnTo>
                  <a:pt x="1080971" y="268478"/>
                </a:lnTo>
                <a:lnTo>
                  <a:pt x="1078595" y="258262"/>
                </a:lnTo>
                <a:lnTo>
                  <a:pt x="1075981" y="248283"/>
                </a:lnTo>
                <a:lnTo>
                  <a:pt x="1072417" y="238542"/>
                </a:lnTo>
                <a:lnTo>
                  <a:pt x="1069329" y="229275"/>
                </a:lnTo>
                <a:lnTo>
                  <a:pt x="1061251" y="210031"/>
                </a:lnTo>
                <a:lnTo>
                  <a:pt x="1053173" y="190073"/>
                </a:lnTo>
                <a:lnTo>
                  <a:pt x="1051034" y="186034"/>
                </a:lnTo>
                <a:lnTo>
                  <a:pt x="1048896" y="182470"/>
                </a:lnTo>
                <a:lnTo>
                  <a:pt x="1046045" y="179381"/>
                </a:lnTo>
                <a:lnTo>
                  <a:pt x="1043906" y="176768"/>
                </a:lnTo>
                <a:lnTo>
                  <a:pt x="1041293" y="174630"/>
                </a:lnTo>
                <a:lnTo>
                  <a:pt x="1038680" y="172729"/>
                </a:lnTo>
                <a:lnTo>
                  <a:pt x="1035828" y="171303"/>
                </a:lnTo>
                <a:lnTo>
                  <a:pt x="1032740" y="170591"/>
                </a:lnTo>
                <a:lnTo>
                  <a:pt x="1030126" y="170591"/>
                </a:lnTo>
                <a:lnTo>
                  <a:pt x="1027038" y="170591"/>
                </a:lnTo>
                <a:lnTo>
                  <a:pt x="1024424" y="171303"/>
                </a:lnTo>
                <a:lnTo>
                  <a:pt x="1021335" y="172729"/>
                </a:lnTo>
                <a:lnTo>
                  <a:pt x="1018247" y="174867"/>
                </a:lnTo>
                <a:lnTo>
                  <a:pt x="1014920" y="177718"/>
                </a:lnTo>
                <a:lnTo>
                  <a:pt x="1011832" y="180807"/>
                </a:lnTo>
                <a:lnTo>
                  <a:pt x="1008743" y="184846"/>
                </a:lnTo>
                <a:lnTo>
                  <a:pt x="991874" y="201240"/>
                </a:lnTo>
                <a:lnTo>
                  <a:pt x="983321" y="209318"/>
                </a:lnTo>
                <a:lnTo>
                  <a:pt x="974530" y="216683"/>
                </a:lnTo>
                <a:lnTo>
                  <a:pt x="965739" y="223811"/>
                </a:lnTo>
                <a:lnTo>
                  <a:pt x="956236" y="230226"/>
                </a:lnTo>
                <a:lnTo>
                  <a:pt x="946494" y="235928"/>
                </a:lnTo>
                <a:lnTo>
                  <a:pt x="941505" y="238066"/>
                </a:lnTo>
                <a:lnTo>
                  <a:pt x="936753" y="240442"/>
                </a:lnTo>
                <a:lnTo>
                  <a:pt x="932239" y="242581"/>
                </a:lnTo>
                <a:lnTo>
                  <a:pt x="928675" y="245669"/>
                </a:lnTo>
                <a:lnTo>
                  <a:pt x="925111" y="249233"/>
                </a:lnTo>
                <a:lnTo>
                  <a:pt x="922022" y="252797"/>
                </a:lnTo>
                <a:lnTo>
                  <a:pt x="919884" y="257311"/>
                </a:lnTo>
                <a:lnTo>
                  <a:pt x="918934" y="259925"/>
                </a:lnTo>
                <a:lnTo>
                  <a:pt x="918459" y="262538"/>
                </a:lnTo>
                <a:lnTo>
                  <a:pt x="918459" y="265389"/>
                </a:lnTo>
                <a:lnTo>
                  <a:pt x="918459" y="268003"/>
                </a:lnTo>
                <a:lnTo>
                  <a:pt x="918934" y="271091"/>
                </a:lnTo>
                <a:lnTo>
                  <a:pt x="919884" y="274180"/>
                </a:lnTo>
                <a:lnTo>
                  <a:pt x="921547" y="282258"/>
                </a:lnTo>
                <a:lnTo>
                  <a:pt x="922973" y="290574"/>
                </a:lnTo>
                <a:lnTo>
                  <a:pt x="923923" y="299127"/>
                </a:lnTo>
                <a:lnTo>
                  <a:pt x="924161" y="307443"/>
                </a:lnTo>
                <a:lnTo>
                  <a:pt x="924161" y="315996"/>
                </a:lnTo>
                <a:lnTo>
                  <a:pt x="923923" y="324550"/>
                </a:lnTo>
                <a:lnTo>
                  <a:pt x="922973" y="332865"/>
                </a:lnTo>
                <a:lnTo>
                  <a:pt x="922022" y="340943"/>
                </a:lnTo>
                <a:lnTo>
                  <a:pt x="920597" y="349259"/>
                </a:lnTo>
                <a:lnTo>
                  <a:pt x="918934" y="357812"/>
                </a:lnTo>
                <a:lnTo>
                  <a:pt x="914420" y="374681"/>
                </a:lnTo>
                <a:lnTo>
                  <a:pt x="909192" y="391075"/>
                </a:lnTo>
                <a:lnTo>
                  <a:pt x="903253" y="408182"/>
                </a:lnTo>
                <a:lnTo>
                  <a:pt x="903253" y="397965"/>
                </a:lnTo>
                <a:lnTo>
                  <a:pt x="904203" y="387274"/>
                </a:lnTo>
                <a:lnTo>
                  <a:pt x="906104" y="367078"/>
                </a:lnTo>
                <a:lnTo>
                  <a:pt x="907767" y="347596"/>
                </a:lnTo>
                <a:lnTo>
                  <a:pt x="908717" y="338567"/>
                </a:lnTo>
                <a:lnTo>
                  <a:pt x="908717" y="329777"/>
                </a:lnTo>
                <a:lnTo>
                  <a:pt x="908717" y="325738"/>
                </a:lnTo>
                <a:lnTo>
                  <a:pt x="907767" y="322649"/>
                </a:lnTo>
                <a:lnTo>
                  <a:pt x="906817" y="319560"/>
                </a:lnTo>
                <a:lnTo>
                  <a:pt x="905154" y="316471"/>
                </a:lnTo>
                <a:lnTo>
                  <a:pt x="903728" y="314096"/>
                </a:lnTo>
                <a:lnTo>
                  <a:pt x="901590" y="311957"/>
                </a:lnTo>
                <a:lnTo>
                  <a:pt x="897551" y="307443"/>
                </a:lnTo>
                <a:lnTo>
                  <a:pt x="895412" y="309344"/>
                </a:lnTo>
                <a:lnTo>
                  <a:pt x="892561" y="310769"/>
                </a:lnTo>
                <a:lnTo>
                  <a:pt x="887334" y="313383"/>
                </a:lnTo>
                <a:lnTo>
                  <a:pt x="884721" y="314096"/>
                </a:lnTo>
                <a:lnTo>
                  <a:pt x="882820" y="315521"/>
                </a:lnTo>
                <a:lnTo>
                  <a:pt x="881632" y="316947"/>
                </a:lnTo>
                <a:lnTo>
                  <a:pt x="881157" y="318610"/>
                </a:lnTo>
                <a:lnTo>
                  <a:pt x="872604" y="331915"/>
                </a:lnTo>
                <a:lnTo>
                  <a:pt x="864288" y="346646"/>
                </a:lnTo>
                <a:lnTo>
                  <a:pt x="856210" y="361376"/>
                </a:lnTo>
                <a:lnTo>
                  <a:pt x="847656" y="374681"/>
                </a:lnTo>
                <a:lnTo>
                  <a:pt x="841954" y="374681"/>
                </a:lnTo>
                <a:lnTo>
                  <a:pt x="846468" y="357812"/>
                </a:lnTo>
                <a:lnTo>
                  <a:pt x="850508" y="339518"/>
                </a:lnTo>
                <a:lnTo>
                  <a:pt x="854784" y="319560"/>
                </a:lnTo>
                <a:lnTo>
                  <a:pt x="858823" y="296514"/>
                </a:lnTo>
                <a:lnTo>
                  <a:pt x="848132" y="303879"/>
                </a:lnTo>
                <a:lnTo>
                  <a:pt x="840054" y="310294"/>
                </a:lnTo>
                <a:lnTo>
                  <a:pt x="833163" y="316947"/>
                </a:lnTo>
                <a:lnTo>
                  <a:pt x="825560" y="324550"/>
                </a:lnTo>
                <a:lnTo>
                  <a:pt x="823185" y="326688"/>
                </a:lnTo>
                <a:lnTo>
                  <a:pt x="821522" y="329301"/>
                </a:lnTo>
                <a:lnTo>
                  <a:pt x="817007" y="335954"/>
                </a:lnTo>
                <a:lnTo>
                  <a:pt x="812968" y="344032"/>
                </a:lnTo>
                <a:lnTo>
                  <a:pt x="808929" y="352585"/>
                </a:lnTo>
                <a:lnTo>
                  <a:pt x="809880" y="343557"/>
                </a:lnTo>
                <a:lnTo>
                  <a:pt x="811305" y="335479"/>
                </a:lnTo>
                <a:lnTo>
                  <a:pt x="812493" y="328826"/>
                </a:lnTo>
                <a:lnTo>
                  <a:pt x="814394" y="323124"/>
                </a:lnTo>
                <a:lnTo>
                  <a:pt x="816532" y="317659"/>
                </a:lnTo>
                <a:lnTo>
                  <a:pt x="819146" y="313383"/>
                </a:lnTo>
                <a:lnTo>
                  <a:pt x="822709" y="309344"/>
                </a:lnTo>
                <a:lnTo>
                  <a:pt x="826748" y="306255"/>
                </a:lnTo>
                <a:lnTo>
                  <a:pt x="832213" y="303166"/>
                </a:lnTo>
                <a:lnTo>
                  <a:pt x="838390" y="300315"/>
                </a:lnTo>
                <a:lnTo>
                  <a:pt x="845518" y="298177"/>
                </a:lnTo>
                <a:lnTo>
                  <a:pt x="854071" y="295563"/>
                </a:lnTo>
                <a:lnTo>
                  <a:pt x="875217" y="290574"/>
                </a:lnTo>
                <a:lnTo>
                  <a:pt x="903253" y="285347"/>
                </a:lnTo>
                <a:lnTo>
                  <a:pt x="886384" y="268478"/>
                </a:lnTo>
                <a:lnTo>
                  <a:pt x="879731" y="270141"/>
                </a:lnTo>
                <a:lnTo>
                  <a:pt x="873079" y="271091"/>
                </a:lnTo>
                <a:lnTo>
                  <a:pt x="867376" y="271567"/>
                </a:lnTo>
                <a:lnTo>
                  <a:pt x="862387" y="271091"/>
                </a:lnTo>
                <a:lnTo>
                  <a:pt x="857398" y="269666"/>
                </a:lnTo>
                <a:lnTo>
                  <a:pt x="853596" y="268003"/>
                </a:lnTo>
                <a:lnTo>
                  <a:pt x="849557" y="265627"/>
                </a:lnTo>
                <a:lnTo>
                  <a:pt x="846468" y="262538"/>
                </a:lnTo>
                <a:lnTo>
                  <a:pt x="843380" y="259450"/>
                </a:lnTo>
                <a:lnTo>
                  <a:pt x="840529" y="255411"/>
                </a:lnTo>
                <a:lnTo>
                  <a:pt x="838390" y="251134"/>
                </a:lnTo>
                <a:lnTo>
                  <a:pt x="836490" y="246620"/>
                </a:lnTo>
                <a:lnTo>
                  <a:pt x="834827" y="241155"/>
                </a:lnTo>
                <a:lnTo>
                  <a:pt x="833401" y="235453"/>
                </a:lnTo>
                <a:lnTo>
                  <a:pt x="831263" y="223336"/>
                </a:lnTo>
                <a:lnTo>
                  <a:pt x="897551" y="206942"/>
                </a:lnTo>
                <a:lnTo>
                  <a:pt x="888997" y="194112"/>
                </a:lnTo>
                <a:lnTo>
                  <a:pt x="880682" y="181282"/>
                </a:lnTo>
                <a:lnTo>
                  <a:pt x="871416" y="168690"/>
                </a:lnTo>
                <a:lnTo>
                  <a:pt x="866901" y="162988"/>
                </a:lnTo>
                <a:lnTo>
                  <a:pt x="861437" y="157048"/>
                </a:lnTo>
                <a:lnTo>
                  <a:pt x="856210" y="151821"/>
                </a:lnTo>
                <a:lnTo>
                  <a:pt x="850745" y="146831"/>
                </a:lnTo>
                <a:lnTo>
                  <a:pt x="844568" y="142555"/>
                </a:lnTo>
                <a:lnTo>
                  <a:pt x="838390" y="138516"/>
                </a:lnTo>
                <a:lnTo>
                  <a:pt x="831738" y="134952"/>
                </a:lnTo>
                <a:lnTo>
                  <a:pt x="824610" y="132338"/>
                </a:lnTo>
                <a:lnTo>
                  <a:pt x="817007" y="129963"/>
                </a:lnTo>
                <a:lnTo>
                  <a:pt x="808929" y="128774"/>
                </a:lnTo>
                <a:lnTo>
                  <a:pt x="806791" y="128299"/>
                </a:lnTo>
                <a:lnTo>
                  <a:pt x="804652" y="127824"/>
                </a:lnTo>
                <a:lnTo>
                  <a:pt x="802752" y="126399"/>
                </a:lnTo>
                <a:lnTo>
                  <a:pt x="801089" y="125211"/>
                </a:lnTo>
                <a:lnTo>
                  <a:pt x="799663" y="123310"/>
                </a:lnTo>
                <a:lnTo>
                  <a:pt x="798713" y="121647"/>
                </a:lnTo>
                <a:lnTo>
                  <a:pt x="798000" y="119271"/>
                </a:lnTo>
                <a:lnTo>
                  <a:pt x="798000" y="117608"/>
                </a:lnTo>
                <a:lnTo>
                  <a:pt x="785408" y="106916"/>
                </a:lnTo>
                <a:lnTo>
                  <a:pt x="772578" y="95749"/>
                </a:lnTo>
                <a:lnTo>
                  <a:pt x="747155" y="72703"/>
                </a:lnTo>
                <a:lnTo>
                  <a:pt x="733850" y="61061"/>
                </a:lnTo>
                <a:lnTo>
                  <a:pt x="720545" y="49894"/>
                </a:lnTo>
                <a:lnTo>
                  <a:pt x="706765" y="38728"/>
                </a:lnTo>
                <a:lnTo>
                  <a:pt x="692510" y="28036"/>
                </a:lnTo>
                <a:lnTo>
                  <a:pt x="679442" y="21859"/>
                </a:lnTo>
                <a:lnTo>
                  <a:pt x="666137" y="16632"/>
                </a:lnTo>
                <a:lnTo>
                  <a:pt x="652832" y="11642"/>
                </a:lnTo>
                <a:lnTo>
                  <a:pt x="639527" y="7603"/>
                </a:lnTo>
                <a:lnTo>
                  <a:pt x="626222" y="4514"/>
                </a:lnTo>
                <a:lnTo>
                  <a:pt x="612917" y="1901"/>
                </a:lnTo>
                <a:lnTo>
                  <a:pt x="599374" y="475"/>
                </a:lnTo>
                <a:close/>
              </a:path>
            </a:pathLst>
          </a:custGeom>
          <a:solidFill>
            <a:schemeClr val="bg1">
              <a:alpha val="25000"/>
            </a:schemeClr>
          </a:solidFill>
          <a:ln>
            <a:noFill/>
          </a:ln>
        </p:spPr>
        <p:txBody>
          <a:bodyPr vert="horz" wrap="square" lIns="91440" tIns="45720" rIns="91440" bIns="45720" numCol="1" anchor="t" anchorCtr="0" compatLnSpc="1">
            <a:prstTxWarp prst="textNoShape">
              <a:avLst/>
            </a:prstTxWarp>
            <a:noAutofit/>
          </a:bodyPr>
          <a:lstStyle/>
          <a:p>
            <a:endParaRPr lang="en-IN"/>
          </a:p>
        </p:txBody>
      </p:sp>
      <p:sp>
        <p:nvSpPr>
          <p:cNvPr id="7" name="Rectangle 6"/>
          <p:cNvSpPr/>
          <p:nvPr/>
        </p:nvSpPr>
        <p:spPr>
          <a:xfrm>
            <a:off x="9108" y="1237136"/>
            <a:ext cx="5325034" cy="1588127"/>
          </a:xfrm>
          <a:prstGeom prst="rect">
            <a:avLst/>
          </a:prstGeom>
        </p:spPr>
        <p:txBody>
          <a:bodyPr wrap="square" lIns="274320">
            <a:spAutoFit/>
          </a:bodyPr>
          <a:lstStyle/>
          <a:p>
            <a:pPr defTabSz="932472" fontAlgn="base">
              <a:lnSpc>
                <a:spcPct val="90000"/>
              </a:lnSpc>
              <a:spcBef>
                <a:spcPct val="0"/>
              </a:spcBef>
              <a:spcAft>
                <a:spcPct val="0"/>
              </a:spcAft>
            </a:pPr>
            <a:r>
              <a:rPr lang="en-US" sz="5400" dirty="0" smtClean="0">
                <a:solidFill>
                  <a:schemeClr val="bg1"/>
                </a:solidFill>
                <a:latin typeface="+mj-lt"/>
                <a:ea typeface="Segoe UI" pitchFamily="34" charset="0"/>
                <a:cs typeface="Segoe UI" pitchFamily="34" charset="0"/>
              </a:rPr>
              <a:t>Cluster Customizations</a:t>
            </a:r>
            <a:endParaRPr lang="en-US" sz="5400" dirty="0">
              <a:solidFill>
                <a:schemeClr val="bg1"/>
              </a:solidFill>
              <a:latin typeface="+mj-lt"/>
              <a:ea typeface="Segoe UI" pitchFamily="34" charset="0"/>
              <a:cs typeface="Segoe UI" pitchFamily="34" charset="0"/>
            </a:endParaRPr>
          </a:p>
        </p:txBody>
      </p:sp>
      <p:sp>
        <p:nvSpPr>
          <p:cNvPr id="2" name="Slide Number Placeholder 1"/>
          <p:cNvSpPr>
            <a:spLocks noGrp="1"/>
          </p:cNvSpPr>
          <p:nvPr>
            <p:ph type="sldNum" sz="quarter" idx="11"/>
          </p:nvPr>
        </p:nvSpPr>
        <p:spPr/>
        <p:txBody>
          <a:bodyPr/>
          <a:lstStyle/>
          <a:p>
            <a:pPr>
              <a:defRPr/>
            </a:pPr>
            <a:fld id="{F8A0AC42-AA1D-4944-8D96-660DE70C7E1B}" type="slidenum">
              <a:rPr lang="en-IN" smtClean="0"/>
              <a:pPr>
                <a:defRPr/>
              </a:pPr>
              <a:t>17</a:t>
            </a:fld>
            <a:endParaRPr lang="en-IN" dirty="0"/>
          </a:p>
        </p:txBody>
      </p:sp>
    </p:spTree>
    <p:extLst>
      <p:ext uri="{BB962C8B-B14F-4D97-AF65-F5344CB8AC3E}">
        <p14:creationId xmlns:p14="http://schemas.microsoft.com/office/powerpoint/2010/main" val="1108261457"/>
      </p:ext>
    </p:extLst>
  </p:cSld>
  <p:clrMapOvr>
    <a:masterClrMapping/>
  </p:clrMapOvr>
  <p:transition spd="med">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Oval 24"/>
          <p:cNvSpPr/>
          <p:nvPr/>
        </p:nvSpPr>
        <p:spPr bwMode="auto">
          <a:xfrm>
            <a:off x="8552561" y="3309322"/>
            <a:ext cx="1371600" cy="1436805"/>
          </a:xfrm>
          <a:prstGeom prst="ellipse">
            <a:avLst/>
          </a:prstGeom>
          <a:solidFill>
            <a:schemeClr val="bg1"/>
          </a:solidFill>
          <a:ln w="571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7432" rIns="0" bIns="27432"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b="1" dirty="0" smtClean="0">
                <a:solidFill>
                  <a:srgbClr val="505050"/>
                </a:solidFill>
                <a:ea typeface="Segoe UI" pitchFamily="34" charset="0"/>
                <a:cs typeface="Segoe UI" pitchFamily="34" charset="0"/>
              </a:rPr>
              <a:t>Customize</a:t>
            </a:r>
            <a:br>
              <a:rPr lang="en-IN" b="1" dirty="0" smtClean="0">
                <a:solidFill>
                  <a:srgbClr val="505050"/>
                </a:solidFill>
                <a:ea typeface="Segoe UI" pitchFamily="34" charset="0"/>
                <a:cs typeface="Segoe UI" pitchFamily="34" charset="0"/>
              </a:rPr>
            </a:br>
            <a:r>
              <a:rPr lang="en-IN" b="1" dirty="0" smtClean="0">
                <a:solidFill>
                  <a:srgbClr val="505050"/>
                </a:solidFill>
                <a:ea typeface="Segoe UI" pitchFamily="34" charset="0"/>
                <a:cs typeface="Segoe UI" pitchFamily="34" charset="0"/>
              </a:rPr>
              <a:t>cluster?</a:t>
            </a:r>
          </a:p>
        </p:txBody>
      </p:sp>
      <p:sp>
        <p:nvSpPr>
          <p:cNvPr id="28" name="Rectangle 27"/>
          <p:cNvSpPr/>
          <p:nvPr/>
        </p:nvSpPr>
        <p:spPr>
          <a:xfrm>
            <a:off x="4476750" y="1293813"/>
            <a:ext cx="7532688" cy="699487"/>
          </a:xfrm>
          <a:prstGeom prst="rect">
            <a:avLst/>
          </a:prstGeom>
          <a:solidFill>
            <a:schemeClr val="bg1"/>
          </a:solidFill>
          <a:ln w="571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r>
              <a:rPr lang="en-US" sz="2400" dirty="0" smtClean="0">
                <a:solidFill>
                  <a:schemeClr val="tx2"/>
                </a:solidFill>
                <a:latin typeface="Segoe UI Semibold" panose="020B0702040204020203" pitchFamily="34" charset="0"/>
                <a:cs typeface="Segoe UI Semibold" panose="020B0702040204020203" pitchFamily="34" charset="0"/>
              </a:rPr>
              <a:t>HDInsight cluster provisioning states</a:t>
            </a:r>
            <a:endParaRPr lang="en-US" sz="2400" dirty="0">
              <a:solidFill>
                <a:schemeClr val="tx2"/>
              </a:solidFill>
              <a:latin typeface="Segoe UI Semibold" panose="020B0702040204020203" pitchFamily="34" charset="0"/>
              <a:cs typeface="Segoe UI Semibold" panose="020B0702040204020203" pitchFamily="34" charset="0"/>
            </a:endParaRPr>
          </a:p>
        </p:txBody>
      </p:sp>
      <p:grpSp>
        <p:nvGrpSpPr>
          <p:cNvPr id="76" name="Group 75"/>
          <p:cNvGrpSpPr/>
          <p:nvPr/>
        </p:nvGrpSpPr>
        <p:grpSpPr>
          <a:xfrm>
            <a:off x="465136" y="4975524"/>
            <a:ext cx="3859214" cy="1493539"/>
            <a:chOff x="465136" y="4975524"/>
            <a:chExt cx="3859214" cy="1493539"/>
          </a:xfrm>
        </p:grpSpPr>
        <p:grpSp>
          <p:nvGrpSpPr>
            <p:cNvPr id="72" name="Group 71"/>
            <p:cNvGrpSpPr/>
            <p:nvPr/>
          </p:nvGrpSpPr>
          <p:grpSpPr>
            <a:xfrm>
              <a:off x="465136" y="4975524"/>
              <a:ext cx="3859214" cy="1493539"/>
              <a:chOff x="465136" y="4975524"/>
              <a:chExt cx="3859214" cy="1493539"/>
            </a:xfrm>
          </p:grpSpPr>
          <p:sp>
            <p:nvSpPr>
              <p:cNvPr id="67" name="Rectangle 66"/>
              <p:cNvSpPr/>
              <p:nvPr/>
            </p:nvSpPr>
            <p:spPr bwMode="auto">
              <a:xfrm>
                <a:off x="465136" y="5437189"/>
                <a:ext cx="3859214" cy="1031874"/>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558800" lvl="2" defTabSz="931863" fontAlgn="base">
                  <a:spcBef>
                    <a:spcPts val="600"/>
                  </a:spcBef>
                  <a:spcAft>
                    <a:spcPct val="0"/>
                  </a:spcAft>
                  <a:buSzPct val="90000"/>
                </a:pPr>
                <a:r>
                  <a:rPr lang="en-US" sz="2000" dirty="0">
                    <a:solidFill>
                      <a:schemeClr val="tx2"/>
                    </a:solidFill>
                    <a:ea typeface="ＭＳ Ｐゴシック" charset="0"/>
                  </a:rPr>
                  <a:t>RDP to cluster, update </a:t>
                </a:r>
                <a:r>
                  <a:rPr lang="en-US" sz="2000" dirty="0" err="1">
                    <a:solidFill>
                      <a:schemeClr val="tx2"/>
                    </a:solidFill>
                    <a:ea typeface="ＭＳ Ｐゴシック" charset="0"/>
                  </a:rPr>
                  <a:t>config</a:t>
                </a:r>
                <a:r>
                  <a:rPr lang="en-US" sz="2000" dirty="0">
                    <a:solidFill>
                      <a:schemeClr val="tx2"/>
                    </a:solidFill>
                    <a:ea typeface="ＭＳ Ｐゴシック" charset="0"/>
                  </a:rPr>
                  <a:t> files (non-durable) </a:t>
                </a:r>
              </a:p>
            </p:txBody>
          </p:sp>
          <p:sp>
            <p:nvSpPr>
              <p:cNvPr id="68" name="Rectangle 67"/>
              <p:cNvSpPr/>
              <p:nvPr/>
            </p:nvSpPr>
            <p:spPr bwMode="auto">
              <a:xfrm>
                <a:off x="465136" y="4975524"/>
                <a:ext cx="3859214" cy="461665"/>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defTabSz="932472" fontAlgn="base">
                  <a:spcBef>
                    <a:spcPct val="0"/>
                  </a:spcBef>
                  <a:spcAft>
                    <a:spcPct val="0"/>
                  </a:spcAft>
                </a:pPr>
                <a:r>
                  <a:rPr lang="en-IN" sz="2400" dirty="0">
                    <a:solidFill>
                      <a:schemeClr val="bg1"/>
                    </a:solidFill>
                    <a:latin typeface="+mj-lt"/>
                    <a:ea typeface="Segoe UI" pitchFamily="34" charset="0"/>
                    <a:cs typeface="Segoe UI" pitchFamily="34" charset="0"/>
                  </a:rPr>
                  <a:t>Ad hoc</a:t>
                </a:r>
              </a:p>
            </p:txBody>
          </p:sp>
        </p:grpSp>
        <p:sp>
          <p:nvSpPr>
            <p:cNvPr id="69" name="Freeform 68"/>
            <p:cNvSpPr>
              <a:spLocks/>
            </p:cNvSpPr>
            <p:nvPr/>
          </p:nvSpPr>
          <p:spPr bwMode="auto">
            <a:xfrm>
              <a:off x="572440" y="5530209"/>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sp>
        <p:nvSpPr>
          <p:cNvPr id="2" name="Title 1"/>
          <p:cNvSpPr>
            <a:spLocks noGrp="1"/>
          </p:cNvSpPr>
          <p:nvPr>
            <p:ph type="title"/>
          </p:nvPr>
        </p:nvSpPr>
        <p:spPr/>
        <p:txBody>
          <a:bodyPr/>
          <a:lstStyle/>
          <a:p>
            <a:r>
              <a:rPr lang="en-US" dirty="0" smtClean="0"/>
              <a:t>Cluster customization options</a:t>
            </a:r>
            <a:endParaRPr lang="en-US" dirty="0"/>
          </a:p>
        </p:txBody>
      </p:sp>
      <p:grpSp>
        <p:nvGrpSpPr>
          <p:cNvPr id="73" name="Group 72"/>
          <p:cNvGrpSpPr/>
          <p:nvPr/>
        </p:nvGrpSpPr>
        <p:grpSpPr>
          <a:xfrm>
            <a:off x="465136" y="1293813"/>
            <a:ext cx="3859214" cy="1716087"/>
            <a:chOff x="465136" y="1293813"/>
            <a:chExt cx="3859214" cy="1716087"/>
          </a:xfrm>
        </p:grpSpPr>
        <p:grpSp>
          <p:nvGrpSpPr>
            <p:cNvPr id="70" name="Group 69"/>
            <p:cNvGrpSpPr/>
            <p:nvPr/>
          </p:nvGrpSpPr>
          <p:grpSpPr>
            <a:xfrm>
              <a:off x="465136" y="1293813"/>
              <a:ext cx="3859214" cy="1716087"/>
              <a:chOff x="465136" y="1293813"/>
              <a:chExt cx="3859214" cy="1716087"/>
            </a:xfrm>
          </p:grpSpPr>
          <p:sp>
            <p:nvSpPr>
              <p:cNvPr id="34" name="Rectangle 33"/>
              <p:cNvSpPr/>
              <p:nvPr/>
            </p:nvSpPr>
            <p:spPr bwMode="auto">
              <a:xfrm>
                <a:off x="465136" y="1755478"/>
                <a:ext cx="3859214" cy="1254422"/>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558800" lvl="2" defTabSz="931863" fontAlgn="base">
                  <a:spcBef>
                    <a:spcPts val="600"/>
                  </a:spcBef>
                  <a:spcAft>
                    <a:spcPct val="0"/>
                  </a:spcAft>
                  <a:buSzPct val="90000"/>
                </a:pPr>
                <a:r>
                  <a:rPr lang="en-US" sz="2000" dirty="0">
                    <a:solidFill>
                      <a:schemeClr val="tx2"/>
                    </a:solidFill>
                    <a:ea typeface="ＭＳ Ｐゴシック" charset="0"/>
                  </a:rPr>
                  <a:t>Hive/</a:t>
                </a:r>
                <a:r>
                  <a:rPr lang="en-US" sz="2000" dirty="0" err="1">
                    <a:solidFill>
                      <a:schemeClr val="tx2"/>
                    </a:solidFill>
                    <a:ea typeface="ＭＳ Ｐゴシック" charset="0"/>
                  </a:rPr>
                  <a:t>Oozie</a:t>
                </a:r>
                <a:r>
                  <a:rPr lang="en-US" sz="2000" dirty="0">
                    <a:solidFill>
                      <a:schemeClr val="tx2"/>
                    </a:solidFill>
                    <a:ea typeface="ＭＳ Ｐゴシック" charset="0"/>
                  </a:rPr>
                  <a:t> </a:t>
                </a:r>
                <a:r>
                  <a:rPr lang="en-US" sz="2000" dirty="0" err="1">
                    <a:solidFill>
                      <a:schemeClr val="tx2"/>
                    </a:solidFill>
                    <a:ea typeface="ＭＳ Ｐゴシック" charset="0"/>
                  </a:rPr>
                  <a:t>Metastore</a:t>
                </a:r>
                <a:endParaRPr lang="en-US" sz="2000" dirty="0">
                  <a:solidFill>
                    <a:schemeClr val="tx2"/>
                  </a:solidFill>
                  <a:ea typeface="ＭＳ Ｐゴシック" charset="0"/>
                </a:endParaRPr>
              </a:p>
              <a:p>
                <a:pPr marL="558800" lvl="2" defTabSz="931863" fontAlgn="base">
                  <a:spcBef>
                    <a:spcPts val="600"/>
                  </a:spcBef>
                  <a:spcAft>
                    <a:spcPct val="0"/>
                  </a:spcAft>
                  <a:buSzPct val="90000"/>
                </a:pPr>
                <a:r>
                  <a:rPr lang="en-US" sz="2000" dirty="0">
                    <a:solidFill>
                      <a:schemeClr val="tx2"/>
                    </a:solidFill>
                    <a:ea typeface="ＭＳ Ｐゴシック" charset="0"/>
                  </a:rPr>
                  <a:t>Storage accounts</a:t>
                </a:r>
              </a:p>
              <a:p>
                <a:pPr marL="558800" lvl="2" defTabSz="931863" fontAlgn="base">
                  <a:spcBef>
                    <a:spcPts val="600"/>
                  </a:spcBef>
                  <a:spcAft>
                    <a:spcPct val="0"/>
                  </a:spcAft>
                  <a:buSzPct val="90000"/>
                </a:pPr>
                <a:r>
                  <a:rPr lang="en-US" sz="2000" dirty="0" err="1">
                    <a:solidFill>
                      <a:schemeClr val="tx2"/>
                    </a:solidFill>
                    <a:ea typeface="ＭＳ Ｐゴシック" charset="0"/>
                  </a:rPr>
                  <a:t>ScriptAction</a:t>
                </a:r>
                <a:endParaRPr lang="en-US" sz="2000" dirty="0">
                  <a:solidFill>
                    <a:schemeClr val="tx2"/>
                  </a:solidFill>
                  <a:ea typeface="ＭＳ Ｐゴシック" charset="0"/>
                </a:endParaRPr>
              </a:p>
            </p:txBody>
          </p:sp>
          <p:sp>
            <p:nvSpPr>
              <p:cNvPr id="35" name="Rectangle 34"/>
              <p:cNvSpPr/>
              <p:nvPr/>
            </p:nvSpPr>
            <p:spPr bwMode="auto">
              <a:xfrm>
                <a:off x="465136" y="1293813"/>
                <a:ext cx="3859214" cy="461665"/>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defTabSz="932472" fontAlgn="base">
                  <a:spcBef>
                    <a:spcPct val="0"/>
                  </a:spcBef>
                  <a:spcAft>
                    <a:spcPct val="0"/>
                  </a:spcAft>
                </a:pPr>
                <a:r>
                  <a:rPr lang="en-IN" sz="2400" dirty="0">
                    <a:solidFill>
                      <a:schemeClr val="bg1"/>
                    </a:solidFill>
                    <a:latin typeface="+mj-lt"/>
                    <a:ea typeface="Segoe UI" pitchFamily="34" charset="0"/>
                    <a:cs typeface="Segoe UI" pitchFamily="34" charset="0"/>
                  </a:rPr>
                  <a:t>Via Azure </a:t>
                </a:r>
                <a:r>
                  <a:rPr lang="en-IN" sz="2400" dirty="0" smtClean="0">
                    <a:solidFill>
                      <a:schemeClr val="bg1"/>
                    </a:solidFill>
                    <a:latin typeface="+mj-lt"/>
                    <a:ea typeface="Segoe UI" pitchFamily="34" charset="0"/>
                    <a:cs typeface="Segoe UI" pitchFamily="34" charset="0"/>
                  </a:rPr>
                  <a:t>portal</a:t>
                </a:r>
                <a:endParaRPr lang="en-IN" sz="2400" dirty="0">
                  <a:solidFill>
                    <a:schemeClr val="bg1"/>
                  </a:solidFill>
                  <a:latin typeface="+mj-lt"/>
                  <a:ea typeface="Segoe UI" pitchFamily="34" charset="0"/>
                  <a:cs typeface="Segoe UI" pitchFamily="34" charset="0"/>
                </a:endParaRPr>
              </a:p>
            </p:txBody>
          </p:sp>
        </p:grpSp>
        <p:sp>
          <p:nvSpPr>
            <p:cNvPr id="6" name="Freeform 5"/>
            <p:cNvSpPr>
              <a:spLocks/>
            </p:cNvSpPr>
            <p:nvPr/>
          </p:nvSpPr>
          <p:spPr bwMode="auto">
            <a:xfrm>
              <a:off x="562679" y="1846515"/>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7" name="Freeform 6"/>
            <p:cNvSpPr>
              <a:spLocks/>
            </p:cNvSpPr>
            <p:nvPr/>
          </p:nvSpPr>
          <p:spPr bwMode="auto">
            <a:xfrm>
              <a:off x="572441" y="2215147"/>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8" name="Freeform 7"/>
            <p:cNvSpPr>
              <a:spLocks/>
            </p:cNvSpPr>
            <p:nvPr/>
          </p:nvSpPr>
          <p:spPr bwMode="auto">
            <a:xfrm>
              <a:off x="548386" y="258377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sp>
        <p:nvSpPr>
          <p:cNvPr id="14" name="Rectangle 13"/>
          <p:cNvSpPr/>
          <p:nvPr/>
        </p:nvSpPr>
        <p:spPr bwMode="auto">
          <a:xfrm>
            <a:off x="4725655" y="2184950"/>
            <a:ext cx="1371600" cy="10058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27432" rIns="73152" bIns="27432"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600" dirty="0" smtClean="0">
                <a:solidFill>
                  <a:schemeClr val="bg1"/>
                </a:solidFill>
                <a:ea typeface="Segoe UI" pitchFamily="34" charset="0"/>
                <a:cs typeface="Segoe UI" pitchFamily="34" charset="0"/>
              </a:rPr>
              <a:t>Ready for </a:t>
            </a:r>
            <a:r>
              <a:rPr lang="en-IN" sz="1600" dirty="0">
                <a:solidFill>
                  <a:schemeClr val="bg1"/>
                </a:solidFill>
                <a:ea typeface="Segoe UI" pitchFamily="34" charset="0"/>
                <a:cs typeface="Segoe UI" pitchFamily="34" charset="0"/>
              </a:rPr>
              <a:t>d</a:t>
            </a:r>
            <a:r>
              <a:rPr lang="en-IN" sz="1600" dirty="0" smtClean="0">
                <a:solidFill>
                  <a:schemeClr val="bg1"/>
                </a:solidFill>
                <a:ea typeface="Segoe UI" pitchFamily="34" charset="0"/>
                <a:cs typeface="Segoe UI" pitchFamily="34" charset="0"/>
              </a:rPr>
              <a:t>eployment</a:t>
            </a:r>
          </a:p>
        </p:txBody>
      </p:sp>
      <p:sp>
        <p:nvSpPr>
          <p:cNvPr id="18" name="Rectangle 17"/>
          <p:cNvSpPr/>
          <p:nvPr/>
        </p:nvSpPr>
        <p:spPr bwMode="auto">
          <a:xfrm>
            <a:off x="6639108" y="2184950"/>
            <a:ext cx="1371600" cy="10058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27432" rIns="73152" bIns="27432"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600" dirty="0" smtClean="0">
                <a:solidFill>
                  <a:schemeClr val="bg1"/>
                </a:solidFill>
                <a:ea typeface="Segoe UI" pitchFamily="34" charset="0"/>
                <a:cs typeface="Segoe UI" pitchFamily="34" charset="0"/>
              </a:rPr>
              <a:t>Accepted</a:t>
            </a:r>
          </a:p>
        </p:txBody>
      </p:sp>
      <p:sp>
        <p:nvSpPr>
          <p:cNvPr id="19" name="Rectangle 18"/>
          <p:cNvSpPr/>
          <p:nvPr/>
        </p:nvSpPr>
        <p:spPr bwMode="auto">
          <a:xfrm>
            <a:off x="8552561" y="2184950"/>
            <a:ext cx="1371600" cy="10058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27432" rIns="73152" bIns="27432"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600" dirty="0" smtClean="0">
                <a:solidFill>
                  <a:schemeClr val="bg1"/>
                </a:solidFill>
                <a:ea typeface="Segoe UI" pitchFamily="34" charset="0"/>
                <a:cs typeface="Segoe UI" pitchFamily="34" charset="0"/>
              </a:rPr>
              <a:t>Cluster storage </a:t>
            </a:r>
            <a:r>
              <a:rPr lang="en-IN" sz="1600" dirty="0">
                <a:solidFill>
                  <a:schemeClr val="bg1"/>
                </a:solidFill>
                <a:ea typeface="Segoe UI" pitchFamily="34" charset="0"/>
                <a:cs typeface="Segoe UI" pitchFamily="34" charset="0"/>
              </a:rPr>
              <a:t>p</a:t>
            </a:r>
            <a:r>
              <a:rPr lang="en-IN" sz="1600" dirty="0" smtClean="0">
                <a:solidFill>
                  <a:schemeClr val="bg1"/>
                </a:solidFill>
                <a:ea typeface="Segoe UI" pitchFamily="34" charset="0"/>
                <a:cs typeface="Segoe UI" pitchFamily="34" charset="0"/>
              </a:rPr>
              <a:t>rovisioned</a:t>
            </a:r>
          </a:p>
        </p:txBody>
      </p:sp>
      <p:sp>
        <p:nvSpPr>
          <p:cNvPr id="20" name="Rectangle 19"/>
          <p:cNvSpPr/>
          <p:nvPr/>
        </p:nvSpPr>
        <p:spPr bwMode="auto">
          <a:xfrm>
            <a:off x="10466014" y="2184950"/>
            <a:ext cx="1371600" cy="10058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27432" rIns="73152" bIns="27432"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600" dirty="0" err="1" smtClean="0">
                <a:solidFill>
                  <a:schemeClr val="bg1"/>
                </a:solidFill>
                <a:ea typeface="Segoe UI" pitchFamily="34" charset="0"/>
                <a:cs typeface="Segoe UI" pitchFamily="34" charset="0"/>
              </a:rPr>
              <a:t>AzureVM</a:t>
            </a:r>
            <a:r>
              <a:rPr lang="en-IN" sz="1600" dirty="0" smtClean="0">
                <a:solidFill>
                  <a:schemeClr val="bg1"/>
                </a:solidFill>
                <a:ea typeface="Segoe UI" pitchFamily="34" charset="0"/>
                <a:cs typeface="Segoe UI" pitchFamily="34" charset="0"/>
              </a:rPr>
              <a:t> configuration</a:t>
            </a:r>
          </a:p>
        </p:txBody>
      </p:sp>
      <p:sp>
        <p:nvSpPr>
          <p:cNvPr id="21" name="Rectangle 20"/>
          <p:cNvSpPr/>
          <p:nvPr/>
        </p:nvSpPr>
        <p:spPr bwMode="auto">
          <a:xfrm>
            <a:off x="4725655" y="3621755"/>
            <a:ext cx="1371600" cy="3108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27432" rIns="73152" bIns="27432"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400" dirty="0" smtClean="0">
                <a:solidFill>
                  <a:schemeClr val="bg1"/>
                </a:solidFill>
                <a:ea typeface="Segoe UI" pitchFamily="34" charset="0"/>
                <a:cs typeface="Segoe UI" pitchFamily="34" charset="0"/>
              </a:rPr>
              <a:t>Running</a:t>
            </a:r>
          </a:p>
        </p:txBody>
      </p:sp>
      <p:sp>
        <p:nvSpPr>
          <p:cNvPr id="22" name="Rectangle 21"/>
          <p:cNvSpPr/>
          <p:nvPr/>
        </p:nvSpPr>
        <p:spPr bwMode="auto">
          <a:xfrm>
            <a:off x="4725655" y="3969227"/>
            <a:ext cx="1371600" cy="31089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27432" rIns="73152" bIns="27432"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400" dirty="0" smtClean="0">
                <a:solidFill>
                  <a:schemeClr val="bg1"/>
                </a:solidFill>
                <a:ea typeface="Segoe UI" pitchFamily="34" charset="0"/>
                <a:cs typeface="Segoe UI" pitchFamily="34" charset="0"/>
              </a:rPr>
              <a:t>Timed Out</a:t>
            </a:r>
          </a:p>
        </p:txBody>
      </p:sp>
      <p:sp>
        <p:nvSpPr>
          <p:cNvPr id="23" name="Rectangle 22"/>
          <p:cNvSpPr/>
          <p:nvPr/>
        </p:nvSpPr>
        <p:spPr bwMode="auto">
          <a:xfrm>
            <a:off x="4725655" y="4316699"/>
            <a:ext cx="1371600" cy="31089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27432" rIns="73152" bIns="27432"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400" dirty="0" smtClean="0">
                <a:solidFill>
                  <a:schemeClr val="bg1"/>
                </a:solidFill>
                <a:ea typeface="Segoe UI" pitchFamily="34" charset="0"/>
                <a:cs typeface="Segoe UI" pitchFamily="34" charset="0"/>
              </a:rPr>
              <a:t>Error</a:t>
            </a:r>
          </a:p>
        </p:txBody>
      </p:sp>
      <p:sp>
        <p:nvSpPr>
          <p:cNvPr id="24" name="Rectangle 23"/>
          <p:cNvSpPr/>
          <p:nvPr/>
        </p:nvSpPr>
        <p:spPr bwMode="auto">
          <a:xfrm>
            <a:off x="6639108" y="3621755"/>
            <a:ext cx="1371600" cy="10058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27432" rIns="73152" bIns="27432"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600" dirty="0" smtClean="0">
                <a:solidFill>
                  <a:schemeClr val="bg1"/>
                </a:solidFill>
                <a:ea typeface="Segoe UI" pitchFamily="34" charset="0"/>
                <a:cs typeface="Segoe UI" pitchFamily="34" charset="0"/>
              </a:rPr>
              <a:t>Cluster operational</a:t>
            </a:r>
          </a:p>
        </p:txBody>
      </p:sp>
      <p:sp>
        <p:nvSpPr>
          <p:cNvPr id="26" name="Rectangle 25"/>
          <p:cNvSpPr/>
          <p:nvPr/>
        </p:nvSpPr>
        <p:spPr bwMode="auto">
          <a:xfrm>
            <a:off x="10466014" y="3622128"/>
            <a:ext cx="1371600" cy="10058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27432" rIns="73152" bIns="27432"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600" dirty="0" smtClean="0">
                <a:solidFill>
                  <a:schemeClr val="bg1"/>
                </a:solidFill>
                <a:ea typeface="Segoe UI" pitchFamily="34" charset="0"/>
                <a:cs typeface="Segoe UI" pitchFamily="34" charset="0"/>
              </a:rPr>
              <a:t>Configuring </a:t>
            </a:r>
            <a:r>
              <a:rPr lang="en-IN" sz="1600" dirty="0" err="1" smtClean="0">
                <a:solidFill>
                  <a:schemeClr val="bg1"/>
                </a:solidFill>
                <a:ea typeface="Segoe UI" pitchFamily="34" charset="0"/>
                <a:cs typeface="Segoe UI" pitchFamily="34" charset="0"/>
              </a:rPr>
              <a:t>HDInsight</a:t>
            </a:r>
            <a:endParaRPr lang="en-IN" sz="1600" dirty="0" smtClean="0">
              <a:solidFill>
                <a:schemeClr val="bg1"/>
              </a:solidFill>
              <a:ea typeface="Segoe UI" pitchFamily="34" charset="0"/>
              <a:cs typeface="Segoe UI" pitchFamily="34" charset="0"/>
            </a:endParaRPr>
          </a:p>
        </p:txBody>
      </p:sp>
      <p:sp>
        <p:nvSpPr>
          <p:cNvPr id="27" name="Rectangle 26"/>
          <p:cNvSpPr/>
          <p:nvPr/>
        </p:nvSpPr>
        <p:spPr bwMode="auto">
          <a:xfrm>
            <a:off x="8288785" y="5058560"/>
            <a:ext cx="1913453" cy="10058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27432" rIns="73152" bIns="27432"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600" dirty="0" smtClean="0">
                <a:solidFill>
                  <a:schemeClr val="bg1"/>
                </a:solidFill>
                <a:ea typeface="Segoe UI" pitchFamily="34" charset="0"/>
                <a:cs typeface="Segoe UI" pitchFamily="34" charset="0"/>
              </a:rPr>
              <a:t>Cluster customization (custom script running</a:t>
            </a:r>
          </a:p>
        </p:txBody>
      </p:sp>
      <p:cxnSp>
        <p:nvCxnSpPr>
          <p:cNvPr id="33" name="Straight Arrow Connector 32"/>
          <p:cNvCxnSpPr>
            <a:stCxn id="14" idx="3"/>
            <a:endCxn id="18" idx="1"/>
          </p:cNvCxnSpPr>
          <p:nvPr/>
        </p:nvCxnSpPr>
        <p:spPr>
          <a:xfrm>
            <a:off x="6097255" y="2687870"/>
            <a:ext cx="541853" cy="0"/>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18" idx="3"/>
            <a:endCxn id="19" idx="1"/>
          </p:cNvCxnSpPr>
          <p:nvPr/>
        </p:nvCxnSpPr>
        <p:spPr>
          <a:xfrm>
            <a:off x="8010708" y="2687870"/>
            <a:ext cx="541853" cy="0"/>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19" idx="3"/>
            <a:endCxn id="20" idx="1"/>
          </p:cNvCxnSpPr>
          <p:nvPr/>
        </p:nvCxnSpPr>
        <p:spPr>
          <a:xfrm>
            <a:off x="9924161" y="2687870"/>
            <a:ext cx="541853" cy="0"/>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20" idx="2"/>
            <a:endCxn id="26" idx="0"/>
          </p:cNvCxnSpPr>
          <p:nvPr/>
        </p:nvCxnSpPr>
        <p:spPr>
          <a:xfrm>
            <a:off x="11151814" y="3190790"/>
            <a:ext cx="0" cy="431338"/>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26" idx="1"/>
          </p:cNvCxnSpPr>
          <p:nvPr/>
        </p:nvCxnSpPr>
        <p:spPr>
          <a:xfrm flipH="1" flipV="1">
            <a:off x="9924161" y="4124675"/>
            <a:ext cx="541853" cy="373"/>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H="1" flipV="1">
            <a:off x="8010708" y="4124675"/>
            <a:ext cx="541853" cy="373"/>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flipH="1" flipV="1">
            <a:off x="6097255" y="4125048"/>
            <a:ext cx="541853" cy="0"/>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stCxn id="25" idx="4"/>
            <a:endCxn id="27" idx="0"/>
          </p:cNvCxnSpPr>
          <p:nvPr/>
        </p:nvCxnSpPr>
        <p:spPr>
          <a:xfrm>
            <a:off x="9238361" y="4746127"/>
            <a:ext cx="7151" cy="312433"/>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a:stCxn id="27" idx="1"/>
            <a:endCxn id="24" idx="2"/>
          </p:cNvCxnSpPr>
          <p:nvPr/>
        </p:nvCxnSpPr>
        <p:spPr>
          <a:xfrm rot="10800000">
            <a:off x="7324909" y="4627596"/>
            <a:ext cx="963877" cy="933885"/>
          </a:xfrm>
          <a:prstGeom prst="bentConnector2">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74" name="Group 73"/>
          <p:cNvGrpSpPr/>
          <p:nvPr/>
        </p:nvGrpSpPr>
        <p:grpSpPr>
          <a:xfrm>
            <a:off x="465136" y="3134669"/>
            <a:ext cx="3859214" cy="1716087"/>
            <a:chOff x="465136" y="3134668"/>
            <a:chExt cx="3859214" cy="1716087"/>
          </a:xfrm>
        </p:grpSpPr>
        <p:sp>
          <p:nvSpPr>
            <p:cNvPr id="9" name="Freeform 8"/>
            <p:cNvSpPr>
              <a:spLocks/>
            </p:cNvSpPr>
            <p:nvPr/>
          </p:nvSpPr>
          <p:spPr bwMode="auto">
            <a:xfrm>
              <a:off x="595916" y="369326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 name="Freeform 9"/>
            <p:cNvSpPr>
              <a:spLocks/>
            </p:cNvSpPr>
            <p:nvPr/>
          </p:nvSpPr>
          <p:spPr bwMode="auto">
            <a:xfrm>
              <a:off x="572440" y="4057715"/>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nvGrpSpPr>
            <p:cNvPr id="71" name="Group 70"/>
            <p:cNvGrpSpPr/>
            <p:nvPr/>
          </p:nvGrpSpPr>
          <p:grpSpPr>
            <a:xfrm>
              <a:off x="465136" y="3134668"/>
              <a:ext cx="3859214" cy="1716087"/>
              <a:chOff x="465136" y="3152690"/>
              <a:chExt cx="3859214" cy="1716087"/>
            </a:xfrm>
          </p:grpSpPr>
          <p:sp>
            <p:nvSpPr>
              <p:cNvPr id="65" name="Rectangle 64"/>
              <p:cNvSpPr/>
              <p:nvPr/>
            </p:nvSpPr>
            <p:spPr bwMode="auto">
              <a:xfrm>
                <a:off x="465136" y="3614355"/>
                <a:ext cx="3859214" cy="1254422"/>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558800" lvl="2" defTabSz="931863" fontAlgn="base">
                  <a:spcBef>
                    <a:spcPts val="600"/>
                  </a:spcBef>
                  <a:spcAft>
                    <a:spcPct val="0"/>
                  </a:spcAft>
                  <a:buSzPct val="90000"/>
                </a:pPr>
                <a:r>
                  <a:rPr lang="en-US" sz="2000" dirty="0" err="1">
                    <a:solidFill>
                      <a:schemeClr val="tx2"/>
                    </a:solidFill>
                    <a:ea typeface="ＭＳ Ｐゴシック" charset="0"/>
                  </a:rPr>
                  <a:t>Config</a:t>
                </a:r>
                <a:r>
                  <a:rPr lang="en-US" sz="2000" dirty="0">
                    <a:solidFill>
                      <a:schemeClr val="tx2"/>
                    </a:solidFill>
                    <a:ea typeface="ＭＳ Ｐゴシック" charset="0"/>
                  </a:rPr>
                  <a:t> values</a:t>
                </a:r>
              </a:p>
              <a:p>
                <a:pPr marL="558800" lvl="2" defTabSz="931863" fontAlgn="base">
                  <a:spcBef>
                    <a:spcPts val="600"/>
                  </a:spcBef>
                  <a:spcAft>
                    <a:spcPct val="0"/>
                  </a:spcAft>
                  <a:buSzPct val="90000"/>
                </a:pPr>
                <a:r>
                  <a:rPr lang="en-US" sz="2000" dirty="0">
                    <a:solidFill>
                      <a:schemeClr val="tx2"/>
                    </a:solidFill>
                    <a:ea typeface="ＭＳ Ｐゴシック" charset="0"/>
                  </a:rPr>
                  <a:t>JAR file placement in cluster </a:t>
                </a:r>
              </a:p>
            </p:txBody>
          </p:sp>
          <p:sp>
            <p:nvSpPr>
              <p:cNvPr id="66" name="Rectangle 65"/>
              <p:cNvSpPr/>
              <p:nvPr/>
            </p:nvSpPr>
            <p:spPr bwMode="auto">
              <a:xfrm>
                <a:off x="465136" y="3152690"/>
                <a:ext cx="3859214" cy="461665"/>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defTabSz="932472" fontAlgn="base">
                  <a:spcBef>
                    <a:spcPct val="0"/>
                  </a:spcBef>
                  <a:spcAft>
                    <a:spcPct val="0"/>
                  </a:spcAft>
                </a:pPr>
                <a:r>
                  <a:rPr lang="en-IN" sz="2400" dirty="0">
                    <a:solidFill>
                      <a:schemeClr val="bg1"/>
                    </a:solidFill>
                    <a:latin typeface="+mj-lt"/>
                    <a:ea typeface="Segoe UI" pitchFamily="34" charset="0"/>
                    <a:cs typeface="Segoe UI" pitchFamily="34" charset="0"/>
                  </a:rPr>
                  <a:t>Via </a:t>
                </a:r>
                <a:r>
                  <a:rPr lang="en-IN" sz="2400" dirty="0" smtClean="0">
                    <a:solidFill>
                      <a:schemeClr val="bg1"/>
                    </a:solidFill>
                    <a:latin typeface="+mj-lt"/>
                    <a:ea typeface="Segoe UI" pitchFamily="34" charset="0"/>
                    <a:cs typeface="Segoe UI" pitchFamily="34" charset="0"/>
                  </a:rPr>
                  <a:t>scripting </a:t>
                </a:r>
                <a:r>
                  <a:rPr lang="en-IN" sz="2400" dirty="0">
                    <a:solidFill>
                      <a:schemeClr val="bg1"/>
                    </a:solidFill>
                    <a:latin typeface="+mj-lt"/>
                    <a:ea typeface="Segoe UI" pitchFamily="34" charset="0"/>
                    <a:cs typeface="Segoe UI" pitchFamily="34" charset="0"/>
                  </a:rPr>
                  <a:t>/ SDK</a:t>
                </a:r>
              </a:p>
            </p:txBody>
          </p:sp>
        </p:grpSp>
      </p:grpSp>
      <p:sp>
        <p:nvSpPr>
          <p:cNvPr id="78" name="TextBox 77"/>
          <p:cNvSpPr txBox="1"/>
          <p:nvPr/>
        </p:nvSpPr>
        <p:spPr>
          <a:xfrm>
            <a:off x="8161409" y="3872277"/>
            <a:ext cx="240450" cy="193899"/>
          </a:xfrm>
          <a:prstGeom prst="rect">
            <a:avLst/>
          </a:prstGeom>
          <a:noFill/>
        </p:spPr>
        <p:txBody>
          <a:bodyPr wrap="square" lIns="0" tIns="0" rIns="0" bIns="0" rtlCol="0">
            <a:spAutoFit/>
          </a:bodyPr>
          <a:lstStyle/>
          <a:p>
            <a:pPr>
              <a:lnSpc>
                <a:spcPct val="90000"/>
              </a:lnSpc>
              <a:spcAft>
                <a:spcPts val="600"/>
              </a:spcAft>
            </a:pPr>
            <a:r>
              <a:rPr lang="en-IN" sz="1400" dirty="0" smtClean="0">
                <a:solidFill>
                  <a:schemeClr val="tx2"/>
                </a:solidFill>
              </a:rPr>
              <a:t>No</a:t>
            </a:r>
          </a:p>
        </p:txBody>
      </p:sp>
      <p:sp>
        <p:nvSpPr>
          <p:cNvPr id="79" name="TextBox 78"/>
          <p:cNvSpPr txBox="1"/>
          <p:nvPr/>
        </p:nvSpPr>
        <p:spPr>
          <a:xfrm>
            <a:off x="9412301" y="4796927"/>
            <a:ext cx="255134" cy="193899"/>
          </a:xfrm>
          <a:prstGeom prst="rect">
            <a:avLst/>
          </a:prstGeom>
          <a:noFill/>
        </p:spPr>
        <p:txBody>
          <a:bodyPr wrap="square" lIns="0" tIns="0" rIns="0" bIns="0" rtlCol="0">
            <a:spAutoFit/>
          </a:bodyPr>
          <a:lstStyle/>
          <a:p>
            <a:pPr>
              <a:lnSpc>
                <a:spcPct val="90000"/>
              </a:lnSpc>
              <a:spcAft>
                <a:spcPts val="600"/>
              </a:spcAft>
            </a:pPr>
            <a:r>
              <a:rPr lang="en-IN" sz="1400" dirty="0" smtClean="0">
                <a:solidFill>
                  <a:schemeClr val="tx2"/>
                </a:solidFill>
              </a:rPr>
              <a:t>Yes</a:t>
            </a:r>
          </a:p>
        </p:txBody>
      </p:sp>
    </p:spTree>
    <p:extLst>
      <p:ext uri="{BB962C8B-B14F-4D97-AF65-F5344CB8AC3E}">
        <p14:creationId xmlns:p14="http://schemas.microsoft.com/office/powerpoint/2010/main" val="186751921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3"/>
                                        </p:tgtEl>
                                        <p:attrNameLst>
                                          <p:attrName>style.visibility</p:attrName>
                                        </p:attrNameLst>
                                      </p:cBhvr>
                                      <p:to>
                                        <p:strVal val="visible"/>
                                      </p:to>
                                    </p:set>
                                    <p:animEffect transition="in" filter="fade">
                                      <p:cBhvr>
                                        <p:cTn id="7" dur="500"/>
                                        <p:tgtEl>
                                          <p:spTgt spid="7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4"/>
                                        </p:tgtEl>
                                        <p:attrNameLst>
                                          <p:attrName>style.visibility</p:attrName>
                                        </p:attrNameLst>
                                      </p:cBhvr>
                                      <p:to>
                                        <p:strVal val="visible"/>
                                      </p:to>
                                    </p:set>
                                    <p:animEffect transition="in" filter="fade">
                                      <p:cBhvr>
                                        <p:cTn id="12" dur="500"/>
                                        <p:tgtEl>
                                          <p:spTgt spid="7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6"/>
                                        </p:tgtEl>
                                        <p:attrNameLst>
                                          <p:attrName>style.visibility</p:attrName>
                                        </p:attrNameLst>
                                      </p:cBhvr>
                                      <p:to>
                                        <p:strVal val="visible"/>
                                      </p:to>
                                    </p:set>
                                    <p:animEffect transition="in" filter="fade">
                                      <p:cBhvr>
                                        <p:cTn id="17" dur="500"/>
                                        <p:tgtEl>
                                          <p:spTgt spid="76"/>
                                        </p:tgtEl>
                                      </p:cBhvr>
                                    </p:animEffect>
                                  </p:childTnLst>
                                </p:cTn>
                              </p:par>
                            </p:childTnLst>
                          </p:cTn>
                        </p:par>
                        <p:par>
                          <p:cTn id="18" fill="hold">
                            <p:stCondLst>
                              <p:cond delay="500"/>
                            </p:stCondLst>
                            <p:childTnLst>
                              <p:par>
                                <p:cTn id="19" presetID="22" presetClass="entr" presetSubtype="8"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wipe(left)">
                                      <p:cBhvr>
                                        <p:cTn id="21" dur="500"/>
                                        <p:tgtEl>
                                          <p:spTgt spid="14"/>
                                        </p:tgtEl>
                                      </p:cBhvr>
                                    </p:animEffect>
                                  </p:childTnLst>
                                </p:cTn>
                              </p:par>
                            </p:childTnLst>
                          </p:cTn>
                        </p:par>
                        <p:par>
                          <p:cTn id="22" fill="hold">
                            <p:stCondLst>
                              <p:cond delay="1000"/>
                            </p:stCondLst>
                            <p:childTnLst>
                              <p:par>
                                <p:cTn id="23" presetID="22" presetClass="entr" presetSubtype="8" fill="hold" nodeType="afterEffect">
                                  <p:stCondLst>
                                    <p:cond delay="0"/>
                                  </p:stCondLst>
                                  <p:childTnLst>
                                    <p:set>
                                      <p:cBhvr>
                                        <p:cTn id="24" dur="1" fill="hold">
                                          <p:stCondLst>
                                            <p:cond delay="0"/>
                                          </p:stCondLst>
                                        </p:cTn>
                                        <p:tgtEl>
                                          <p:spTgt spid="33"/>
                                        </p:tgtEl>
                                        <p:attrNameLst>
                                          <p:attrName>style.visibility</p:attrName>
                                        </p:attrNameLst>
                                      </p:cBhvr>
                                      <p:to>
                                        <p:strVal val="visible"/>
                                      </p:to>
                                    </p:set>
                                    <p:animEffect transition="in" filter="wipe(left)">
                                      <p:cBhvr>
                                        <p:cTn id="25" dur="500"/>
                                        <p:tgtEl>
                                          <p:spTgt spid="33"/>
                                        </p:tgtEl>
                                      </p:cBhvr>
                                    </p:animEffect>
                                  </p:childTnLst>
                                </p:cTn>
                              </p:par>
                            </p:childTnLst>
                          </p:cTn>
                        </p:par>
                        <p:par>
                          <p:cTn id="26" fill="hold">
                            <p:stCondLst>
                              <p:cond delay="1500"/>
                            </p:stCondLst>
                            <p:childTnLst>
                              <p:par>
                                <p:cTn id="27" presetID="22" presetClass="entr" presetSubtype="8" fill="hold" grpId="0" nodeType="after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wipe(left)">
                                      <p:cBhvr>
                                        <p:cTn id="29" dur="500"/>
                                        <p:tgtEl>
                                          <p:spTgt spid="18"/>
                                        </p:tgtEl>
                                      </p:cBhvr>
                                    </p:animEffect>
                                  </p:childTnLst>
                                </p:cTn>
                              </p:par>
                            </p:childTnLst>
                          </p:cTn>
                        </p:par>
                        <p:par>
                          <p:cTn id="30" fill="hold">
                            <p:stCondLst>
                              <p:cond delay="2000"/>
                            </p:stCondLst>
                            <p:childTnLst>
                              <p:par>
                                <p:cTn id="31" presetID="22" presetClass="entr" presetSubtype="8" fill="hold" nodeType="afterEffect">
                                  <p:stCondLst>
                                    <p:cond delay="0"/>
                                  </p:stCondLst>
                                  <p:childTnLst>
                                    <p:set>
                                      <p:cBhvr>
                                        <p:cTn id="32" dur="1" fill="hold">
                                          <p:stCondLst>
                                            <p:cond delay="0"/>
                                          </p:stCondLst>
                                        </p:cTn>
                                        <p:tgtEl>
                                          <p:spTgt spid="37"/>
                                        </p:tgtEl>
                                        <p:attrNameLst>
                                          <p:attrName>style.visibility</p:attrName>
                                        </p:attrNameLst>
                                      </p:cBhvr>
                                      <p:to>
                                        <p:strVal val="visible"/>
                                      </p:to>
                                    </p:set>
                                    <p:animEffect transition="in" filter="wipe(left)">
                                      <p:cBhvr>
                                        <p:cTn id="33" dur="500"/>
                                        <p:tgtEl>
                                          <p:spTgt spid="37"/>
                                        </p:tgtEl>
                                      </p:cBhvr>
                                    </p:animEffect>
                                  </p:childTnLst>
                                </p:cTn>
                              </p:par>
                            </p:childTnLst>
                          </p:cTn>
                        </p:par>
                        <p:par>
                          <p:cTn id="34" fill="hold">
                            <p:stCondLst>
                              <p:cond delay="2500"/>
                            </p:stCondLst>
                            <p:childTnLst>
                              <p:par>
                                <p:cTn id="35" presetID="22" presetClass="entr" presetSubtype="8" fill="hold" grpId="0" nodeType="after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wipe(left)">
                                      <p:cBhvr>
                                        <p:cTn id="37" dur="500"/>
                                        <p:tgtEl>
                                          <p:spTgt spid="19"/>
                                        </p:tgtEl>
                                      </p:cBhvr>
                                    </p:animEffect>
                                  </p:childTnLst>
                                </p:cTn>
                              </p:par>
                            </p:childTnLst>
                          </p:cTn>
                        </p:par>
                        <p:par>
                          <p:cTn id="38" fill="hold">
                            <p:stCondLst>
                              <p:cond delay="3000"/>
                            </p:stCondLst>
                            <p:childTnLst>
                              <p:par>
                                <p:cTn id="39" presetID="22" presetClass="entr" presetSubtype="8" fill="hold" nodeType="afterEffect">
                                  <p:stCondLst>
                                    <p:cond delay="0"/>
                                  </p:stCondLst>
                                  <p:childTnLst>
                                    <p:set>
                                      <p:cBhvr>
                                        <p:cTn id="40" dur="1" fill="hold">
                                          <p:stCondLst>
                                            <p:cond delay="0"/>
                                          </p:stCondLst>
                                        </p:cTn>
                                        <p:tgtEl>
                                          <p:spTgt spid="40"/>
                                        </p:tgtEl>
                                        <p:attrNameLst>
                                          <p:attrName>style.visibility</p:attrName>
                                        </p:attrNameLst>
                                      </p:cBhvr>
                                      <p:to>
                                        <p:strVal val="visible"/>
                                      </p:to>
                                    </p:set>
                                    <p:animEffect transition="in" filter="wipe(left)">
                                      <p:cBhvr>
                                        <p:cTn id="41" dur="500"/>
                                        <p:tgtEl>
                                          <p:spTgt spid="40"/>
                                        </p:tgtEl>
                                      </p:cBhvr>
                                    </p:animEffect>
                                  </p:childTnLst>
                                </p:cTn>
                              </p:par>
                            </p:childTnLst>
                          </p:cTn>
                        </p:par>
                        <p:par>
                          <p:cTn id="42" fill="hold">
                            <p:stCondLst>
                              <p:cond delay="3500"/>
                            </p:stCondLst>
                            <p:childTnLst>
                              <p:par>
                                <p:cTn id="43" presetID="22" presetClass="entr" presetSubtype="8" fill="hold" grpId="0" nodeType="after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wipe(left)">
                                      <p:cBhvr>
                                        <p:cTn id="45" dur="500"/>
                                        <p:tgtEl>
                                          <p:spTgt spid="20"/>
                                        </p:tgtEl>
                                      </p:cBhvr>
                                    </p:animEffect>
                                  </p:childTnLst>
                                </p:cTn>
                              </p:par>
                            </p:childTnLst>
                          </p:cTn>
                        </p:par>
                        <p:par>
                          <p:cTn id="46" fill="hold">
                            <p:stCondLst>
                              <p:cond delay="4000"/>
                            </p:stCondLst>
                            <p:childTnLst>
                              <p:par>
                                <p:cTn id="47" presetID="22" presetClass="entr" presetSubtype="1" fill="hold" nodeType="afterEffect">
                                  <p:stCondLst>
                                    <p:cond delay="0"/>
                                  </p:stCondLst>
                                  <p:childTnLst>
                                    <p:set>
                                      <p:cBhvr>
                                        <p:cTn id="48" dur="1" fill="hold">
                                          <p:stCondLst>
                                            <p:cond delay="0"/>
                                          </p:stCondLst>
                                        </p:cTn>
                                        <p:tgtEl>
                                          <p:spTgt spid="43"/>
                                        </p:tgtEl>
                                        <p:attrNameLst>
                                          <p:attrName>style.visibility</p:attrName>
                                        </p:attrNameLst>
                                      </p:cBhvr>
                                      <p:to>
                                        <p:strVal val="visible"/>
                                      </p:to>
                                    </p:set>
                                    <p:animEffect transition="in" filter="wipe(up)">
                                      <p:cBhvr>
                                        <p:cTn id="49" dur="500"/>
                                        <p:tgtEl>
                                          <p:spTgt spid="43"/>
                                        </p:tgtEl>
                                      </p:cBhvr>
                                    </p:animEffect>
                                  </p:childTnLst>
                                </p:cTn>
                              </p:par>
                            </p:childTnLst>
                          </p:cTn>
                        </p:par>
                        <p:par>
                          <p:cTn id="50" fill="hold">
                            <p:stCondLst>
                              <p:cond delay="4500"/>
                            </p:stCondLst>
                            <p:childTnLst>
                              <p:par>
                                <p:cTn id="51" presetID="22" presetClass="entr" presetSubtype="2" fill="hold" grpId="0" nodeType="afterEffect">
                                  <p:stCondLst>
                                    <p:cond delay="0"/>
                                  </p:stCondLst>
                                  <p:childTnLst>
                                    <p:set>
                                      <p:cBhvr>
                                        <p:cTn id="52" dur="1" fill="hold">
                                          <p:stCondLst>
                                            <p:cond delay="0"/>
                                          </p:stCondLst>
                                        </p:cTn>
                                        <p:tgtEl>
                                          <p:spTgt spid="26"/>
                                        </p:tgtEl>
                                        <p:attrNameLst>
                                          <p:attrName>style.visibility</p:attrName>
                                        </p:attrNameLst>
                                      </p:cBhvr>
                                      <p:to>
                                        <p:strVal val="visible"/>
                                      </p:to>
                                    </p:set>
                                    <p:animEffect transition="in" filter="wipe(right)">
                                      <p:cBhvr>
                                        <p:cTn id="53" dur="500"/>
                                        <p:tgtEl>
                                          <p:spTgt spid="26"/>
                                        </p:tgtEl>
                                      </p:cBhvr>
                                    </p:animEffect>
                                  </p:childTnLst>
                                </p:cTn>
                              </p:par>
                            </p:childTnLst>
                          </p:cTn>
                        </p:par>
                        <p:par>
                          <p:cTn id="54" fill="hold">
                            <p:stCondLst>
                              <p:cond delay="5000"/>
                            </p:stCondLst>
                            <p:childTnLst>
                              <p:par>
                                <p:cTn id="55" presetID="22" presetClass="entr" presetSubtype="2" fill="hold" nodeType="afterEffect">
                                  <p:stCondLst>
                                    <p:cond delay="0"/>
                                  </p:stCondLst>
                                  <p:childTnLst>
                                    <p:set>
                                      <p:cBhvr>
                                        <p:cTn id="56" dur="1" fill="hold">
                                          <p:stCondLst>
                                            <p:cond delay="0"/>
                                          </p:stCondLst>
                                        </p:cTn>
                                        <p:tgtEl>
                                          <p:spTgt spid="47"/>
                                        </p:tgtEl>
                                        <p:attrNameLst>
                                          <p:attrName>style.visibility</p:attrName>
                                        </p:attrNameLst>
                                      </p:cBhvr>
                                      <p:to>
                                        <p:strVal val="visible"/>
                                      </p:to>
                                    </p:set>
                                    <p:animEffect transition="in" filter="wipe(right)">
                                      <p:cBhvr>
                                        <p:cTn id="57" dur="500"/>
                                        <p:tgtEl>
                                          <p:spTgt spid="47"/>
                                        </p:tgtEl>
                                      </p:cBhvr>
                                    </p:animEffect>
                                  </p:childTnLst>
                                </p:cTn>
                              </p:par>
                            </p:childTnLst>
                          </p:cTn>
                        </p:par>
                        <p:par>
                          <p:cTn id="58" fill="hold">
                            <p:stCondLst>
                              <p:cond delay="5500"/>
                            </p:stCondLst>
                            <p:childTnLst>
                              <p:par>
                                <p:cTn id="59" presetID="22" presetClass="entr" presetSubtype="2" fill="hold" grpId="0" nodeType="afterEffect">
                                  <p:stCondLst>
                                    <p:cond delay="0"/>
                                  </p:stCondLst>
                                  <p:childTnLst>
                                    <p:set>
                                      <p:cBhvr>
                                        <p:cTn id="60" dur="1" fill="hold">
                                          <p:stCondLst>
                                            <p:cond delay="0"/>
                                          </p:stCondLst>
                                        </p:cTn>
                                        <p:tgtEl>
                                          <p:spTgt spid="25"/>
                                        </p:tgtEl>
                                        <p:attrNameLst>
                                          <p:attrName>style.visibility</p:attrName>
                                        </p:attrNameLst>
                                      </p:cBhvr>
                                      <p:to>
                                        <p:strVal val="visible"/>
                                      </p:to>
                                    </p:set>
                                    <p:animEffect transition="in" filter="wipe(right)">
                                      <p:cBhvr>
                                        <p:cTn id="61" dur="500"/>
                                        <p:tgtEl>
                                          <p:spTgt spid="25"/>
                                        </p:tgtEl>
                                      </p:cBhvr>
                                    </p:animEffect>
                                  </p:childTnLst>
                                </p:cTn>
                              </p:par>
                            </p:childTnLst>
                          </p:cTn>
                        </p:par>
                        <p:par>
                          <p:cTn id="62" fill="hold">
                            <p:stCondLst>
                              <p:cond delay="6000"/>
                            </p:stCondLst>
                            <p:childTnLst>
                              <p:par>
                                <p:cTn id="63" presetID="22" presetClass="entr" presetSubtype="1" fill="hold" nodeType="afterEffect">
                                  <p:stCondLst>
                                    <p:cond delay="0"/>
                                  </p:stCondLst>
                                  <p:childTnLst>
                                    <p:set>
                                      <p:cBhvr>
                                        <p:cTn id="64" dur="1" fill="hold">
                                          <p:stCondLst>
                                            <p:cond delay="0"/>
                                          </p:stCondLst>
                                        </p:cTn>
                                        <p:tgtEl>
                                          <p:spTgt spid="58"/>
                                        </p:tgtEl>
                                        <p:attrNameLst>
                                          <p:attrName>style.visibility</p:attrName>
                                        </p:attrNameLst>
                                      </p:cBhvr>
                                      <p:to>
                                        <p:strVal val="visible"/>
                                      </p:to>
                                    </p:set>
                                    <p:animEffect transition="in" filter="wipe(up)">
                                      <p:cBhvr>
                                        <p:cTn id="65" dur="500"/>
                                        <p:tgtEl>
                                          <p:spTgt spid="58"/>
                                        </p:tgtEl>
                                      </p:cBhvr>
                                    </p:animEffect>
                                  </p:childTnLst>
                                </p:cTn>
                              </p:par>
                            </p:childTnLst>
                          </p:cTn>
                        </p:par>
                        <p:par>
                          <p:cTn id="66" fill="hold">
                            <p:stCondLst>
                              <p:cond delay="6500"/>
                            </p:stCondLst>
                            <p:childTnLst>
                              <p:par>
                                <p:cTn id="67" presetID="22" presetClass="entr" presetSubtype="2" fill="hold" nodeType="afterEffect">
                                  <p:stCondLst>
                                    <p:cond delay="0"/>
                                  </p:stCondLst>
                                  <p:childTnLst>
                                    <p:set>
                                      <p:cBhvr>
                                        <p:cTn id="68" dur="1" fill="hold">
                                          <p:stCondLst>
                                            <p:cond delay="0"/>
                                          </p:stCondLst>
                                        </p:cTn>
                                        <p:tgtEl>
                                          <p:spTgt spid="51"/>
                                        </p:tgtEl>
                                        <p:attrNameLst>
                                          <p:attrName>style.visibility</p:attrName>
                                        </p:attrNameLst>
                                      </p:cBhvr>
                                      <p:to>
                                        <p:strVal val="visible"/>
                                      </p:to>
                                    </p:set>
                                    <p:animEffect transition="in" filter="wipe(right)">
                                      <p:cBhvr>
                                        <p:cTn id="69" dur="500"/>
                                        <p:tgtEl>
                                          <p:spTgt spid="51"/>
                                        </p:tgtEl>
                                      </p:cBhvr>
                                    </p:animEffect>
                                  </p:childTnLst>
                                </p:cTn>
                              </p:par>
                            </p:childTnLst>
                          </p:cTn>
                        </p:par>
                        <p:par>
                          <p:cTn id="70" fill="hold">
                            <p:stCondLst>
                              <p:cond delay="7000"/>
                            </p:stCondLst>
                            <p:childTnLst>
                              <p:par>
                                <p:cTn id="71" presetID="22" presetClass="entr" presetSubtype="1" fill="hold" grpId="0" nodeType="afterEffect">
                                  <p:stCondLst>
                                    <p:cond delay="0"/>
                                  </p:stCondLst>
                                  <p:childTnLst>
                                    <p:set>
                                      <p:cBhvr>
                                        <p:cTn id="72" dur="1" fill="hold">
                                          <p:stCondLst>
                                            <p:cond delay="0"/>
                                          </p:stCondLst>
                                        </p:cTn>
                                        <p:tgtEl>
                                          <p:spTgt spid="27"/>
                                        </p:tgtEl>
                                        <p:attrNameLst>
                                          <p:attrName>style.visibility</p:attrName>
                                        </p:attrNameLst>
                                      </p:cBhvr>
                                      <p:to>
                                        <p:strVal val="visible"/>
                                      </p:to>
                                    </p:set>
                                    <p:animEffect transition="in" filter="wipe(up)">
                                      <p:cBhvr>
                                        <p:cTn id="73" dur="500"/>
                                        <p:tgtEl>
                                          <p:spTgt spid="27"/>
                                        </p:tgtEl>
                                      </p:cBhvr>
                                    </p:animEffect>
                                  </p:childTnLst>
                                </p:cTn>
                              </p:par>
                            </p:childTnLst>
                          </p:cTn>
                        </p:par>
                        <p:par>
                          <p:cTn id="74" fill="hold">
                            <p:stCondLst>
                              <p:cond delay="7500"/>
                            </p:stCondLst>
                            <p:childTnLst>
                              <p:par>
                                <p:cTn id="75" presetID="10" presetClass="entr" presetSubtype="0" fill="hold" grpId="0" nodeType="afterEffect">
                                  <p:stCondLst>
                                    <p:cond delay="0"/>
                                  </p:stCondLst>
                                  <p:childTnLst>
                                    <p:set>
                                      <p:cBhvr>
                                        <p:cTn id="76" dur="1" fill="hold">
                                          <p:stCondLst>
                                            <p:cond delay="0"/>
                                          </p:stCondLst>
                                        </p:cTn>
                                        <p:tgtEl>
                                          <p:spTgt spid="79"/>
                                        </p:tgtEl>
                                        <p:attrNameLst>
                                          <p:attrName>style.visibility</p:attrName>
                                        </p:attrNameLst>
                                      </p:cBhvr>
                                      <p:to>
                                        <p:strVal val="visible"/>
                                      </p:to>
                                    </p:set>
                                    <p:animEffect transition="in" filter="fade">
                                      <p:cBhvr>
                                        <p:cTn id="77" dur="500"/>
                                        <p:tgtEl>
                                          <p:spTgt spid="79"/>
                                        </p:tgtEl>
                                      </p:cBhvr>
                                    </p:animEffect>
                                  </p:childTnLst>
                                </p:cTn>
                              </p:par>
                              <p:par>
                                <p:cTn id="78" presetID="22" presetClass="entr" presetSubtype="2" fill="hold" nodeType="withEffect">
                                  <p:stCondLst>
                                    <p:cond delay="0"/>
                                  </p:stCondLst>
                                  <p:childTnLst>
                                    <p:set>
                                      <p:cBhvr>
                                        <p:cTn id="79" dur="1" fill="hold">
                                          <p:stCondLst>
                                            <p:cond delay="0"/>
                                          </p:stCondLst>
                                        </p:cTn>
                                        <p:tgtEl>
                                          <p:spTgt spid="61"/>
                                        </p:tgtEl>
                                        <p:attrNameLst>
                                          <p:attrName>style.visibility</p:attrName>
                                        </p:attrNameLst>
                                      </p:cBhvr>
                                      <p:to>
                                        <p:strVal val="visible"/>
                                      </p:to>
                                    </p:set>
                                    <p:animEffect transition="in" filter="wipe(right)">
                                      <p:cBhvr>
                                        <p:cTn id="80" dur="500"/>
                                        <p:tgtEl>
                                          <p:spTgt spid="61"/>
                                        </p:tgtEl>
                                      </p:cBhvr>
                                    </p:animEffect>
                                  </p:childTnLst>
                                </p:cTn>
                              </p:par>
                            </p:childTnLst>
                          </p:cTn>
                        </p:par>
                        <p:par>
                          <p:cTn id="81" fill="hold">
                            <p:stCondLst>
                              <p:cond delay="8000"/>
                            </p:stCondLst>
                            <p:childTnLst>
                              <p:par>
                                <p:cTn id="82" presetID="22" presetClass="entr" presetSubtype="2" fill="hold" grpId="0" nodeType="afterEffect">
                                  <p:stCondLst>
                                    <p:cond delay="0"/>
                                  </p:stCondLst>
                                  <p:childTnLst>
                                    <p:set>
                                      <p:cBhvr>
                                        <p:cTn id="83" dur="1" fill="hold">
                                          <p:stCondLst>
                                            <p:cond delay="0"/>
                                          </p:stCondLst>
                                        </p:cTn>
                                        <p:tgtEl>
                                          <p:spTgt spid="24"/>
                                        </p:tgtEl>
                                        <p:attrNameLst>
                                          <p:attrName>style.visibility</p:attrName>
                                        </p:attrNameLst>
                                      </p:cBhvr>
                                      <p:to>
                                        <p:strVal val="visible"/>
                                      </p:to>
                                    </p:set>
                                    <p:animEffect transition="in" filter="wipe(right)">
                                      <p:cBhvr>
                                        <p:cTn id="84" dur="500"/>
                                        <p:tgtEl>
                                          <p:spTgt spid="24"/>
                                        </p:tgtEl>
                                      </p:cBhvr>
                                    </p:animEffect>
                                  </p:childTnLst>
                                </p:cTn>
                              </p:par>
                            </p:childTnLst>
                          </p:cTn>
                        </p:par>
                        <p:par>
                          <p:cTn id="85" fill="hold">
                            <p:stCondLst>
                              <p:cond delay="8500"/>
                            </p:stCondLst>
                            <p:childTnLst>
                              <p:par>
                                <p:cTn id="86" presetID="10" presetClass="entr" presetSubtype="0" fill="hold" grpId="0" nodeType="afterEffect">
                                  <p:stCondLst>
                                    <p:cond delay="0"/>
                                  </p:stCondLst>
                                  <p:childTnLst>
                                    <p:set>
                                      <p:cBhvr>
                                        <p:cTn id="87" dur="1" fill="hold">
                                          <p:stCondLst>
                                            <p:cond delay="0"/>
                                          </p:stCondLst>
                                        </p:cTn>
                                        <p:tgtEl>
                                          <p:spTgt spid="78"/>
                                        </p:tgtEl>
                                        <p:attrNameLst>
                                          <p:attrName>style.visibility</p:attrName>
                                        </p:attrNameLst>
                                      </p:cBhvr>
                                      <p:to>
                                        <p:strVal val="visible"/>
                                      </p:to>
                                    </p:set>
                                    <p:animEffect transition="in" filter="fade">
                                      <p:cBhvr>
                                        <p:cTn id="88" dur="500"/>
                                        <p:tgtEl>
                                          <p:spTgt spid="78"/>
                                        </p:tgtEl>
                                      </p:cBhvr>
                                    </p:animEffect>
                                  </p:childTnLst>
                                </p:cTn>
                              </p:par>
                            </p:childTnLst>
                          </p:cTn>
                        </p:par>
                        <p:par>
                          <p:cTn id="89" fill="hold">
                            <p:stCondLst>
                              <p:cond delay="9000"/>
                            </p:stCondLst>
                            <p:childTnLst>
                              <p:par>
                                <p:cTn id="90" presetID="22" presetClass="entr" presetSubtype="2" fill="hold" nodeType="afterEffect">
                                  <p:stCondLst>
                                    <p:cond delay="0"/>
                                  </p:stCondLst>
                                  <p:childTnLst>
                                    <p:set>
                                      <p:cBhvr>
                                        <p:cTn id="91" dur="1" fill="hold">
                                          <p:stCondLst>
                                            <p:cond delay="0"/>
                                          </p:stCondLst>
                                        </p:cTn>
                                        <p:tgtEl>
                                          <p:spTgt spid="54"/>
                                        </p:tgtEl>
                                        <p:attrNameLst>
                                          <p:attrName>style.visibility</p:attrName>
                                        </p:attrNameLst>
                                      </p:cBhvr>
                                      <p:to>
                                        <p:strVal val="visible"/>
                                      </p:to>
                                    </p:set>
                                    <p:animEffect transition="in" filter="wipe(right)">
                                      <p:cBhvr>
                                        <p:cTn id="92" dur="500"/>
                                        <p:tgtEl>
                                          <p:spTgt spid="54"/>
                                        </p:tgtEl>
                                      </p:cBhvr>
                                    </p:animEffect>
                                  </p:childTnLst>
                                </p:cTn>
                              </p:par>
                            </p:childTnLst>
                          </p:cTn>
                        </p:par>
                        <p:par>
                          <p:cTn id="93" fill="hold">
                            <p:stCondLst>
                              <p:cond delay="9500"/>
                            </p:stCondLst>
                            <p:childTnLst>
                              <p:par>
                                <p:cTn id="94" presetID="22" presetClass="entr" presetSubtype="2" fill="hold" grpId="0" nodeType="afterEffect">
                                  <p:stCondLst>
                                    <p:cond delay="0"/>
                                  </p:stCondLst>
                                  <p:childTnLst>
                                    <p:set>
                                      <p:cBhvr>
                                        <p:cTn id="95" dur="1" fill="hold">
                                          <p:stCondLst>
                                            <p:cond delay="0"/>
                                          </p:stCondLst>
                                        </p:cTn>
                                        <p:tgtEl>
                                          <p:spTgt spid="21"/>
                                        </p:tgtEl>
                                        <p:attrNameLst>
                                          <p:attrName>style.visibility</p:attrName>
                                        </p:attrNameLst>
                                      </p:cBhvr>
                                      <p:to>
                                        <p:strVal val="visible"/>
                                      </p:to>
                                    </p:set>
                                    <p:animEffect transition="in" filter="wipe(right)">
                                      <p:cBhvr>
                                        <p:cTn id="96" dur="500"/>
                                        <p:tgtEl>
                                          <p:spTgt spid="21"/>
                                        </p:tgtEl>
                                      </p:cBhvr>
                                    </p:animEffect>
                                  </p:childTnLst>
                                </p:cTn>
                              </p:par>
                            </p:childTnLst>
                          </p:cTn>
                        </p:par>
                        <p:par>
                          <p:cTn id="97" fill="hold">
                            <p:stCondLst>
                              <p:cond delay="10000"/>
                            </p:stCondLst>
                            <p:childTnLst>
                              <p:par>
                                <p:cTn id="98" presetID="22" presetClass="entr" presetSubtype="2" fill="hold" grpId="0" nodeType="afterEffect">
                                  <p:stCondLst>
                                    <p:cond delay="0"/>
                                  </p:stCondLst>
                                  <p:childTnLst>
                                    <p:set>
                                      <p:cBhvr>
                                        <p:cTn id="99" dur="1" fill="hold">
                                          <p:stCondLst>
                                            <p:cond delay="0"/>
                                          </p:stCondLst>
                                        </p:cTn>
                                        <p:tgtEl>
                                          <p:spTgt spid="22"/>
                                        </p:tgtEl>
                                        <p:attrNameLst>
                                          <p:attrName>style.visibility</p:attrName>
                                        </p:attrNameLst>
                                      </p:cBhvr>
                                      <p:to>
                                        <p:strVal val="visible"/>
                                      </p:to>
                                    </p:set>
                                    <p:animEffect transition="in" filter="wipe(right)">
                                      <p:cBhvr>
                                        <p:cTn id="100" dur="500"/>
                                        <p:tgtEl>
                                          <p:spTgt spid="22"/>
                                        </p:tgtEl>
                                      </p:cBhvr>
                                    </p:animEffect>
                                  </p:childTnLst>
                                </p:cTn>
                              </p:par>
                            </p:childTnLst>
                          </p:cTn>
                        </p:par>
                        <p:par>
                          <p:cTn id="101" fill="hold">
                            <p:stCondLst>
                              <p:cond delay="10500"/>
                            </p:stCondLst>
                            <p:childTnLst>
                              <p:par>
                                <p:cTn id="102" presetID="22" presetClass="entr" presetSubtype="2" fill="hold" grpId="0" nodeType="afterEffect">
                                  <p:stCondLst>
                                    <p:cond delay="0"/>
                                  </p:stCondLst>
                                  <p:childTnLst>
                                    <p:set>
                                      <p:cBhvr>
                                        <p:cTn id="103" dur="1" fill="hold">
                                          <p:stCondLst>
                                            <p:cond delay="0"/>
                                          </p:stCondLst>
                                        </p:cTn>
                                        <p:tgtEl>
                                          <p:spTgt spid="23"/>
                                        </p:tgtEl>
                                        <p:attrNameLst>
                                          <p:attrName>style.visibility</p:attrName>
                                        </p:attrNameLst>
                                      </p:cBhvr>
                                      <p:to>
                                        <p:strVal val="visible"/>
                                      </p:to>
                                    </p:set>
                                    <p:animEffect transition="in" filter="wipe(right)">
                                      <p:cBhvr>
                                        <p:cTn id="10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14" grpId="0" animBg="1"/>
      <p:bldP spid="18" grpId="0" animBg="1"/>
      <p:bldP spid="19" grpId="0" animBg="1"/>
      <p:bldP spid="20" grpId="0" animBg="1"/>
      <p:bldP spid="21" grpId="0" animBg="1"/>
      <p:bldP spid="22" grpId="0" animBg="1"/>
      <p:bldP spid="23" grpId="0" animBg="1"/>
      <p:bldP spid="24" grpId="0" animBg="1"/>
      <p:bldP spid="26" grpId="0" animBg="1"/>
      <p:bldP spid="27" grpId="0" animBg="1"/>
      <p:bldP spid="78" grpId="0"/>
      <p:bldP spid="7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0"/>
            <a:ext cx="5325035" cy="6994525"/>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5400" dirty="0" smtClean="0">
              <a:solidFill>
                <a:schemeClr val="bg1"/>
              </a:solidFill>
              <a:latin typeface="+mj-lt"/>
              <a:ea typeface="Segoe UI" pitchFamily="34" charset="0"/>
              <a:cs typeface="Segoe UI" pitchFamily="34" charset="0"/>
            </a:endParaRPr>
          </a:p>
          <a:p>
            <a:pPr defTabSz="932472" fontAlgn="base">
              <a:lnSpc>
                <a:spcPct val="90000"/>
              </a:lnSpc>
              <a:spcBef>
                <a:spcPct val="0"/>
              </a:spcBef>
              <a:spcAft>
                <a:spcPct val="0"/>
              </a:spcAft>
            </a:pPr>
            <a:endParaRPr lang="en-US" sz="5400" dirty="0">
              <a:solidFill>
                <a:schemeClr val="bg1"/>
              </a:solidFill>
              <a:latin typeface="+mj-lt"/>
              <a:ea typeface="Segoe UI" pitchFamily="34" charset="0"/>
              <a:cs typeface="Segoe UI" pitchFamily="34" charset="0"/>
            </a:endParaRPr>
          </a:p>
        </p:txBody>
      </p:sp>
      <p:sp>
        <p:nvSpPr>
          <p:cNvPr id="5" name="Rectangle 4"/>
          <p:cNvSpPr/>
          <p:nvPr/>
        </p:nvSpPr>
        <p:spPr bwMode="auto">
          <a:xfrm>
            <a:off x="0" y="6445885"/>
            <a:ext cx="5325035" cy="54864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rPr>
              <a:t>Tools</a:t>
            </a:r>
          </a:p>
        </p:txBody>
      </p:sp>
      <p:sp>
        <p:nvSpPr>
          <p:cNvPr id="6" name="Freeform 5"/>
          <p:cNvSpPr>
            <a:spLocks/>
          </p:cNvSpPr>
          <p:nvPr/>
        </p:nvSpPr>
        <p:spPr bwMode="auto">
          <a:xfrm flipH="1">
            <a:off x="2671625" y="4267200"/>
            <a:ext cx="2653409" cy="2178685"/>
          </a:xfrm>
          <a:custGeom>
            <a:avLst/>
            <a:gdLst>
              <a:gd name="connsiteX0" fmla="*/ 603413 w 1090712"/>
              <a:gd name="connsiteY0" fmla="*/ 721327 h 895572"/>
              <a:gd name="connsiteX1" fmla="*/ 578466 w 1090712"/>
              <a:gd name="connsiteY1" fmla="*/ 770746 h 895572"/>
              <a:gd name="connsiteX2" fmla="*/ 553519 w 1090712"/>
              <a:gd name="connsiteY2" fmla="*/ 818264 h 895572"/>
              <a:gd name="connsiteX3" fmla="*/ 528334 w 1090712"/>
              <a:gd name="connsiteY3" fmla="*/ 865069 h 895572"/>
              <a:gd name="connsiteX4" fmla="*/ 511825 w 1090712"/>
              <a:gd name="connsiteY4" fmla="*/ 895572 h 895572"/>
              <a:gd name="connsiteX5" fmla="*/ 624528 w 1090712"/>
              <a:gd name="connsiteY5" fmla="*/ 895572 h 895572"/>
              <a:gd name="connsiteX6" fmla="*/ 624796 w 1090712"/>
              <a:gd name="connsiteY6" fmla="*/ 894768 h 895572"/>
              <a:gd name="connsiteX7" fmla="*/ 625271 w 1090712"/>
              <a:gd name="connsiteY7" fmla="*/ 891679 h 895572"/>
              <a:gd name="connsiteX8" fmla="*/ 625747 w 1090712"/>
              <a:gd name="connsiteY8" fmla="*/ 889066 h 895572"/>
              <a:gd name="connsiteX9" fmla="*/ 625747 w 1090712"/>
              <a:gd name="connsiteY9" fmla="*/ 860555 h 895572"/>
              <a:gd name="connsiteX10" fmla="*/ 624796 w 1090712"/>
              <a:gd name="connsiteY10" fmla="*/ 833945 h 895572"/>
              <a:gd name="connsiteX11" fmla="*/ 624321 w 1090712"/>
              <a:gd name="connsiteY11" fmla="*/ 820877 h 895572"/>
              <a:gd name="connsiteX12" fmla="*/ 623608 w 1090712"/>
              <a:gd name="connsiteY12" fmla="*/ 808047 h 895572"/>
              <a:gd name="connsiteX13" fmla="*/ 621708 w 1090712"/>
              <a:gd name="connsiteY13" fmla="*/ 795218 h 895572"/>
              <a:gd name="connsiteX14" fmla="*/ 620044 w 1090712"/>
              <a:gd name="connsiteY14" fmla="*/ 782625 h 895572"/>
              <a:gd name="connsiteX15" fmla="*/ 616005 w 1090712"/>
              <a:gd name="connsiteY15" fmla="*/ 766707 h 895572"/>
              <a:gd name="connsiteX16" fmla="*/ 611966 w 1090712"/>
              <a:gd name="connsiteY16" fmla="*/ 751976 h 895572"/>
              <a:gd name="connsiteX17" fmla="*/ 607452 w 1090712"/>
              <a:gd name="connsiteY17" fmla="*/ 737245 h 895572"/>
              <a:gd name="connsiteX18" fmla="*/ 698212 w 1090712"/>
              <a:gd name="connsiteY18" fmla="*/ 530778 h 895572"/>
              <a:gd name="connsiteX19" fmla="*/ 693460 w 1090712"/>
              <a:gd name="connsiteY19" fmla="*/ 534818 h 895572"/>
              <a:gd name="connsiteX20" fmla="*/ 688471 w 1090712"/>
              <a:gd name="connsiteY20" fmla="*/ 538857 h 895572"/>
              <a:gd name="connsiteX21" fmla="*/ 678254 w 1090712"/>
              <a:gd name="connsiteY21" fmla="*/ 546935 h 895572"/>
              <a:gd name="connsiteX22" fmla="*/ 669226 w 1090712"/>
              <a:gd name="connsiteY22" fmla="*/ 553587 h 895572"/>
              <a:gd name="connsiteX23" fmla="*/ 663048 w 1090712"/>
              <a:gd name="connsiteY23" fmla="*/ 558814 h 895572"/>
              <a:gd name="connsiteX24" fmla="*/ 663048 w 1090712"/>
              <a:gd name="connsiteY24" fmla="*/ 556676 h 895572"/>
              <a:gd name="connsiteX25" fmla="*/ 663523 w 1090712"/>
              <a:gd name="connsiteY25" fmla="*/ 554538 h 895572"/>
              <a:gd name="connsiteX26" fmla="*/ 665424 w 1090712"/>
              <a:gd name="connsiteY26" fmla="*/ 550498 h 895572"/>
              <a:gd name="connsiteX27" fmla="*/ 668038 w 1090712"/>
              <a:gd name="connsiteY27" fmla="*/ 546459 h 895572"/>
              <a:gd name="connsiteX28" fmla="*/ 671602 w 1090712"/>
              <a:gd name="connsiteY28" fmla="*/ 542420 h 895572"/>
              <a:gd name="connsiteX29" fmla="*/ 676829 w 1090712"/>
              <a:gd name="connsiteY29" fmla="*/ 538857 h 895572"/>
              <a:gd name="connsiteX30" fmla="*/ 682768 w 1090712"/>
              <a:gd name="connsiteY30" fmla="*/ 535768 h 895572"/>
              <a:gd name="connsiteX31" fmla="*/ 689896 w 1090712"/>
              <a:gd name="connsiteY31" fmla="*/ 533154 h 895572"/>
              <a:gd name="connsiteX32" fmla="*/ 654257 w 1090712"/>
              <a:gd name="connsiteY32" fmla="*/ 302216 h 895572"/>
              <a:gd name="connsiteX33" fmla="*/ 651882 w 1090712"/>
              <a:gd name="connsiteY33" fmla="*/ 302691 h 895572"/>
              <a:gd name="connsiteX34" fmla="*/ 649268 w 1090712"/>
              <a:gd name="connsiteY34" fmla="*/ 303166 h 895572"/>
              <a:gd name="connsiteX35" fmla="*/ 647130 w 1090712"/>
              <a:gd name="connsiteY35" fmla="*/ 304354 h 895572"/>
              <a:gd name="connsiteX36" fmla="*/ 644516 w 1090712"/>
              <a:gd name="connsiteY36" fmla="*/ 306255 h 895572"/>
              <a:gd name="connsiteX37" fmla="*/ 642140 w 1090712"/>
              <a:gd name="connsiteY37" fmla="*/ 307918 h 895572"/>
              <a:gd name="connsiteX38" fmla="*/ 640002 w 1090712"/>
              <a:gd name="connsiteY38" fmla="*/ 310294 h 895572"/>
              <a:gd name="connsiteX39" fmla="*/ 638101 w 1090712"/>
              <a:gd name="connsiteY39" fmla="*/ 312432 h 895572"/>
              <a:gd name="connsiteX40" fmla="*/ 636913 w 1090712"/>
              <a:gd name="connsiteY40" fmla="*/ 314571 h 895572"/>
              <a:gd name="connsiteX41" fmla="*/ 635963 w 1090712"/>
              <a:gd name="connsiteY41" fmla="*/ 316946 h 895572"/>
              <a:gd name="connsiteX42" fmla="*/ 635963 w 1090712"/>
              <a:gd name="connsiteY42" fmla="*/ 319085 h 895572"/>
              <a:gd name="connsiteX43" fmla="*/ 636913 w 1090712"/>
              <a:gd name="connsiteY43" fmla="*/ 321223 h 895572"/>
              <a:gd name="connsiteX44" fmla="*/ 637626 w 1090712"/>
              <a:gd name="connsiteY44" fmla="*/ 324074 h 895572"/>
              <a:gd name="connsiteX45" fmla="*/ 639527 w 1090712"/>
              <a:gd name="connsiteY45" fmla="*/ 326688 h 895572"/>
              <a:gd name="connsiteX46" fmla="*/ 643091 w 1090712"/>
              <a:gd name="connsiteY46" fmla="*/ 331677 h 895572"/>
              <a:gd name="connsiteX47" fmla="*/ 647130 w 1090712"/>
              <a:gd name="connsiteY47" fmla="*/ 335954 h 895572"/>
              <a:gd name="connsiteX48" fmla="*/ 655920 w 1090712"/>
              <a:gd name="connsiteY48" fmla="*/ 330727 h 895572"/>
              <a:gd name="connsiteX49" fmla="*/ 663999 w 1090712"/>
              <a:gd name="connsiteY49" fmla="*/ 324787 h 895572"/>
              <a:gd name="connsiteX50" fmla="*/ 679917 w 1090712"/>
              <a:gd name="connsiteY50" fmla="*/ 313383 h 895572"/>
              <a:gd name="connsiteX51" fmla="*/ 676354 w 1090712"/>
              <a:gd name="connsiteY51" fmla="*/ 311007 h 895572"/>
              <a:gd name="connsiteX52" fmla="*/ 672790 w 1090712"/>
              <a:gd name="connsiteY52" fmla="*/ 308393 h 895572"/>
              <a:gd name="connsiteX53" fmla="*/ 668988 w 1090712"/>
              <a:gd name="connsiteY53" fmla="*/ 306730 h 895572"/>
              <a:gd name="connsiteX54" fmla="*/ 664949 w 1090712"/>
              <a:gd name="connsiteY54" fmla="*/ 304829 h 895572"/>
              <a:gd name="connsiteX55" fmla="*/ 660910 w 1090712"/>
              <a:gd name="connsiteY55" fmla="*/ 303641 h 895572"/>
              <a:gd name="connsiteX56" fmla="*/ 657346 w 1090712"/>
              <a:gd name="connsiteY56" fmla="*/ 302691 h 895572"/>
              <a:gd name="connsiteX57" fmla="*/ 696549 w 1090712"/>
              <a:gd name="connsiteY57" fmla="*/ 252322 h 895572"/>
              <a:gd name="connsiteX58" fmla="*/ 696786 w 1090712"/>
              <a:gd name="connsiteY58" fmla="*/ 259925 h 895572"/>
              <a:gd name="connsiteX59" fmla="*/ 698212 w 1090712"/>
              <a:gd name="connsiteY59" fmla="*/ 266102 h 895572"/>
              <a:gd name="connsiteX60" fmla="*/ 700113 w 1090712"/>
              <a:gd name="connsiteY60" fmla="*/ 272042 h 895572"/>
              <a:gd name="connsiteX61" fmla="*/ 701776 w 1090712"/>
              <a:gd name="connsiteY61" fmla="*/ 276794 h 895572"/>
              <a:gd name="connsiteX62" fmla="*/ 704389 w 1090712"/>
              <a:gd name="connsiteY62" fmla="*/ 280833 h 895572"/>
              <a:gd name="connsiteX63" fmla="*/ 707240 w 1090712"/>
              <a:gd name="connsiteY63" fmla="*/ 284397 h 895572"/>
              <a:gd name="connsiteX64" fmla="*/ 710329 w 1090712"/>
              <a:gd name="connsiteY64" fmla="*/ 287010 h 895572"/>
              <a:gd name="connsiteX65" fmla="*/ 713418 w 1090712"/>
              <a:gd name="connsiteY65" fmla="*/ 289624 h 895572"/>
              <a:gd name="connsiteX66" fmla="*/ 716506 w 1090712"/>
              <a:gd name="connsiteY66" fmla="*/ 291524 h 895572"/>
              <a:gd name="connsiteX67" fmla="*/ 719595 w 1090712"/>
              <a:gd name="connsiteY67" fmla="*/ 293187 h 895572"/>
              <a:gd name="connsiteX68" fmla="*/ 725772 w 1090712"/>
              <a:gd name="connsiteY68" fmla="*/ 295088 h 895572"/>
              <a:gd name="connsiteX69" fmla="*/ 731237 w 1090712"/>
              <a:gd name="connsiteY69" fmla="*/ 296514 h 895572"/>
              <a:gd name="connsiteX70" fmla="*/ 734801 w 1090712"/>
              <a:gd name="connsiteY70" fmla="*/ 296751 h 895572"/>
              <a:gd name="connsiteX71" fmla="*/ 722209 w 1090712"/>
              <a:gd name="connsiteY71" fmla="*/ 303879 h 895572"/>
              <a:gd name="connsiteX72" fmla="*/ 710804 w 1090712"/>
              <a:gd name="connsiteY72" fmla="*/ 311007 h 895572"/>
              <a:gd name="connsiteX73" fmla="*/ 688471 w 1090712"/>
              <a:gd name="connsiteY73" fmla="*/ 324787 h 895572"/>
              <a:gd name="connsiteX74" fmla="*/ 667563 w 1090712"/>
              <a:gd name="connsiteY74" fmla="*/ 339043 h 895572"/>
              <a:gd name="connsiteX75" fmla="*/ 646179 w 1090712"/>
              <a:gd name="connsiteY75" fmla="*/ 352823 h 895572"/>
              <a:gd name="connsiteX76" fmla="*/ 620044 w 1090712"/>
              <a:gd name="connsiteY76" fmla="*/ 313383 h 895572"/>
              <a:gd name="connsiteX77" fmla="*/ 617668 w 1090712"/>
              <a:gd name="connsiteY77" fmla="*/ 312432 h 895572"/>
              <a:gd name="connsiteX78" fmla="*/ 615055 w 1090712"/>
              <a:gd name="connsiteY78" fmla="*/ 312432 h 895572"/>
              <a:gd name="connsiteX79" fmla="*/ 612441 w 1090712"/>
              <a:gd name="connsiteY79" fmla="*/ 313383 h 895572"/>
              <a:gd name="connsiteX80" fmla="*/ 609353 w 1090712"/>
              <a:gd name="connsiteY80" fmla="*/ 314095 h 895572"/>
              <a:gd name="connsiteX81" fmla="*/ 602938 w 1090712"/>
              <a:gd name="connsiteY81" fmla="*/ 316946 h 895572"/>
              <a:gd name="connsiteX82" fmla="*/ 599849 w 1090712"/>
              <a:gd name="connsiteY82" fmla="*/ 317659 h 895572"/>
              <a:gd name="connsiteX83" fmla="*/ 596760 w 1090712"/>
              <a:gd name="connsiteY83" fmla="*/ 318610 h 895572"/>
              <a:gd name="connsiteX84" fmla="*/ 607927 w 1090712"/>
              <a:gd name="connsiteY84" fmla="*/ 307205 h 895572"/>
              <a:gd name="connsiteX85" fmla="*/ 618619 w 1090712"/>
              <a:gd name="connsiteY85" fmla="*/ 295088 h 895572"/>
              <a:gd name="connsiteX86" fmla="*/ 623846 w 1090712"/>
              <a:gd name="connsiteY86" fmla="*/ 289386 h 895572"/>
              <a:gd name="connsiteX87" fmla="*/ 629786 w 1090712"/>
              <a:gd name="connsiteY87" fmla="*/ 283921 h 895572"/>
              <a:gd name="connsiteX88" fmla="*/ 635963 w 1090712"/>
              <a:gd name="connsiteY88" fmla="*/ 278694 h 895572"/>
              <a:gd name="connsiteX89" fmla="*/ 642140 w 1090712"/>
              <a:gd name="connsiteY89" fmla="*/ 273705 h 895572"/>
              <a:gd name="connsiteX90" fmla="*/ 648793 w 1090712"/>
              <a:gd name="connsiteY90" fmla="*/ 269191 h 895572"/>
              <a:gd name="connsiteX91" fmla="*/ 655446 w 1090712"/>
              <a:gd name="connsiteY91" fmla="*/ 265627 h 895572"/>
              <a:gd name="connsiteX92" fmla="*/ 662098 w 1090712"/>
              <a:gd name="connsiteY92" fmla="*/ 263013 h 895572"/>
              <a:gd name="connsiteX93" fmla="*/ 668988 w 1090712"/>
              <a:gd name="connsiteY93" fmla="*/ 260400 h 895572"/>
              <a:gd name="connsiteX94" fmla="*/ 682768 w 1090712"/>
              <a:gd name="connsiteY94" fmla="*/ 256361 h 895572"/>
              <a:gd name="connsiteX95" fmla="*/ 1030602 w 1090712"/>
              <a:gd name="connsiteY95" fmla="*/ 200289 h 895572"/>
              <a:gd name="connsiteX96" fmla="*/ 1027513 w 1090712"/>
              <a:gd name="connsiteY96" fmla="*/ 207892 h 895572"/>
              <a:gd name="connsiteX97" fmla="*/ 1023949 w 1090712"/>
              <a:gd name="connsiteY97" fmla="*/ 214545 h 895572"/>
              <a:gd name="connsiteX98" fmla="*/ 1019910 w 1090712"/>
              <a:gd name="connsiteY98" fmla="*/ 221197 h 895572"/>
              <a:gd name="connsiteX99" fmla="*/ 1015396 w 1090712"/>
              <a:gd name="connsiteY99" fmla="*/ 226899 h 895572"/>
              <a:gd name="connsiteX100" fmla="*/ 1011119 w 1090712"/>
              <a:gd name="connsiteY100" fmla="*/ 232839 h 895572"/>
              <a:gd name="connsiteX101" fmla="*/ 1006130 w 1090712"/>
              <a:gd name="connsiteY101" fmla="*/ 237591 h 895572"/>
              <a:gd name="connsiteX102" fmla="*/ 1001140 w 1090712"/>
              <a:gd name="connsiteY102" fmla="*/ 242105 h 895572"/>
              <a:gd name="connsiteX103" fmla="*/ 996388 w 1090712"/>
              <a:gd name="connsiteY103" fmla="*/ 246144 h 895572"/>
              <a:gd name="connsiteX104" fmla="*/ 990924 w 1090712"/>
              <a:gd name="connsiteY104" fmla="*/ 249708 h 895572"/>
              <a:gd name="connsiteX105" fmla="*/ 985697 w 1090712"/>
              <a:gd name="connsiteY105" fmla="*/ 252797 h 895572"/>
              <a:gd name="connsiteX106" fmla="*/ 980232 w 1090712"/>
              <a:gd name="connsiteY106" fmla="*/ 254935 h 895572"/>
              <a:gd name="connsiteX107" fmla="*/ 975005 w 1090712"/>
              <a:gd name="connsiteY107" fmla="*/ 256836 h 895572"/>
              <a:gd name="connsiteX108" fmla="*/ 969541 w 1090712"/>
              <a:gd name="connsiteY108" fmla="*/ 258262 h 895572"/>
              <a:gd name="connsiteX109" fmla="*/ 963839 w 1090712"/>
              <a:gd name="connsiteY109" fmla="*/ 258499 h 895572"/>
              <a:gd name="connsiteX110" fmla="*/ 958612 w 1090712"/>
              <a:gd name="connsiteY110" fmla="*/ 258499 h 895572"/>
              <a:gd name="connsiteX111" fmla="*/ 953622 w 1090712"/>
              <a:gd name="connsiteY111" fmla="*/ 257786 h 895572"/>
              <a:gd name="connsiteX112" fmla="*/ 970966 w 1090712"/>
              <a:gd name="connsiteY112" fmla="*/ 244006 h 895572"/>
              <a:gd name="connsiteX113" fmla="*/ 990211 w 1090712"/>
              <a:gd name="connsiteY113" fmla="*/ 229275 h 895572"/>
              <a:gd name="connsiteX114" fmla="*/ 1010169 w 1090712"/>
              <a:gd name="connsiteY114" fmla="*/ 214069 h 895572"/>
              <a:gd name="connsiteX115" fmla="*/ 1020385 w 1090712"/>
              <a:gd name="connsiteY115" fmla="*/ 206942 h 895572"/>
              <a:gd name="connsiteX116" fmla="*/ 389581 w 1090712"/>
              <a:gd name="connsiteY116" fmla="*/ 176768 h 895572"/>
              <a:gd name="connsiteX117" fmla="*/ 397422 w 1090712"/>
              <a:gd name="connsiteY117" fmla="*/ 177243 h 895572"/>
              <a:gd name="connsiteX118" fmla="*/ 414766 w 1090712"/>
              <a:gd name="connsiteY118" fmla="*/ 178906 h 895572"/>
              <a:gd name="connsiteX119" fmla="*/ 405500 w 1090712"/>
              <a:gd name="connsiteY119" fmla="*/ 179856 h 895572"/>
              <a:gd name="connsiteX120" fmla="*/ 396946 w 1090712"/>
              <a:gd name="connsiteY120" fmla="*/ 181995 h 895572"/>
              <a:gd name="connsiteX121" fmla="*/ 389581 w 1090712"/>
              <a:gd name="connsiteY121" fmla="*/ 184371 h 895572"/>
              <a:gd name="connsiteX122" fmla="*/ 381978 w 1090712"/>
              <a:gd name="connsiteY122" fmla="*/ 186984 h 895572"/>
              <a:gd name="connsiteX123" fmla="*/ 375326 w 1090712"/>
              <a:gd name="connsiteY123" fmla="*/ 190548 h 895572"/>
              <a:gd name="connsiteX124" fmla="*/ 368911 w 1090712"/>
              <a:gd name="connsiteY124" fmla="*/ 194112 h 895572"/>
              <a:gd name="connsiteX125" fmla="*/ 363208 w 1090712"/>
              <a:gd name="connsiteY125" fmla="*/ 198626 h 895572"/>
              <a:gd name="connsiteX126" fmla="*/ 357981 w 1090712"/>
              <a:gd name="connsiteY126" fmla="*/ 202903 h 895572"/>
              <a:gd name="connsiteX127" fmla="*/ 352517 w 1090712"/>
              <a:gd name="connsiteY127" fmla="*/ 208367 h 895572"/>
              <a:gd name="connsiteX128" fmla="*/ 348003 w 1090712"/>
              <a:gd name="connsiteY128" fmla="*/ 214070 h 895572"/>
              <a:gd name="connsiteX129" fmla="*/ 343726 w 1090712"/>
              <a:gd name="connsiteY129" fmla="*/ 220247 h 895572"/>
              <a:gd name="connsiteX130" fmla="*/ 339687 w 1090712"/>
              <a:gd name="connsiteY130" fmla="*/ 226662 h 895572"/>
              <a:gd name="connsiteX131" fmla="*/ 335648 w 1090712"/>
              <a:gd name="connsiteY131" fmla="*/ 233790 h 895572"/>
              <a:gd name="connsiteX132" fmla="*/ 332559 w 1090712"/>
              <a:gd name="connsiteY132" fmla="*/ 240917 h 895572"/>
              <a:gd name="connsiteX133" fmla="*/ 328995 w 1090712"/>
              <a:gd name="connsiteY133" fmla="*/ 248758 h 895572"/>
              <a:gd name="connsiteX134" fmla="*/ 325907 w 1090712"/>
              <a:gd name="connsiteY134" fmla="*/ 256836 h 895572"/>
              <a:gd name="connsiteX135" fmla="*/ 325432 w 1090712"/>
              <a:gd name="connsiteY135" fmla="*/ 252797 h 895572"/>
              <a:gd name="connsiteX136" fmla="*/ 324956 w 1090712"/>
              <a:gd name="connsiteY136" fmla="*/ 248283 h 895572"/>
              <a:gd name="connsiteX137" fmla="*/ 323056 w 1090712"/>
              <a:gd name="connsiteY137" fmla="*/ 239492 h 895572"/>
              <a:gd name="connsiteX138" fmla="*/ 320917 w 1090712"/>
              <a:gd name="connsiteY138" fmla="*/ 229275 h 895572"/>
              <a:gd name="connsiteX139" fmla="*/ 320442 w 1090712"/>
              <a:gd name="connsiteY139" fmla="*/ 223811 h 895572"/>
              <a:gd name="connsiteX140" fmla="*/ 319967 w 1090712"/>
              <a:gd name="connsiteY140" fmla="*/ 217633 h 895572"/>
              <a:gd name="connsiteX141" fmla="*/ 314740 w 1090712"/>
              <a:gd name="connsiteY141" fmla="*/ 217633 h 895572"/>
              <a:gd name="connsiteX142" fmla="*/ 302148 w 1090712"/>
              <a:gd name="connsiteY142" fmla="*/ 243056 h 895572"/>
              <a:gd name="connsiteX143" fmla="*/ 289793 w 1090712"/>
              <a:gd name="connsiteY143" fmla="*/ 267528 h 895572"/>
              <a:gd name="connsiteX144" fmla="*/ 277438 w 1090712"/>
              <a:gd name="connsiteY144" fmla="*/ 291049 h 895572"/>
              <a:gd name="connsiteX145" fmla="*/ 264371 w 1090712"/>
              <a:gd name="connsiteY145" fmla="*/ 312907 h 895572"/>
              <a:gd name="connsiteX146" fmla="*/ 267459 w 1090712"/>
              <a:gd name="connsiteY146" fmla="*/ 295088 h 895572"/>
              <a:gd name="connsiteX147" fmla="*/ 271023 w 1090712"/>
              <a:gd name="connsiteY147" fmla="*/ 279170 h 895572"/>
              <a:gd name="connsiteX148" fmla="*/ 274587 w 1090712"/>
              <a:gd name="connsiteY148" fmla="*/ 263964 h 895572"/>
              <a:gd name="connsiteX149" fmla="*/ 279101 w 1090712"/>
              <a:gd name="connsiteY149" fmla="*/ 250183 h 895572"/>
              <a:gd name="connsiteX150" fmla="*/ 284091 w 1090712"/>
              <a:gd name="connsiteY150" fmla="*/ 238066 h 895572"/>
              <a:gd name="connsiteX151" fmla="*/ 289318 w 1090712"/>
              <a:gd name="connsiteY151" fmla="*/ 226900 h 895572"/>
              <a:gd name="connsiteX152" fmla="*/ 292406 w 1090712"/>
              <a:gd name="connsiteY152" fmla="*/ 221673 h 895572"/>
              <a:gd name="connsiteX153" fmla="*/ 295495 w 1090712"/>
              <a:gd name="connsiteY153" fmla="*/ 217158 h 895572"/>
              <a:gd name="connsiteX154" fmla="*/ 298584 w 1090712"/>
              <a:gd name="connsiteY154" fmla="*/ 212406 h 895572"/>
              <a:gd name="connsiteX155" fmla="*/ 302148 w 1090712"/>
              <a:gd name="connsiteY155" fmla="*/ 208367 h 895572"/>
              <a:gd name="connsiteX156" fmla="*/ 305711 w 1090712"/>
              <a:gd name="connsiteY156" fmla="*/ 204328 h 895572"/>
              <a:gd name="connsiteX157" fmla="*/ 309275 w 1090712"/>
              <a:gd name="connsiteY157" fmla="*/ 200765 h 895572"/>
              <a:gd name="connsiteX158" fmla="*/ 313314 w 1090712"/>
              <a:gd name="connsiteY158" fmla="*/ 197201 h 895572"/>
              <a:gd name="connsiteX159" fmla="*/ 317354 w 1090712"/>
              <a:gd name="connsiteY159" fmla="*/ 194112 h 895572"/>
              <a:gd name="connsiteX160" fmla="*/ 321868 w 1090712"/>
              <a:gd name="connsiteY160" fmla="*/ 191498 h 895572"/>
              <a:gd name="connsiteX161" fmla="*/ 326382 w 1090712"/>
              <a:gd name="connsiteY161" fmla="*/ 188647 h 895572"/>
              <a:gd name="connsiteX162" fmla="*/ 330659 w 1090712"/>
              <a:gd name="connsiteY162" fmla="*/ 186509 h 895572"/>
              <a:gd name="connsiteX163" fmla="*/ 335648 w 1090712"/>
              <a:gd name="connsiteY163" fmla="*/ 184371 h 895572"/>
              <a:gd name="connsiteX164" fmla="*/ 340637 w 1090712"/>
              <a:gd name="connsiteY164" fmla="*/ 182470 h 895572"/>
              <a:gd name="connsiteX165" fmla="*/ 345864 w 1090712"/>
              <a:gd name="connsiteY165" fmla="*/ 181282 h 895572"/>
              <a:gd name="connsiteX166" fmla="*/ 351091 w 1090712"/>
              <a:gd name="connsiteY166" fmla="*/ 179856 h 895572"/>
              <a:gd name="connsiteX167" fmla="*/ 357031 w 1090712"/>
              <a:gd name="connsiteY167" fmla="*/ 178431 h 895572"/>
              <a:gd name="connsiteX168" fmla="*/ 368911 w 1090712"/>
              <a:gd name="connsiteY168" fmla="*/ 177243 h 895572"/>
              <a:gd name="connsiteX169" fmla="*/ 381978 w 1090712"/>
              <a:gd name="connsiteY169" fmla="*/ 176768 h 895572"/>
              <a:gd name="connsiteX170" fmla="*/ 609353 w 1090712"/>
              <a:gd name="connsiteY170" fmla="*/ 174629 h 895572"/>
              <a:gd name="connsiteX171" fmla="*/ 602463 w 1090712"/>
              <a:gd name="connsiteY171" fmla="*/ 180807 h 895572"/>
              <a:gd name="connsiteX172" fmla="*/ 596285 w 1090712"/>
              <a:gd name="connsiteY172" fmla="*/ 187459 h 895572"/>
              <a:gd name="connsiteX173" fmla="*/ 583931 w 1090712"/>
              <a:gd name="connsiteY173" fmla="*/ 201715 h 895572"/>
              <a:gd name="connsiteX174" fmla="*/ 571101 w 1090712"/>
              <a:gd name="connsiteY174" fmla="*/ 215495 h 895572"/>
              <a:gd name="connsiteX175" fmla="*/ 564686 w 1090712"/>
              <a:gd name="connsiteY175" fmla="*/ 222148 h 895572"/>
              <a:gd name="connsiteX176" fmla="*/ 558508 w 1090712"/>
              <a:gd name="connsiteY176" fmla="*/ 228325 h 895572"/>
              <a:gd name="connsiteX177" fmla="*/ 557558 w 1090712"/>
              <a:gd name="connsiteY177" fmla="*/ 223335 h 895572"/>
              <a:gd name="connsiteX178" fmla="*/ 557083 w 1090712"/>
              <a:gd name="connsiteY178" fmla="*/ 219059 h 895572"/>
              <a:gd name="connsiteX179" fmla="*/ 557083 w 1090712"/>
              <a:gd name="connsiteY179" fmla="*/ 215020 h 895572"/>
              <a:gd name="connsiteX180" fmla="*/ 557558 w 1090712"/>
              <a:gd name="connsiteY180" fmla="*/ 210981 h 895572"/>
              <a:gd name="connsiteX181" fmla="*/ 558508 w 1090712"/>
              <a:gd name="connsiteY181" fmla="*/ 207417 h 895572"/>
              <a:gd name="connsiteX182" fmla="*/ 560409 w 1090712"/>
              <a:gd name="connsiteY182" fmla="*/ 203853 h 895572"/>
              <a:gd name="connsiteX183" fmla="*/ 562072 w 1090712"/>
              <a:gd name="connsiteY183" fmla="*/ 200764 h 895572"/>
              <a:gd name="connsiteX184" fmla="*/ 564686 w 1090712"/>
              <a:gd name="connsiteY184" fmla="*/ 197676 h 895572"/>
              <a:gd name="connsiteX185" fmla="*/ 567774 w 1090712"/>
              <a:gd name="connsiteY185" fmla="*/ 194587 h 895572"/>
              <a:gd name="connsiteX186" fmla="*/ 571813 w 1090712"/>
              <a:gd name="connsiteY186" fmla="*/ 191973 h 895572"/>
              <a:gd name="connsiteX187" fmla="*/ 576328 w 1090712"/>
              <a:gd name="connsiteY187" fmla="*/ 188647 h 895572"/>
              <a:gd name="connsiteX188" fmla="*/ 581317 w 1090712"/>
              <a:gd name="connsiteY188" fmla="*/ 186034 h 895572"/>
              <a:gd name="connsiteX189" fmla="*/ 587019 w 1090712"/>
              <a:gd name="connsiteY189" fmla="*/ 183420 h 895572"/>
              <a:gd name="connsiteX190" fmla="*/ 593672 w 1090712"/>
              <a:gd name="connsiteY190" fmla="*/ 180332 h 895572"/>
              <a:gd name="connsiteX191" fmla="*/ 586544 w 1090712"/>
              <a:gd name="connsiteY191" fmla="*/ 0 h 895572"/>
              <a:gd name="connsiteX192" fmla="*/ 570150 w 1090712"/>
              <a:gd name="connsiteY192" fmla="*/ 2851 h 895572"/>
              <a:gd name="connsiteX193" fmla="*/ 553519 w 1090712"/>
              <a:gd name="connsiteY193" fmla="*/ 5940 h 895572"/>
              <a:gd name="connsiteX194" fmla="*/ 536650 w 1090712"/>
              <a:gd name="connsiteY194" fmla="*/ 10454 h 895572"/>
              <a:gd name="connsiteX195" fmla="*/ 520256 w 1090712"/>
              <a:gd name="connsiteY195" fmla="*/ 14731 h 895572"/>
              <a:gd name="connsiteX196" fmla="*/ 486993 w 1090712"/>
              <a:gd name="connsiteY196" fmla="*/ 24472 h 895572"/>
              <a:gd name="connsiteX197" fmla="*/ 469887 w 1090712"/>
              <a:gd name="connsiteY197" fmla="*/ 28986 h 895572"/>
              <a:gd name="connsiteX198" fmla="*/ 453493 w 1090712"/>
              <a:gd name="connsiteY198" fmla="*/ 33500 h 895572"/>
              <a:gd name="connsiteX199" fmla="*/ 438762 w 1090712"/>
              <a:gd name="connsiteY199" fmla="*/ 40153 h 895572"/>
              <a:gd name="connsiteX200" fmla="*/ 424507 w 1090712"/>
              <a:gd name="connsiteY200" fmla="*/ 47281 h 895572"/>
              <a:gd name="connsiteX201" fmla="*/ 417379 w 1090712"/>
              <a:gd name="connsiteY201" fmla="*/ 51320 h 895572"/>
              <a:gd name="connsiteX202" fmla="*/ 410727 w 1090712"/>
              <a:gd name="connsiteY202" fmla="*/ 55834 h 895572"/>
              <a:gd name="connsiteX203" fmla="*/ 403599 w 1090712"/>
              <a:gd name="connsiteY203" fmla="*/ 60111 h 895572"/>
              <a:gd name="connsiteX204" fmla="*/ 397422 w 1090712"/>
              <a:gd name="connsiteY204" fmla="*/ 65100 h 895572"/>
              <a:gd name="connsiteX205" fmla="*/ 390769 w 1090712"/>
              <a:gd name="connsiteY205" fmla="*/ 69852 h 895572"/>
              <a:gd name="connsiteX206" fmla="*/ 384592 w 1090712"/>
              <a:gd name="connsiteY206" fmla="*/ 75792 h 895572"/>
              <a:gd name="connsiteX207" fmla="*/ 378889 w 1090712"/>
              <a:gd name="connsiteY207" fmla="*/ 81494 h 895572"/>
              <a:gd name="connsiteX208" fmla="*/ 372950 w 1090712"/>
              <a:gd name="connsiteY208" fmla="*/ 87671 h 895572"/>
              <a:gd name="connsiteX209" fmla="*/ 367723 w 1090712"/>
              <a:gd name="connsiteY209" fmla="*/ 94324 h 895572"/>
              <a:gd name="connsiteX210" fmla="*/ 362733 w 1090712"/>
              <a:gd name="connsiteY210" fmla="*/ 101452 h 895572"/>
              <a:gd name="connsiteX211" fmla="*/ 357981 w 1090712"/>
              <a:gd name="connsiteY211" fmla="*/ 109055 h 895572"/>
              <a:gd name="connsiteX212" fmla="*/ 353467 w 1090712"/>
              <a:gd name="connsiteY212" fmla="*/ 117608 h 895572"/>
              <a:gd name="connsiteX213" fmla="*/ 409064 w 1090712"/>
              <a:gd name="connsiteY213" fmla="*/ 117608 h 895572"/>
              <a:gd name="connsiteX214" fmla="*/ 406925 w 1090712"/>
              <a:gd name="connsiteY214" fmla="*/ 119271 h 895572"/>
              <a:gd name="connsiteX215" fmla="*/ 404074 w 1090712"/>
              <a:gd name="connsiteY215" fmla="*/ 121647 h 895572"/>
              <a:gd name="connsiteX216" fmla="*/ 400510 w 1090712"/>
              <a:gd name="connsiteY216" fmla="*/ 123310 h 895572"/>
              <a:gd name="connsiteX217" fmla="*/ 397422 w 1090712"/>
              <a:gd name="connsiteY217" fmla="*/ 125211 h 895572"/>
              <a:gd name="connsiteX218" fmla="*/ 393383 w 1090712"/>
              <a:gd name="connsiteY218" fmla="*/ 126399 h 895572"/>
              <a:gd name="connsiteX219" fmla="*/ 389581 w 1090712"/>
              <a:gd name="connsiteY219" fmla="*/ 127824 h 895572"/>
              <a:gd name="connsiteX220" fmla="*/ 385542 w 1090712"/>
              <a:gd name="connsiteY220" fmla="*/ 128299 h 895572"/>
              <a:gd name="connsiteX221" fmla="*/ 381503 w 1090712"/>
              <a:gd name="connsiteY221" fmla="*/ 128774 h 895572"/>
              <a:gd name="connsiteX222" fmla="*/ 375326 w 1090712"/>
              <a:gd name="connsiteY222" fmla="*/ 130438 h 895572"/>
              <a:gd name="connsiteX223" fmla="*/ 368435 w 1090712"/>
              <a:gd name="connsiteY223" fmla="*/ 131863 h 895572"/>
              <a:gd name="connsiteX224" fmla="*/ 361783 w 1090712"/>
              <a:gd name="connsiteY224" fmla="*/ 133051 h 895572"/>
              <a:gd name="connsiteX225" fmla="*/ 355606 w 1090712"/>
              <a:gd name="connsiteY225" fmla="*/ 134001 h 895572"/>
              <a:gd name="connsiteX226" fmla="*/ 342300 w 1090712"/>
              <a:gd name="connsiteY226" fmla="*/ 135427 h 895572"/>
              <a:gd name="connsiteX227" fmla="*/ 329471 w 1090712"/>
              <a:gd name="connsiteY227" fmla="*/ 137090 h 895572"/>
              <a:gd name="connsiteX228" fmla="*/ 322818 w 1090712"/>
              <a:gd name="connsiteY228" fmla="*/ 138040 h 895572"/>
              <a:gd name="connsiteX229" fmla="*/ 316403 w 1090712"/>
              <a:gd name="connsiteY229" fmla="*/ 139704 h 895572"/>
              <a:gd name="connsiteX230" fmla="*/ 310226 w 1090712"/>
              <a:gd name="connsiteY230" fmla="*/ 141604 h 895572"/>
              <a:gd name="connsiteX231" fmla="*/ 304048 w 1090712"/>
              <a:gd name="connsiteY231" fmla="*/ 144218 h 895572"/>
              <a:gd name="connsiteX232" fmla="*/ 298346 w 1090712"/>
              <a:gd name="connsiteY232" fmla="*/ 147307 h 895572"/>
              <a:gd name="connsiteX233" fmla="*/ 292406 w 1090712"/>
              <a:gd name="connsiteY233" fmla="*/ 151346 h 895572"/>
              <a:gd name="connsiteX234" fmla="*/ 286704 w 1090712"/>
              <a:gd name="connsiteY234" fmla="*/ 156335 h 895572"/>
              <a:gd name="connsiteX235" fmla="*/ 281240 w 1090712"/>
              <a:gd name="connsiteY235" fmla="*/ 162037 h 895572"/>
              <a:gd name="connsiteX236" fmla="*/ 262232 w 1090712"/>
              <a:gd name="connsiteY236" fmla="*/ 182945 h 895572"/>
              <a:gd name="connsiteX237" fmla="*/ 242987 w 1090712"/>
              <a:gd name="connsiteY237" fmla="*/ 203378 h 895572"/>
              <a:gd name="connsiteX238" fmla="*/ 203547 w 1090712"/>
              <a:gd name="connsiteY238" fmla="*/ 244006 h 895572"/>
              <a:gd name="connsiteX239" fmla="*/ 183827 w 1090712"/>
              <a:gd name="connsiteY239" fmla="*/ 264439 h 895572"/>
              <a:gd name="connsiteX240" fmla="*/ 164345 w 1090712"/>
              <a:gd name="connsiteY240" fmla="*/ 285822 h 895572"/>
              <a:gd name="connsiteX241" fmla="*/ 144862 w 1090712"/>
              <a:gd name="connsiteY241" fmla="*/ 307443 h 895572"/>
              <a:gd name="connsiteX242" fmla="*/ 126093 w 1090712"/>
              <a:gd name="connsiteY242" fmla="*/ 329777 h 895572"/>
              <a:gd name="connsiteX243" fmla="*/ 122054 w 1090712"/>
              <a:gd name="connsiteY243" fmla="*/ 335004 h 895572"/>
              <a:gd name="connsiteX244" fmla="*/ 118015 w 1090712"/>
              <a:gd name="connsiteY244" fmla="*/ 340468 h 895572"/>
              <a:gd name="connsiteX245" fmla="*/ 110887 w 1090712"/>
              <a:gd name="connsiteY245" fmla="*/ 352110 h 895572"/>
              <a:gd name="connsiteX246" fmla="*/ 104709 w 1090712"/>
              <a:gd name="connsiteY246" fmla="*/ 363514 h 895572"/>
              <a:gd name="connsiteX247" fmla="*/ 99007 w 1090712"/>
              <a:gd name="connsiteY247" fmla="*/ 375156 h 895572"/>
              <a:gd name="connsiteX248" fmla="*/ 87840 w 1090712"/>
              <a:gd name="connsiteY248" fmla="*/ 400103 h 895572"/>
              <a:gd name="connsiteX249" fmla="*/ 82138 w 1090712"/>
              <a:gd name="connsiteY249" fmla="*/ 412458 h 895572"/>
              <a:gd name="connsiteX250" fmla="*/ 75723 w 1090712"/>
              <a:gd name="connsiteY250" fmla="*/ 425050 h 895572"/>
              <a:gd name="connsiteX251" fmla="*/ 75723 w 1090712"/>
              <a:gd name="connsiteY251" fmla="*/ 429802 h 895572"/>
              <a:gd name="connsiteX252" fmla="*/ 76674 w 1090712"/>
              <a:gd name="connsiteY252" fmla="*/ 436217 h 895572"/>
              <a:gd name="connsiteX253" fmla="*/ 77149 w 1090712"/>
              <a:gd name="connsiteY253" fmla="*/ 439306 h 895572"/>
              <a:gd name="connsiteX254" fmla="*/ 78574 w 1090712"/>
              <a:gd name="connsiteY254" fmla="*/ 442395 h 895572"/>
              <a:gd name="connsiteX255" fmla="*/ 79762 w 1090712"/>
              <a:gd name="connsiteY255" fmla="*/ 445008 h 895572"/>
              <a:gd name="connsiteX256" fmla="*/ 81663 w 1090712"/>
              <a:gd name="connsiteY256" fmla="*/ 447147 h 895572"/>
              <a:gd name="connsiteX257" fmla="*/ 94018 w 1090712"/>
              <a:gd name="connsiteY257" fmla="*/ 468055 h 895572"/>
              <a:gd name="connsiteX258" fmla="*/ 106848 w 1090712"/>
              <a:gd name="connsiteY258" fmla="*/ 488963 h 895572"/>
              <a:gd name="connsiteX259" fmla="*/ 113975 w 1090712"/>
              <a:gd name="connsiteY259" fmla="*/ 499654 h 895572"/>
              <a:gd name="connsiteX260" fmla="*/ 121103 w 1090712"/>
              <a:gd name="connsiteY260" fmla="*/ 510346 h 895572"/>
              <a:gd name="connsiteX261" fmla="*/ 128706 w 1090712"/>
              <a:gd name="connsiteY261" fmla="*/ 520562 h 895572"/>
              <a:gd name="connsiteX262" fmla="*/ 137259 w 1090712"/>
              <a:gd name="connsiteY262" fmla="*/ 531254 h 895572"/>
              <a:gd name="connsiteX263" fmla="*/ 149614 w 1090712"/>
              <a:gd name="connsiteY263" fmla="*/ 514385 h 895572"/>
              <a:gd name="connsiteX264" fmla="*/ 162206 w 1090712"/>
              <a:gd name="connsiteY264" fmla="*/ 498466 h 895572"/>
              <a:gd name="connsiteX265" fmla="*/ 174561 w 1090712"/>
              <a:gd name="connsiteY265" fmla="*/ 483260 h 895572"/>
              <a:gd name="connsiteX266" fmla="*/ 180739 w 1090712"/>
              <a:gd name="connsiteY266" fmla="*/ 476133 h 895572"/>
              <a:gd name="connsiteX267" fmla="*/ 186916 w 1090712"/>
              <a:gd name="connsiteY267" fmla="*/ 469480 h 895572"/>
              <a:gd name="connsiteX268" fmla="*/ 182639 w 1090712"/>
              <a:gd name="connsiteY268" fmla="*/ 482310 h 895572"/>
              <a:gd name="connsiteX269" fmla="*/ 178125 w 1090712"/>
              <a:gd name="connsiteY269" fmla="*/ 495615 h 895572"/>
              <a:gd name="connsiteX270" fmla="*/ 172423 w 1090712"/>
              <a:gd name="connsiteY270" fmla="*/ 509871 h 895572"/>
              <a:gd name="connsiteX271" fmla="*/ 164820 w 1090712"/>
              <a:gd name="connsiteY271" fmla="*/ 525552 h 895572"/>
              <a:gd name="connsiteX272" fmla="*/ 156267 w 1090712"/>
              <a:gd name="connsiteY272" fmla="*/ 538381 h 895572"/>
              <a:gd name="connsiteX273" fmla="*/ 152703 w 1090712"/>
              <a:gd name="connsiteY273" fmla="*/ 544559 h 895572"/>
              <a:gd name="connsiteX274" fmla="*/ 148664 w 1090712"/>
              <a:gd name="connsiteY274" fmla="*/ 551449 h 895572"/>
              <a:gd name="connsiteX275" fmla="*/ 145100 w 1090712"/>
              <a:gd name="connsiteY275" fmla="*/ 558339 h 895572"/>
              <a:gd name="connsiteX276" fmla="*/ 142011 w 1090712"/>
              <a:gd name="connsiteY276" fmla="*/ 565467 h 895572"/>
              <a:gd name="connsiteX277" fmla="*/ 139398 w 1090712"/>
              <a:gd name="connsiteY277" fmla="*/ 573070 h 895572"/>
              <a:gd name="connsiteX278" fmla="*/ 137259 w 1090712"/>
              <a:gd name="connsiteY278" fmla="*/ 581623 h 895572"/>
              <a:gd name="connsiteX279" fmla="*/ 136309 w 1090712"/>
              <a:gd name="connsiteY279" fmla="*/ 583761 h 895572"/>
              <a:gd name="connsiteX280" fmla="*/ 135359 w 1090712"/>
              <a:gd name="connsiteY280" fmla="*/ 586137 h 895572"/>
              <a:gd name="connsiteX281" fmla="*/ 134883 w 1090712"/>
              <a:gd name="connsiteY281" fmla="*/ 590889 h 895572"/>
              <a:gd name="connsiteX282" fmla="*/ 134883 w 1090712"/>
              <a:gd name="connsiteY282" fmla="*/ 595879 h 895572"/>
              <a:gd name="connsiteX283" fmla="*/ 135359 w 1090712"/>
              <a:gd name="connsiteY283" fmla="*/ 601106 h 895572"/>
              <a:gd name="connsiteX284" fmla="*/ 136784 w 1090712"/>
              <a:gd name="connsiteY284" fmla="*/ 606095 h 895572"/>
              <a:gd name="connsiteX285" fmla="*/ 138447 w 1090712"/>
              <a:gd name="connsiteY285" fmla="*/ 611322 h 895572"/>
              <a:gd name="connsiteX286" fmla="*/ 140348 w 1090712"/>
              <a:gd name="connsiteY286" fmla="*/ 616311 h 895572"/>
              <a:gd name="connsiteX287" fmla="*/ 142486 w 1090712"/>
              <a:gd name="connsiteY287" fmla="*/ 620826 h 895572"/>
              <a:gd name="connsiteX288" fmla="*/ 148664 w 1090712"/>
              <a:gd name="connsiteY288" fmla="*/ 629616 h 895572"/>
              <a:gd name="connsiteX289" fmla="*/ 155554 w 1090712"/>
              <a:gd name="connsiteY289" fmla="*/ 637219 h 895572"/>
              <a:gd name="connsiteX290" fmla="*/ 162444 w 1090712"/>
              <a:gd name="connsiteY290" fmla="*/ 643872 h 895572"/>
              <a:gd name="connsiteX291" fmla="*/ 169572 w 1090712"/>
              <a:gd name="connsiteY291" fmla="*/ 649099 h 895572"/>
              <a:gd name="connsiteX292" fmla="*/ 177175 w 1090712"/>
              <a:gd name="connsiteY292" fmla="*/ 653613 h 895572"/>
              <a:gd name="connsiteX293" fmla="*/ 184778 w 1090712"/>
              <a:gd name="connsiteY293" fmla="*/ 657177 h 895572"/>
              <a:gd name="connsiteX294" fmla="*/ 192856 w 1090712"/>
              <a:gd name="connsiteY294" fmla="*/ 659553 h 895572"/>
              <a:gd name="connsiteX295" fmla="*/ 200934 w 1090712"/>
              <a:gd name="connsiteY295" fmla="*/ 661216 h 895572"/>
              <a:gd name="connsiteX296" fmla="*/ 209250 w 1090712"/>
              <a:gd name="connsiteY296" fmla="*/ 661691 h 895572"/>
              <a:gd name="connsiteX297" fmla="*/ 218278 w 1090712"/>
              <a:gd name="connsiteY297" fmla="*/ 661691 h 895572"/>
              <a:gd name="connsiteX298" fmla="*/ 227069 w 1090712"/>
              <a:gd name="connsiteY298" fmla="*/ 660266 h 895572"/>
              <a:gd name="connsiteX299" fmla="*/ 236335 w 1090712"/>
              <a:gd name="connsiteY299" fmla="*/ 658603 h 895572"/>
              <a:gd name="connsiteX300" fmla="*/ 245838 w 1090712"/>
              <a:gd name="connsiteY300" fmla="*/ 655514 h 895572"/>
              <a:gd name="connsiteX301" fmla="*/ 255580 w 1090712"/>
              <a:gd name="connsiteY301" fmla="*/ 652425 h 895572"/>
              <a:gd name="connsiteX302" fmla="*/ 265321 w 1090712"/>
              <a:gd name="connsiteY302" fmla="*/ 647911 h 895572"/>
              <a:gd name="connsiteX303" fmla="*/ 276013 w 1090712"/>
              <a:gd name="connsiteY303" fmla="*/ 642922 h 895572"/>
              <a:gd name="connsiteX304" fmla="*/ 288367 w 1090712"/>
              <a:gd name="connsiteY304" fmla="*/ 635081 h 895572"/>
              <a:gd name="connsiteX305" fmla="*/ 301910 w 1090712"/>
              <a:gd name="connsiteY305" fmla="*/ 627478 h 895572"/>
              <a:gd name="connsiteX306" fmla="*/ 315215 w 1090712"/>
              <a:gd name="connsiteY306" fmla="*/ 620350 h 895572"/>
              <a:gd name="connsiteX307" fmla="*/ 329471 w 1090712"/>
              <a:gd name="connsiteY307" fmla="*/ 613698 h 895572"/>
              <a:gd name="connsiteX308" fmla="*/ 343726 w 1090712"/>
              <a:gd name="connsiteY308" fmla="*/ 607283 h 895572"/>
              <a:gd name="connsiteX309" fmla="*/ 357981 w 1090712"/>
              <a:gd name="connsiteY309" fmla="*/ 602056 h 895572"/>
              <a:gd name="connsiteX310" fmla="*/ 371999 w 1090712"/>
              <a:gd name="connsiteY310" fmla="*/ 597066 h 895572"/>
              <a:gd name="connsiteX311" fmla="*/ 386730 w 1090712"/>
              <a:gd name="connsiteY311" fmla="*/ 592790 h 895572"/>
              <a:gd name="connsiteX312" fmla="*/ 394808 w 1090712"/>
              <a:gd name="connsiteY312" fmla="*/ 590414 h 895572"/>
              <a:gd name="connsiteX313" fmla="*/ 402411 w 1090712"/>
              <a:gd name="connsiteY313" fmla="*/ 587325 h 895572"/>
              <a:gd name="connsiteX314" fmla="*/ 409064 w 1090712"/>
              <a:gd name="connsiteY314" fmla="*/ 583761 h 895572"/>
              <a:gd name="connsiteX315" fmla="*/ 411677 w 1090712"/>
              <a:gd name="connsiteY315" fmla="*/ 581623 h 895572"/>
              <a:gd name="connsiteX316" fmla="*/ 414766 w 1090712"/>
              <a:gd name="connsiteY316" fmla="*/ 579247 h 895572"/>
              <a:gd name="connsiteX317" fmla="*/ 417142 w 1090712"/>
              <a:gd name="connsiteY317" fmla="*/ 577109 h 895572"/>
              <a:gd name="connsiteX318" fmla="*/ 419280 w 1090712"/>
              <a:gd name="connsiteY318" fmla="*/ 574495 h 895572"/>
              <a:gd name="connsiteX319" fmla="*/ 420943 w 1090712"/>
              <a:gd name="connsiteY319" fmla="*/ 571407 h 895572"/>
              <a:gd name="connsiteX320" fmla="*/ 422844 w 1090712"/>
              <a:gd name="connsiteY320" fmla="*/ 568318 h 895572"/>
              <a:gd name="connsiteX321" fmla="*/ 424269 w 1090712"/>
              <a:gd name="connsiteY321" fmla="*/ 565229 h 895572"/>
              <a:gd name="connsiteX322" fmla="*/ 424982 w 1090712"/>
              <a:gd name="connsiteY322" fmla="*/ 561665 h 895572"/>
              <a:gd name="connsiteX323" fmla="*/ 425457 w 1090712"/>
              <a:gd name="connsiteY323" fmla="*/ 557626 h 895572"/>
              <a:gd name="connsiteX324" fmla="*/ 425932 w 1090712"/>
              <a:gd name="connsiteY324" fmla="*/ 553587 h 895572"/>
              <a:gd name="connsiteX325" fmla="*/ 425932 w 1090712"/>
              <a:gd name="connsiteY325" fmla="*/ 413884 h 895572"/>
              <a:gd name="connsiteX326" fmla="*/ 425932 w 1090712"/>
              <a:gd name="connsiteY326" fmla="*/ 285347 h 895572"/>
              <a:gd name="connsiteX327" fmla="*/ 429496 w 1090712"/>
              <a:gd name="connsiteY327" fmla="*/ 300078 h 895572"/>
              <a:gd name="connsiteX328" fmla="*/ 433060 w 1090712"/>
              <a:gd name="connsiteY328" fmla="*/ 314096 h 895572"/>
              <a:gd name="connsiteX329" fmla="*/ 436149 w 1090712"/>
              <a:gd name="connsiteY329" fmla="*/ 328826 h 895572"/>
              <a:gd name="connsiteX330" fmla="*/ 438762 w 1090712"/>
              <a:gd name="connsiteY330" fmla="*/ 343082 h 895572"/>
              <a:gd name="connsiteX331" fmla="*/ 443752 w 1090712"/>
              <a:gd name="connsiteY331" fmla="*/ 370642 h 895572"/>
              <a:gd name="connsiteX332" fmla="*/ 447791 w 1090712"/>
              <a:gd name="connsiteY332" fmla="*/ 397015 h 895572"/>
              <a:gd name="connsiteX333" fmla="*/ 451830 w 1090712"/>
              <a:gd name="connsiteY333" fmla="*/ 421962 h 895572"/>
              <a:gd name="connsiteX334" fmla="*/ 454919 w 1090712"/>
              <a:gd name="connsiteY334" fmla="*/ 446434 h 895572"/>
              <a:gd name="connsiteX335" fmla="*/ 456106 w 1090712"/>
              <a:gd name="connsiteY335" fmla="*/ 458313 h 895572"/>
              <a:gd name="connsiteX336" fmla="*/ 457057 w 1090712"/>
              <a:gd name="connsiteY336" fmla="*/ 470430 h 895572"/>
              <a:gd name="connsiteX337" fmla="*/ 457532 w 1090712"/>
              <a:gd name="connsiteY337" fmla="*/ 482310 h 895572"/>
              <a:gd name="connsiteX338" fmla="*/ 457532 w 1090712"/>
              <a:gd name="connsiteY338" fmla="*/ 493952 h 895572"/>
              <a:gd name="connsiteX339" fmla="*/ 457532 w 1090712"/>
              <a:gd name="connsiteY339" fmla="*/ 506069 h 895572"/>
              <a:gd name="connsiteX340" fmla="*/ 456582 w 1090712"/>
              <a:gd name="connsiteY340" fmla="*/ 517473 h 895572"/>
              <a:gd name="connsiteX341" fmla="*/ 455869 w 1090712"/>
              <a:gd name="connsiteY341" fmla="*/ 529116 h 895572"/>
              <a:gd name="connsiteX342" fmla="*/ 453968 w 1090712"/>
              <a:gd name="connsiteY342" fmla="*/ 540757 h 895572"/>
              <a:gd name="connsiteX343" fmla="*/ 452305 w 1090712"/>
              <a:gd name="connsiteY343" fmla="*/ 552162 h 895572"/>
              <a:gd name="connsiteX344" fmla="*/ 449454 w 1090712"/>
              <a:gd name="connsiteY344" fmla="*/ 563804 h 895572"/>
              <a:gd name="connsiteX345" fmla="*/ 446365 w 1090712"/>
              <a:gd name="connsiteY345" fmla="*/ 575446 h 895572"/>
              <a:gd name="connsiteX346" fmla="*/ 442326 w 1090712"/>
              <a:gd name="connsiteY346" fmla="*/ 586850 h 895572"/>
              <a:gd name="connsiteX347" fmla="*/ 440188 w 1090712"/>
              <a:gd name="connsiteY347" fmla="*/ 591364 h 895572"/>
              <a:gd name="connsiteX348" fmla="*/ 437574 w 1090712"/>
              <a:gd name="connsiteY348" fmla="*/ 595403 h 895572"/>
              <a:gd name="connsiteX349" fmla="*/ 434486 w 1090712"/>
              <a:gd name="connsiteY349" fmla="*/ 598967 h 895572"/>
              <a:gd name="connsiteX350" fmla="*/ 431397 w 1090712"/>
              <a:gd name="connsiteY350" fmla="*/ 602531 h 895572"/>
              <a:gd name="connsiteX351" fmla="*/ 428071 w 1090712"/>
              <a:gd name="connsiteY351" fmla="*/ 605145 h 895572"/>
              <a:gd name="connsiteX352" fmla="*/ 424982 w 1090712"/>
              <a:gd name="connsiteY352" fmla="*/ 607283 h 895572"/>
              <a:gd name="connsiteX353" fmla="*/ 422369 w 1090712"/>
              <a:gd name="connsiteY353" fmla="*/ 608708 h 895572"/>
              <a:gd name="connsiteX354" fmla="*/ 420230 w 1090712"/>
              <a:gd name="connsiteY354" fmla="*/ 609659 h 895572"/>
              <a:gd name="connsiteX355" fmla="*/ 410727 w 1090712"/>
              <a:gd name="connsiteY355" fmla="*/ 610847 h 895572"/>
              <a:gd name="connsiteX356" fmla="*/ 401461 w 1090712"/>
              <a:gd name="connsiteY356" fmla="*/ 612748 h 895572"/>
              <a:gd name="connsiteX357" fmla="*/ 392670 w 1090712"/>
              <a:gd name="connsiteY357" fmla="*/ 614886 h 895572"/>
              <a:gd name="connsiteX358" fmla="*/ 383641 w 1090712"/>
              <a:gd name="connsiteY358" fmla="*/ 617262 h 895572"/>
              <a:gd name="connsiteX359" fmla="*/ 374850 w 1090712"/>
              <a:gd name="connsiteY359" fmla="*/ 620350 h 895572"/>
              <a:gd name="connsiteX360" fmla="*/ 365822 w 1090712"/>
              <a:gd name="connsiteY360" fmla="*/ 623914 h 895572"/>
              <a:gd name="connsiteX361" fmla="*/ 348478 w 1090712"/>
              <a:gd name="connsiteY361" fmla="*/ 631042 h 895572"/>
              <a:gd name="connsiteX362" fmla="*/ 331609 w 1090712"/>
              <a:gd name="connsiteY362" fmla="*/ 639358 h 895572"/>
              <a:gd name="connsiteX363" fmla="*/ 314740 w 1090712"/>
              <a:gd name="connsiteY363" fmla="*/ 647911 h 895572"/>
              <a:gd name="connsiteX364" fmla="*/ 281240 w 1090712"/>
              <a:gd name="connsiteY364" fmla="*/ 665255 h 895572"/>
              <a:gd name="connsiteX365" fmla="*/ 274587 w 1090712"/>
              <a:gd name="connsiteY365" fmla="*/ 669294 h 895572"/>
              <a:gd name="connsiteX366" fmla="*/ 267935 w 1090712"/>
              <a:gd name="connsiteY366" fmla="*/ 672858 h 895572"/>
              <a:gd name="connsiteX367" fmla="*/ 261757 w 1090712"/>
              <a:gd name="connsiteY367" fmla="*/ 675947 h 895572"/>
              <a:gd name="connsiteX368" fmla="*/ 255105 w 1090712"/>
              <a:gd name="connsiteY368" fmla="*/ 679035 h 895572"/>
              <a:gd name="connsiteX369" fmla="*/ 248927 w 1090712"/>
              <a:gd name="connsiteY369" fmla="*/ 681174 h 895572"/>
              <a:gd name="connsiteX370" fmla="*/ 242987 w 1090712"/>
              <a:gd name="connsiteY370" fmla="*/ 683075 h 895572"/>
              <a:gd name="connsiteX371" fmla="*/ 236810 w 1090712"/>
              <a:gd name="connsiteY371" fmla="*/ 684738 h 895572"/>
              <a:gd name="connsiteX372" fmla="*/ 231108 w 1090712"/>
              <a:gd name="connsiteY372" fmla="*/ 686163 h 895572"/>
              <a:gd name="connsiteX373" fmla="*/ 225406 w 1090712"/>
              <a:gd name="connsiteY373" fmla="*/ 687114 h 895572"/>
              <a:gd name="connsiteX374" fmla="*/ 219466 w 1090712"/>
              <a:gd name="connsiteY374" fmla="*/ 687589 h 895572"/>
              <a:gd name="connsiteX375" fmla="*/ 213764 w 1090712"/>
              <a:gd name="connsiteY375" fmla="*/ 687589 h 895572"/>
              <a:gd name="connsiteX376" fmla="*/ 208299 w 1090712"/>
              <a:gd name="connsiteY376" fmla="*/ 687589 h 895572"/>
              <a:gd name="connsiteX377" fmla="*/ 203072 w 1090712"/>
              <a:gd name="connsiteY377" fmla="*/ 687114 h 895572"/>
              <a:gd name="connsiteX378" fmla="*/ 197607 w 1090712"/>
              <a:gd name="connsiteY378" fmla="*/ 686163 h 895572"/>
              <a:gd name="connsiteX379" fmla="*/ 192380 w 1090712"/>
              <a:gd name="connsiteY379" fmla="*/ 684738 h 895572"/>
              <a:gd name="connsiteX380" fmla="*/ 186916 w 1090712"/>
              <a:gd name="connsiteY380" fmla="*/ 683550 h 895572"/>
              <a:gd name="connsiteX381" fmla="*/ 181689 w 1090712"/>
              <a:gd name="connsiteY381" fmla="*/ 681649 h 895572"/>
              <a:gd name="connsiteX382" fmla="*/ 176699 w 1090712"/>
              <a:gd name="connsiteY382" fmla="*/ 679986 h 895572"/>
              <a:gd name="connsiteX383" fmla="*/ 171472 w 1090712"/>
              <a:gd name="connsiteY383" fmla="*/ 677610 h 895572"/>
              <a:gd name="connsiteX384" fmla="*/ 166483 w 1090712"/>
              <a:gd name="connsiteY384" fmla="*/ 674996 h 895572"/>
              <a:gd name="connsiteX385" fmla="*/ 156742 w 1090712"/>
              <a:gd name="connsiteY385" fmla="*/ 669294 h 895572"/>
              <a:gd name="connsiteX386" fmla="*/ 147001 w 1090712"/>
              <a:gd name="connsiteY386" fmla="*/ 662167 h 895572"/>
              <a:gd name="connsiteX387" fmla="*/ 137735 w 1090712"/>
              <a:gd name="connsiteY387" fmla="*/ 654564 h 895572"/>
              <a:gd name="connsiteX388" fmla="*/ 127756 w 1090712"/>
              <a:gd name="connsiteY388" fmla="*/ 645535 h 895572"/>
              <a:gd name="connsiteX389" fmla="*/ 118490 w 1090712"/>
              <a:gd name="connsiteY389" fmla="*/ 636269 h 895572"/>
              <a:gd name="connsiteX390" fmla="*/ 109224 w 1090712"/>
              <a:gd name="connsiteY390" fmla="*/ 626053 h 895572"/>
              <a:gd name="connsiteX391" fmla="*/ 107323 w 1090712"/>
              <a:gd name="connsiteY391" fmla="*/ 623914 h 895572"/>
              <a:gd name="connsiteX392" fmla="*/ 106135 w 1090712"/>
              <a:gd name="connsiteY392" fmla="*/ 620350 h 895572"/>
              <a:gd name="connsiteX393" fmla="*/ 105185 w 1090712"/>
              <a:gd name="connsiteY393" fmla="*/ 616311 h 895572"/>
              <a:gd name="connsiteX394" fmla="*/ 105185 w 1090712"/>
              <a:gd name="connsiteY394" fmla="*/ 612272 h 895572"/>
              <a:gd name="connsiteX395" fmla="*/ 105185 w 1090712"/>
              <a:gd name="connsiteY395" fmla="*/ 608233 h 895572"/>
              <a:gd name="connsiteX396" fmla="*/ 106135 w 1090712"/>
              <a:gd name="connsiteY396" fmla="*/ 604194 h 895572"/>
              <a:gd name="connsiteX397" fmla="*/ 107323 w 1090712"/>
              <a:gd name="connsiteY397" fmla="*/ 600630 h 895572"/>
              <a:gd name="connsiteX398" fmla="*/ 109224 w 1090712"/>
              <a:gd name="connsiteY398" fmla="*/ 598017 h 895572"/>
              <a:gd name="connsiteX399" fmla="*/ 111837 w 1090712"/>
              <a:gd name="connsiteY399" fmla="*/ 591840 h 895572"/>
              <a:gd name="connsiteX400" fmla="*/ 113975 w 1090712"/>
              <a:gd name="connsiteY400" fmla="*/ 586137 h 895572"/>
              <a:gd name="connsiteX401" fmla="*/ 115401 w 1090712"/>
              <a:gd name="connsiteY401" fmla="*/ 579722 h 895572"/>
              <a:gd name="connsiteX402" fmla="*/ 115876 w 1090712"/>
              <a:gd name="connsiteY402" fmla="*/ 574020 h 895572"/>
              <a:gd name="connsiteX403" fmla="*/ 115876 w 1090712"/>
              <a:gd name="connsiteY403" fmla="*/ 568318 h 895572"/>
              <a:gd name="connsiteX404" fmla="*/ 115401 w 1090712"/>
              <a:gd name="connsiteY404" fmla="*/ 562378 h 895572"/>
              <a:gd name="connsiteX405" fmla="*/ 114451 w 1090712"/>
              <a:gd name="connsiteY405" fmla="*/ 557151 h 895572"/>
              <a:gd name="connsiteX406" fmla="*/ 112788 w 1090712"/>
              <a:gd name="connsiteY406" fmla="*/ 551449 h 895572"/>
              <a:gd name="connsiteX407" fmla="*/ 110412 w 1090712"/>
              <a:gd name="connsiteY407" fmla="*/ 545984 h 895572"/>
              <a:gd name="connsiteX408" fmla="*/ 108273 w 1090712"/>
              <a:gd name="connsiteY408" fmla="*/ 540757 h 895572"/>
              <a:gd name="connsiteX409" fmla="*/ 105185 w 1090712"/>
              <a:gd name="connsiteY409" fmla="*/ 535293 h 895572"/>
              <a:gd name="connsiteX410" fmla="*/ 102096 w 1090712"/>
              <a:gd name="connsiteY410" fmla="*/ 530066 h 895572"/>
              <a:gd name="connsiteX411" fmla="*/ 94968 w 1090712"/>
              <a:gd name="connsiteY411" fmla="*/ 519374 h 895572"/>
              <a:gd name="connsiteX412" fmla="*/ 86890 w 1090712"/>
              <a:gd name="connsiteY412" fmla="*/ 508683 h 895572"/>
              <a:gd name="connsiteX413" fmla="*/ 78812 w 1090712"/>
              <a:gd name="connsiteY413" fmla="*/ 497991 h 895572"/>
              <a:gd name="connsiteX414" fmla="*/ 70972 w 1090712"/>
              <a:gd name="connsiteY414" fmla="*/ 486824 h 895572"/>
              <a:gd name="connsiteX415" fmla="*/ 67408 w 1090712"/>
              <a:gd name="connsiteY415" fmla="*/ 481122 h 895572"/>
              <a:gd name="connsiteX416" fmla="*/ 64319 w 1090712"/>
              <a:gd name="connsiteY416" fmla="*/ 474707 h 895572"/>
              <a:gd name="connsiteX417" fmla="*/ 61230 w 1090712"/>
              <a:gd name="connsiteY417" fmla="*/ 469005 h 895572"/>
              <a:gd name="connsiteX418" fmla="*/ 58379 w 1090712"/>
              <a:gd name="connsiteY418" fmla="*/ 462828 h 895572"/>
              <a:gd name="connsiteX419" fmla="*/ 56716 w 1090712"/>
              <a:gd name="connsiteY419" fmla="*/ 456175 h 895572"/>
              <a:gd name="connsiteX420" fmla="*/ 54815 w 1090712"/>
              <a:gd name="connsiteY420" fmla="*/ 449998 h 895572"/>
              <a:gd name="connsiteX421" fmla="*/ 54103 w 1090712"/>
              <a:gd name="connsiteY421" fmla="*/ 443345 h 895572"/>
              <a:gd name="connsiteX422" fmla="*/ 53627 w 1090712"/>
              <a:gd name="connsiteY422" fmla="*/ 436455 h 895572"/>
              <a:gd name="connsiteX423" fmla="*/ 53627 w 1090712"/>
              <a:gd name="connsiteY423" fmla="*/ 429327 h 895572"/>
              <a:gd name="connsiteX424" fmla="*/ 54815 w 1090712"/>
              <a:gd name="connsiteY424" fmla="*/ 422675 h 895572"/>
              <a:gd name="connsiteX425" fmla="*/ 56716 w 1090712"/>
              <a:gd name="connsiteY425" fmla="*/ 415547 h 895572"/>
              <a:gd name="connsiteX426" fmla="*/ 59330 w 1090712"/>
              <a:gd name="connsiteY426" fmla="*/ 408182 h 895572"/>
              <a:gd name="connsiteX427" fmla="*/ 60280 w 1090712"/>
              <a:gd name="connsiteY427" fmla="*/ 403192 h 895572"/>
              <a:gd name="connsiteX428" fmla="*/ 61943 w 1090712"/>
              <a:gd name="connsiteY428" fmla="*/ 397965 h 895572"/>
              <a:gd name="connsiteX429" fmla="*/ 65507 w 1090712"/>
              <a:gd name="connsiteY429" fmla="*/ 387986 h 895572"/>
              <a:gd name="connsiteX430" fmla="*/ 69546 w 1090712"/>
              <a:gd name="connsiteY430" fmla="*/ 378720 h 895572"/>
              <a:gd name="connsiteX431" fmla="*/ 74535 w 1090712"/>
              <a:gd name="connsiteY431" fmla="*/ 369929 h 895572"/>
              <a:gd name="connsiteX432" fmla="*/ 79762 w 1090712"/>
              <a:gd name="connsiteY432" fmla="*/ 360901 h 895572"/>
              <a:gd name="connsiteX433" fmla="*/ 85940 w 1090712"/>
              <a:gd name="connsiteY433" fmla="*/ 352585 h 895572"/>
              <a:gd name="connsiteX434" fmla="*/ 98057 w 1090712"/>
              <a:gd name="connsiteY434" fmla="*/ 335479 h 895572"/>
              <a:gd name="connsiteX435" fmla="*/ 102571 w 1090712"/>
              <a:gd name="connsiteY435" fmla="*/ 328113 h 895572"/>
              <a:gd name="connsiteX436" fmla="*/ 106848 w 1090712"/>
              <a:gd name="connsiteY436" fmla="*/ 320986 h 895572"/>
              <a:gd name="connsiteX437" fmla="*/ 116827 w 1090712"/>
              <a:gd name="connsiteY437" fmla="*/ 307205 h 895572"/>
              <a:gd name="connsiteX438" fmla="*/ 127043 w 1090712"/>
              <a:gd name="connsiteY438" fmla="*/ 293188 h 895572"/>
              <a:gd name="connsiteX439" fmla="*/ 137735 w 1090712"/>
              <a:gd name="connsiteY439" fmla="*/ 279407 h 895572"/>
              <a:gd name="connsiteX440" fmla="*/ 159831 w 1090712"/>
              <a:gd name="connsiteY440" fmla="*/ 251847 h 895572"/>
              <a:gd name="connsiteX441" fmla="*/ 170522 w 1090712"/>
              <a:gd name="connsiteY441" fmla="*/ 238066 h 895572"/>
              <a:gd name="connsiteX442" fmla="*/ 181214 w 1090712"/>
              <a:gd name="connsiteY442" fmla="*/ 223336 h 895572"/>
              <a:gd name="connsiteX443" fmla="*/ 164820 w 1090712"/>
              <a:gd name="connsiteY443" fmla="*/ 223336 h 895572"/>
              <a:gd name="connsiteX444" fmla="*/ 137972 w 1090712"/>
              <a:gd name="connsiteY444" fmla="*/ 230226 h 895572"/>
              <a:gd name="connsiteX445" fmla="*/ 125142 w 1090712"/>
              <a:gd name="connsiteY445" fmla="*/ 233790 h 895572"/>
              <a:gd name="connsiteX446" fmla="*/ 112788 w 1090712"/>
              <a:gd name="connsiteY446" fmla="*/ 237591 h 895572"/>
              <a:gd name="connsiteX447" fmla="*/ 100195 w 1090712"/>
              <a:gd name="connsiteY447" fmla="*/ 241630 h 895572"/>
              <a:gd name="connsiteX448" fmla="*/ 87840 w 1090712"/>
              <a:gd name="connsiteY448" fmla="*/ 245669 h 895572"/>
              <a:gd name="connsiteX449" fmla="*/ 75723 w 1090712"/>
              <a:gd name="connsiteY449" fmla="*/ 250183 h 895572"/>
              <a:gd name="connsiteX450" fmla="*/ 64319 w 1090712"/>
              <a:gd name="connsiteY450" fmla="*/ 254935 h 895572"/>
              <a:gd name="connsiteX451" fmla="*/ 52677 w 1090712"/>
              <a:gd name="connsiteY451" fmla="*/ 260400 h 895572"/>
              <a:gd name="connsiteX452" fmla="*/ 41035 w 1090712"/>
              <a:gd name="connsiteY452" fmla="*/ 265627 h 895572"/>
              <a:gd name="connsiteX453" fmla="*/ 29868 w 1090712"/>
              <a:gd name="connsiteY453" fmla="*/ 271567 h 895572"/>
              <a:gd name="connsiteX454" fmla="*/ 18939 w 1090712"/>
              <a:gd name="connsiteY454" fmla="*/ 277744 h 895572"/>
              <a:gd name="connsiteX455" fmla="*/ 7772 w 1090712"/>
              <a:gd name="connsiteY455" fmla="*/ 284397 h 895572"/>
              <a:gd name="connsiteX456" fmla="*/ 0 w 1090712"/>
              <a:gd name="connsiteY456" fmla="*/ 289924 h 895572"/>
              <a:gd name="connsiteX457" fmla="*/ 0 w 1090712"/>
              <a:gd name="connsiteY457" fmla="*/ 895572 h 895572"/>
              <a:gd name="connsiteX458" fmla="*/ 125653 w 1090712"/>
              <a:gd name="connsiteY458" fmla="*/ 895572 h 895572"/>
              <a:gd name="connsiteX459" fmla="*/ 127756 w 1090712"/>
              <a:gd name="connsiteY459" fmla="*/ 892155 h 895572"/>
              <a:gd name="connsiteX460" fmla="*/ 131082 w 1090712"/>
              <a:gd name="connsiteY460" fmla="*/ 885502 h 895572"/>
              <a:gd name="connsiteX461" fmla="*/ 133696 w 1090712"/>
              <a:gd name="connsiteY461" fmla="*/ 878374 h 895572"/>
              <a:gd name="connsiteX462" fmla="*/ 135834 w 1090712"/>
              <a:gd name="connsiteY462" fmla="*/ 871722 h 895572"/>
              <a:gd name="connsiteX463" fmla="*/ 137735 w 1090712"/>
              <a:gd name="connsiteY463" fmla="*/ 864594 h 895572"/>
              <a:gd name="connsiteX464" fmla="*/ 138923 w 1090712"/>
              <a:gd name="connsiteY464" fmla="*/ 857466 h 895572"/>
              <a:gd name="connsiteX465" fmla="*/ 140348 w 1090712"/>
              <a:gd name="connsiteY465" fmla="*/ 850339 h 895572"/>
              <a:gd name="connsiteX466" fmla="*/ 141298 w 1090712"/>
              <a:gd name="connsiteY466" fmla="*/ 843211 h 895572"/>
              <a:gd name="connsiteX467" fmla="*/ 142011 w 1090712"/>
              <a:gd name="connsiteY467" fmla="*/ 828955 h 895572"/>
              <a:gd name="connsiteX468" fmla="*/ 142486 w 1090712"/>
              <a:gd name="connsiteY468" fmla="*/ 814225 h 895572"/>
              <a:gd name="connsiteX469" fmla="*/ 142486 w 1090712"/>
              <a:gd name="connsiteY469" fmla="*/ 799494 h 895572"/>
              <a:gd name="connsiteX470" fmla="*/ 142486 w 1090712"/>
              <a:gd name="connsiteY470" fmla="*/ 782625 h 895572"/>
              <a:gd name="connsiteX471" fmla="*/ 142486 w 1090712"/>
              <a:gd name="connsiteY471" fmla="*/ 771458 h 895572"/>
              <a:gd name="connsiteX472" fmla="*/ 143912 w 1090712"/>
              <a:gd name="connsiteY472" fmla="*/ 778586 h 895572"/>
              <a:gd name="connsiteX473" fmla="*/ 145100 w 1090712"/>
              <a:gd name="connsiteY473" fmla="*/ 784526 h 895572"/>
              <a:gd name="connsiteX474" fmla="*/ 147476 w 1090712"/>
              <a:gd name="connsiteY474" fmla="*/ 789753 h 895572"/>
              <a:gd name="connsiteX475" fmla="*/ 149614 w 1090712"/>
              <a:gd name="connsiteY475" fmla="*/ 794267 h 895572"/>
              <a:gd name="connsiteX476" fmla="*/ 152228 w 1090712"/>
              <a:gd name="connsiteY476" fmla="*/ 797831 h 895572"/>
              <a:gd name="connsiteX477" fmla="*/ 155554 w 1090712"/>
              <a:gd name="connsiteY477" fmla="*/ 801395 h 895572"/>
              <a:gd name="connsiteX478" fmla="*/ 158643 w 1090712"/>
              <a:gd name="connsiteY478" fmla="*/ 803533 h 895572"/>
              <a:gd name="connsiteX479" fmla="*/ 162206 w 1090712"/>
              <a:gd name="connsiteY479" fmla="*/ 805909 h 895572"/>
              <a:gd name="connsiteX480" fmla="*/ 165770 w 1090712"/>
              <a:gd name="connsiteY480" fmla="*/ 807572 h 895572"/>
              <a:gd name="connsiteX481" fmla="*/ 169572 w 1090712"/>
              <a:gd name="connsiteY481" fmla="*/ 808523 h 895572"/>
              <a:gd name="connsiteX482" fmla="*/ 174086 w 1090712"/>
              <a:gd name="connsiteY482" fmla="*/ 809473 h 895572"/>
              <a:gd name="connsiteX483" fmla="*/ 178600 w 1090712"/>
              <a:gd name="connsiteY483" fmla="*/ 810186 h 895572"/>
              <a:gd name="connsiteX484" fmla="*/ 187866 w 1090712"/>
              <a:gd name="connsiteY484" fmla="*/ 810661 h 895572"/>
              <a:gd name="connsiteX485" fmla="*/ 198083 w 1090712"/>
              <a:gd name="connsiteY485" fmla="*/ 810661 h 895572"/>
              <a:gd name="connsiteX486" fmla="*/ 236810 w 1090712"/>
              <a:gd name="connsiteY486" fmla="*/ 810661 h 895572"/>
              <a:gd name="connsiteX487" fmla="*/ 249640 w 1090712"/>
              <a:gd name="connsiteY487" fmla="*/ 811136 h 895572"/>
              <a:gd name="connsiteX488" fmla="*/ 263183 w 1090712"/>
              <a:gd name="connsiteY488" fmla="*/ 811611 h 895572"/>
              <a:gd name="connsiteX489" fmla="*/ 270310 w 1090712"/>
              <a:gd name="connsiteY489" fmla="*/ 811611 h 895572"/>
              <a:gd name="connsiteX490" fmla="*/ 276963 w 1090712"/>
              <a:gd name="connsiteY490" fmla="*/ 811136 h 895572"/>
              <a:gd name="connsiteX491" fmla="*/ 283140 w 1090712"/>
              <a:gd name="connsiteY491" fmla="*/ 810186 h 895572"/>
              <a:gd name="connsiteX492" fmla="*/ 289793 w 1090712"/>
              <a:gd name="connsiteY492" fmla="*/ 808523 h 895572"/>
              <a:gd name="connsiteX493" fmla="*/ 295495 w 1090712"/>
              <a:gd name="connsiteY493" fmla="*/ 806147 h 895572"/>
              <a:gd name="connsiteX494" fmla="*/ 301435 w 1090712"/>
              <a:gd name="connsiteY494" fmla="*/ 803058 h 895572"/>
              <a:gd name="connsiteX495" fmla="*/ 304524 w 1090712"/>
              <a:gd name="connsiteY495" fmla="*/ 801395 h 895572"/>
              <a:gd name="connsiteX496" fmla="*/ 307137 w 1090712"/>
              <a:gd name="connsiteY496" fmla="*/ 799256 h 895572"/>
              <a:gd name="connsiteX497" fmla="*/ 309275 w 1090712"/>
              <a:gd name="connsiteY497" fmla="*/ 796881 h 895572"/>
              <a:gd name="connsiteX498" fmla="*/ 312126 w 1090712"/>
              <a:gd name="connsiteY498" fmla="*/ 794267 h 895572"/>
              <a:gd name="connsiteX499" fmla="*/ 314265 w 1090712"/>
              <a:gd name="connsiteY499" fmla="*/ 791178 h 895572"/>
              <a:gd name="connsiteX500" fmla="*/ 316403 w 1090712"/>
              <a:gd name="connsiteY500" fmla="*/ 788090 h 895572"/>
              <a:gd name="connsiteX501" fmla="*/ 318304 w 1090712"/>
              <a:gd name="connsiteY501" fmla="*/ 784051 h 895572"/>
              <a:gd name="connsiteX502" fmla="*/ 319967 w 1090712"/>
              <a:gd name="connsiteY502" fmla="*/ 780012 h 895572"/>
              <a:gd name="connsiteX503" fmla="*/ 321868 w 1090712"/>
              <a:gd name="connsiteY503" fmla="*/ 775973 h 895572"/>
              <a:gd name="connsiteX504" fmla="*/ 323056 w 1090712"/>
              <a:gd name="connsiteY504" fmla="*/ 771221 h 895572"/>
              <a:gd name="connsiteX505" fmla="*/ 324481 w 1090712"/>
              <a:gd name="connsiteY505" fmla="*/ 765756 h 895572"/>
              <a:gd name="connsiteX506" fmla="*/ 325907 w 1090712"/>
              <a:gd name="connsiteY506" fmla="*/ 760529 h 895572"/>
              <a:gd name="connsiteX507" fmla="*/ 325907 w 1090712"/>
              <a:gd name="connsiteY507" fmla="*/ 827530 h 895572"/>
              <a:gd name="connsiteX508" fmla="*/ 310226 w 1090712"/>
              <a:gd name="connsiteY508" fmla="*/ 835608 h 895572"/>
              <a:gd name="connsiteX509" fmla="*/ 295970 w 1090712"/>
              <a:gd name="connsiteY509" fmla="*/ 843686 h 895572"/>
              <a:gd name="connsiteX510" fmla="*/ 282665 w 1090712"/>
              <a:gd name="connsiteY510" fmla="*/ 850339 h 895572"/>
              <a:gd name="connsiteX511" fmla="*/ 276488 w 1090712"/>
              <a:gd name="connsiteY511" fmla="*/ 852952 h 895572"/>
              <a:gd name="connsiteX512" fmla="*/ 270310 w 1090712"/>
              <a:gd name="connsiteY512" fmla="*/ 855565 h 895572"/>
              <a:gd name="connsiteX513" fmla="*/ 266271 w 1090712"/>
              <a:gd name="connsiteY513" fmla="*/ 857942 h 895572"/>
              <a:gd name="connsiteX514" fmla="*/ 262708 w 1090712"/>
              <a:gd name="connsiteY514" fmla="*/ 860080 h 895572"/>
              <a:gd name="connsiteX515" fmla="*/ 259619 w 1090712"/>
              <a:gd name="connsiteY515" fmla="*/ 862693 h 895572"/>
              <a:gd name="connsiteX516" fmla="*/ 256768 w 1090712"/>
              <a:gd name="connsiteY516" fmla="*/ 865544 h 895572"/>
              <a:gd name="connsiteX517" fmla="*/ 254154 w 1090712"/>
              <a:gd name="connsiteY517" fmla="*/ 868633 h 895572"/>
              <a:gd name="connsiteX518" fmla="*/ 252491 w 1090712"/>
              <a:gd name="connsiteY518" fmla="*/ 871722 h 895572"/>
              <a:gd name="connsiteX519" fmla="*/ 250590 w 1090712"/>
              <a:gd name="connsiteY519" fmla="*/ 874810 h 895572"/>
              <a:gd name="connsiteX520" fmla="*/ 249402 w 1090712"/>
              <a:gd name="connsiteY520" fmla="*/ 877899 h 895572"/>
              <a:gd name="connsiteX521" fmla="*/ 248452 w 1090712"/>
              <a:gd name="connsiteY521" fmla="*/ 880988 h 895572"/>
              <a:gd name="connsiteX522" fmla="*/ 247977 w 1090712"/>
              <a:gd name="connsiteY522" fmla="*/ 884076 h 895572"/>
              <a:gd name="connsiteX523" fmla="*/ 247977 w 1090712"/>
              <a:gd name="connsiteY523" fmla="*/ 887165 h 895572"/>
              <a:gd name="connsiteX524" fmla="*/ 248452 w 1090712"/>
              <a:gd name="connsiteY524" fmla="*/ 890016 h 895572"/>
              <a:gd name="connsiteX525" fmla="*/ 249402 w 1090712"/>
              <a:gd name="connsiteY525" fmla="*/ 893105 h 895572"/>
              <a:gd name="connsiteX526" fmla="*/ 250075 w 1090712"/>
              <a:gd name="connsiteY526" fmla="*/ 895572 h 895572"/>
              <a:gd name="connsiteX527" fmla="*/ 474750 w 1090712"/>
              <a:gd name="connsiteY527" fmla="*/ 895572 h 895572"/>
              <a:gd name="connsiteX528" fmla="*/ 475827 w 1090712"/>
              <a:gd name="connsiteY528" fmla="*/ 894768 h 895572"/>
              <a:gd name="connsiteX529" fmla="*/ 486993 w 1090712"/>
              <a:gd name="connsiteY529" fmla="*/ 882889 h 895572"/>
              <a:gd name="connsiteX530" fmla="*/ 497210 w 1090712"/>
              <a:gd name="connsiteY530" fmla="*/ 870296 h 895572"/>
              <a:gd name="connsiteX531" fmla="*/ 506951 w 1090712"/>
              <a:gd name="connsiteY531" fmla="*/ 857942 h 895572"/>
              <a:gd name="connsiteX532" fmla="*/ 515742 w 1090712"/>
              <a:gd name="connsiteY532" fmla="*/ 844636 h 895572"/>
              <a:gd name="connsiteX533" fmla="*/ 523820 w 1090712"/>
              <a:gd name="connsiteY533" fmla="*/ 831094 h 895572"/>
              <a:gd name="connsiteX534" fmla="*/ 531898 w 1090712"/>
              <a:gd name="connsiteY534" fmla="*/ 816838 h 895572"/>
              <a:gd name="connsiteX535" fmla="*/ 539026 w 1090712"/>
              <a:gd name="connsiteY535" fmla="*/ 802583 h 895572"/>
              <a:gd name="connsiteX536" fmla="*/ 545678 w 1090712"/>
              <a:gd name="connsiteY536" fmla="*/ 788565 h 895572"/>
              <a:gd name="connsiteX537" fmla="*/ 552331 w 1090712"/>
              <a:gd name="connsiteY537" fmla="*/ 773359 h 895572"/>
              <a:gd name="connsiteX538" fmla="*/ 558033 w 1090712"/>
              <a:gd name="connsiteY538" fmla="*/ 758628 h 895572"/>
              <a:gd name="connsiteX539" fmla="*/ 563498 w 1090712"/>
              <a:gd name="connsiteY539" fmla="*/ 743185 h 895572"/>
              <a:gd name="connsiteX540" fmla="*/ 568725 w 1090712"/>
              <a:gd name="connsiteY540" fmla="*/ 727979 h 895572"/>
              <a:gd name="connsiteX541" fmla="*/ 573714 w 1090712"/>
              <a:gd name="connsiteY541" fmla="*/ 712298 h 895572"/>
              <a:gd name="connsiteX542" fmla="*/ 577991 w 1090712"/>
              <a:gd name="connsiteY542" fmla="*/ 696855 h 895572"/>
              <a:gd name="connsiteX543" fmla="*/ 586544 w 1090712"/>
              <a:gd name="connsiteY543" fmla="*/ 665255 h 895572"/>
              <a:gd name="connsiteX544" fmla="*/ 586069 w 1090712"/>
              <a:gd name="connsiteY544" fmla="*/ 663117 h 895572"/>
              <a:gd name="connsiteX545" fmla="*/ 584881 w 1090712"/>
              <a:gd name="connsiteY545" fmla="*/ 660266 h 895572"/>
              <a:gd name="connsiteX546" fmla="*/ 582980 w 1090712"/>
              <a:gd name="connsiteY546" fmla="*/ 657177 h 895572"/>
              <a:gd name="connsiteX547" fmla="*/ 580367 w 1090712"/>
              <a:gd name="connsiteY547" fmla="*/ 654088 h 895572"/>
              <a:gd name="connsiteX548" fmla="*/ 574902 w 1090712"/>
              <a:gd name="connsiteY548" fmla="*/ 647911 h 895572"/>
              <a:gd name="connsiteX549" fmla="*/ 570150 w 1090712"/>
              <a:gd name="connsiteY549" fmla="*/ 642922 h 895572"/>
              <a:gd name="connsiteX550" fmla="*/ 565636 w 1090712"/>
              <a:gd name="connsiteY550" fmla="*/ 636744 h 895572"/>
              <a:gd name="connsiteX551" fmla="*/ 560647 w 1090712"/>
              <a:gd name="connsiteY551" fmla="*/ 631517 h 895572"/>
              <a:gd name="connsiteX552" fmla="*/ 555420 w 1090712"/>
              <a:gd name="connsiteY552" fmla="*/ 626053 h 895572"/>
              <a:gd name="connsiteX553" fmla="*/ 550193 w 1090712"/>
              <a:gd name="connsiteY553" fmla="*/ 621301 h 895572"/>
              <a:gd name="connsiteX554" fmla="*/ 544253 w 1090712"/>
              <a:gd name="connsiteY554" fmla="*/ 616787 h 895572"/>
              <a:gd name="connsiteX555" fmla="*/ 538075 w 1090712"/>
              <a:gd name="connsiteY555" fmla="*/ 612272 h 895572"/>
              <a:gd name="connsiteX556" fmla="*/ 525721 w 1090712"/>
              <a:gd name="connsiteY556" fmla="*/ 603719 h 895572"/>
              <a:gd name="connsiteX557" fmla="*/ 563023 w 1090712"/>
              <a:gd name="connsiteY557" fmla="*/ 619875 h 895572"/>
              <a:gd name="connsiteX558" fmla="*/ 581317 w 1090712"/>
              <a:gd name="connsiteY558" fmla="*/ 628191 h 895572"/>
              <a:gd name="connsiteX559" fmla="*/ 599374 w 1090712"/>
              <a:gd name="connsiteY559" fmla="*/ 636744 h 895572"/>
              <a:gd name="connsiteX560" fmla="*/ 607927 w 1090712"/>
              <a:gd name="connsiteY560" fmla="*/ 641259 h 895572"/>
              <a:gd name="connsiteX561" fmla="*/ 616718 w 1090712"/>
              <a:gd name="connsiteY561" fmla="*/ 646010 h 895572"/>
              <a:gd name="connsiteX562" fmla="*/ 625271 w 1090712"/>
              <a:gd name="connsiteY562" fmla="*/ 651000 h 895572"/>
              <a:gd name="connsiteX563" fmla="*/ 633349 w 1090712"/>
              <a:gd name="connsiteY563" fmla="*/ 656227 h 895572"/>
              <a:gd name="connsiteX564" fmla="*/ 641665 w 1090712"/>
              <a:gd name="connsiteY564" fmla="*/ 662167 h 895572"/>
              <a:gd name="connsiteX565" fmla="*/ 649268 w 1090712"/>
              <a:gd name="connsiteY565" fmla="*/ 668344 h 895572"/>
              <a:gd name="connsiteX566" fmla="*/ 656871 w 1090712"/>
              <a:gd name="connsiteY566" fmla="*/ 674996 h 895572"/>
              <a:gd name="connsiteX567" fmla="*/ 664474 w 1090712"/>
              <a:gd name="connsiteY567" fmla="*/ 682124 h 895572"/>
              <a:gd name="connsiteX568" fmla="*/ 668988 w 1090712"/>
              <a:gd name="connsiteY568" fmla="*/ 686163 h 895572"/>
              <a:gd name="connsiteX569" fmla="*/ 672790 w 1090712"/>
              <a:gd name="connsiteY569" fmla="*/ 690202 h 895572"/>
              <a:gd name="connsiteX570" fmla="*/ 677304 w 1090712"/>
              <a:gd name="connsiteY570" fmla="*/ 693291 h 895572"/>
              <a:gd name="connsiteX571" fmla="*/ 682293 w 1090712"/>
              <a:gd name="connsiteY571" fmla="*/ 696855 h 895572"/>
              <a:gd name="connsiteX572" fmla="*/ 686570 w 1090712"/>
              <a:gd name="connsiteY572" fmla="*/ 699468 h 895572"/>
              <a:gd name="connsiteX573" fmla="*/ 691559 w 1090712"/>
              <a:gd name="connsiteY573" fmla="*/ 702082 h 895572"/>
              <a:gd name="connsiteX574" fmla="*/ 696549 w 1090712"/>
              <a:gd name="connsiteY574" fmla="*/ 703983 h 895572"/>
              <a:gd name="connsiteX575" fmla="*/ 701300 w 1090712"/>
              <a:gd name="connsiteY575" fmla="*/ 705646 h 895572"/>
              <a:gd name="connsiteX576" fmla="*/ 706290 w 1090712"/>
              <a:gd name="connsiteY576" fmla="*/ 707071 h 895572"/>
              <a:gd name="connsiteX577" fmla="*/ 711042 w 1090712"/>
              <a:gd name="connsiteY577" fmla="*/ 708497 h 895572"/>
              <a:gd name="connsiteX578" fmla="*/ 716506 w 1090712"/>
              <a:gd name="connsiteY578" fmla="*/ 708734 h 895572"/>
              <a:gd name="connsiteX579" fmla="*/ 721258 w 1090712"/>
              <a:gd name="connsiteY579" fmla="*/ 708734 h 895572"/>
              <a:gd name="connsiteX580" fmla="*/ 726723 w 1090712"/>
              <a:gd name="connsiteY580" fmla="*/ 708497 h 895572"/>
              <a:gd name="connsiteX581" fmla="*/ 731712 w 1090712"/>
              <a:gd name="connsiteY581" fmla="*/ 707546 h 895572"/>
              <a:gd name="connsiteX582" fmla="*/ 736939 w 1090712"/>
              <a:gd name="connsiteY582" fmla="*/ 706121 h 895572"/>
              <a:gd name="connsiteX583" fmla="*/ 742166 w 1090712"/>
              <a:gd name="connsiteY583" fmla="*/ 704458 h 895572"/>
              <a:gd name="connsiteX584" fmla="*/ 749294 w 1090712"/>
              <a:gd name="connsiteY584" fmla="*/ 702082 h 895572"/>
              <a:gd name="connsiteX585" fmla="*/ 756184 w 1090712"/>
              <a:gd name="connsiteY585" fmla="*/ 699468 h 895572"/>
              <a:gd name="connsiteX586" fmla="*/ 762361 w 1090712"/>
              <a:gd name="connsiteY586" fmla="*/ 696380 h 895572"/>
              <a:gd name="connsiteX587" fmla="*/ 768063 w 1090712"/>
              <a:gd name="connsiteY587" fmla="*/ 692816 h 895572"/>
              <a:gd name="connsiteX588" fmla="*/ 773528 w 1090712"/>
              <a:gd name="connsiteY588" fmla="*/ 689252 h 895572"/>
              <a:gd name="connsiteX589" fmla="*/ 778755 w 1090712"/>
              <a:gd name="connsiteY589" fmla="*/ 684738 h 895572"/>
              <a:gd name="connsiteX590" fmla="*/ 783269 w 1090712"/>
              <a:gd name="connsiteY590" fmla="*/ 680461 h 895572"/>
              <a:gd name="connsiteX591" fmla="*/ 787308 w 1090712"/>
              <a:gd name="connsiteY591" fmla="*/ 674996 h 895572"/>
              <a:gd name="connsiteX592" fmla="*/ 791110 w 1090712"/>
              <a:gd name="connsiteY592" fmla="*/ 669769 h 895572"/>
              <a:gd name="connsiteX593" fmla="*/ 794436 w 1090712"/>
              <a:gd name="connsiteY593" fmla="*/ 663830 h 895572"/>
              <a:gd name="connsiteX594" fmla="*/ 797050 w 1090712"/>
              <a:gd name="connsiteY594" fmla="*/ 657652 h 895572"/>
              <a:gd name="connsiteX595" fmla="*/ 799188 w 1090712"/>
              <a:gd name="connsiteY595" fmla="*/ 651000 h 895572"/>
              <a:gd name="connsiteX596" fmla="*/ 801089 w 1090712"/>
              <a:gd name="connsiteY596" fmla="*/ 643872 h 895572"/>
              <a:gd name="connsiteX597" fmla="*/ 802277 w 1090712"/>
              <a:gd name="connsiteY597" fmla="*/ 636744 h 895572"/>
              <a:gd name="connsiteX598" fmla="*/ 803227 w 1090712"/>
              <a:gd name="connsiteY598" fmla="*/ 628666 h 895572"/>
              <a:gd name="connsiteX599" fmla="*/ 803227 w 1090712"/>
              <a:gd name="connsiteY599" fmla="*/ 620826 h 895572"/>
              <a:gd name="connsiteX600" fmla="*/ 801089 w 1090712"/>
              <a:gd name="connsiteY600" fmla="*/ 622489 h 895572"/>
              <a:gd name="connsiteX601" fmla="*/ 798238 w 1090712"/>
              <a:gd name="connsiteY601" fmla="*/ 623914 h 895572"/>
              <a:gd name="connsiteX602" fmla="*/ 793011 w 1090712"/>
              <a:gd name="connsiteY602" fmla="*/ 626053 h 895572"/>
              <a:gd name="connsiteX603" fmla="*/ 790397 w 1090712"/>
              <a:gd name="connsiteY603" fmla="*/ 627478 h 895572"/>
              <a:gd name="connsiteX604" fmla="*/ 788496 w 1090712"/>
              <a:gd name="connsiteY604" fmla="*/ 628191 h 895572"/>
              <a:gd name="connsiteX605" fmla="*/ 787308 w 1090712"/>
              <a:gd name="connsiteY605" fmla="*/ 630092 h 895572"/>
              <a:gd name="connsiteX606" fmla="*/ 786833 w 1090712"/>
              <a:gd name="connsiteY606" fmla="*/ 631755 h 895572"/>
              <a:gd name="connsiteX607" fmla="*/ 785408 w 1090712"/>
              <a:gd name="connsiteY607" fmla="*/ 635794 h 895572"/>
              <a:gd name="connsiteX608" fmla="*/ 784220 w 1090712"/>
              <a:gd name="connsiteY608" fmla="*/ 639833 h 895572"/>
              <a:gd name="connsiteX609" fmla="*/ 780656 w 1090712"/>
              <a:gd name="connsiteY609" fmla="*/ 646485 h 895572"/>
              <a:gd name="connsiteX610" fmla="*/ 776617 w 1090712"/>
              <a:gd name="connsiteY610" fmla="*/ 653138 h 895572"/>
              <a:gd name="connsiteX611" fmla="*/ 772103 w 1090712"/>
              <a:gd name="connsiteY611" fmla="*/ 659078 h 895572"/>
              <a:gd name="connsiteX612" fmla="*/ 762361 w 1090712"/>
              <a:gd name="connsiteY612" fmla="*/ 670007 h 895572"/>
              <a:gd name="connsiteX613" fmla="*/ 757847 w 1090712"/>
              <a:gd name="connsiteY613" fmla="*/ 675947 h 895572"/>
              <a:gd name="connsiteX614" fmla="*/ 753333 w 1090712"/>
              <a:gd name="connsiteY614" fmla="*/ 682124 h 895572"/>
              <a:gd name="connsiteX615" fmla="*/ 750244 w 1090712"/>
              <a:gd name="connsiteY615" fmla="*/ 684738 h 895572"/>
              <a:gd name="connsiteX616" fmla="*/ 747155 w 1090712"/>
              <a:gd name="connsiteY616" fmla="*/ 687589 h 895572"/>
              <a:gd name="connsiteX617" fmla="*/ 744067 w 1090712"/>
              <a:gd name="connsiteY617" fmla="*/ 689252 h 895572"/>
              <a:gd name="connsiteX618" fmla="*/ 740978 w 1090712"/>
              <a:gd name="connsiteY618" fmla="*/ 690915 h 895572"/>
              <a:gd name="connsiteX619" fmla="*/ 737890 w 1090712"/>
              <a:gd name="connsiteY619" fmla="*/ 691865 h 895572"/>
              <a:gd name="connsiteX620" fmla="*/ 734801 w 1090712"/>
              <a:gd name="connsiteY620" fmla="*/ 692816 h 895572"/>
              <a:gd name="connsiteX621" fmla="*/ 731950 w 1090712"/>
              <a:gd name="connsiteY621" fmla="*/ 693291 h 895572"/>
              <a:gd name="connsiteX622" fmla="*/ 728861 w 1090712"/>
              <a:gd name="connsiteY622" fmla="*/ 693291 h 895572"/>
              <a:gd name="connsiteX623" fmla="*/ 723634 w 1090712"/>
              <a:gd name="connsiteY623" fmla="*/ 692816 h 895572"/>
              <a:gd name="connsiteX624" fmla="*/ 718169 w 1090712"/>
              <a:gd name="connsiteY624" fmla="*/ 691390 h 895572"/>
              <a:gd name="connsiteX625" fmla="*/ 713418 w 1090712"/>
              <a:gd name="connsiteY625" fmla="*/ 689727 h 895572"/>
              <a:gd name="connsiteX626" fmla="*/ 708903 w 1090712"/>
              <a:gd name="connsiteY626" fmla="*/ 687826 h 895572"/>
              <a:gd name="connsiteX627" fmla="*/ 706765 w 1090712"/>
              <a:gd name="connsiteY627" fmla="*/ 687589 h 895572"/>
              <a:gd name="connsiteX628" fmla="*/ 704864 w 1090712"/>
              <a:gd name="connsiteY628" fmla="*/ 687114 h 895572"/>
              <a:gd name="connsiteX629" fmla="*/ 703201 w 1090712"/>
              <a:gd name="connsiteY629" fmla="*/ 686163 h 895572"/>
              <a:gd name="connsiteX630" fmla="*/ 701776 w 1090712"/>
              <a:gd name="connsiteY630" fmla="*/ 684738 h 895572"/>
              <a:gd name="connsiteX631" fmla="*/ 698687 w 1090712"/>
              <a:gd name="connsiteY631" fmla="*/ 681649 h 895572"/>
              <a:gd name="connsiteX632" fmla="*/ 696549 w 1090712"/>
              <a:gd name="connsiteY632" fmla="*/ 678085 h 895572"/>
              <a:gd name="connsiteX633" fmla="*/ 694648 w 1090712"/>
              <a:gd name="connsiteY633" fmla="*/ 673571 h 895572"/>
              <a:gd name="connsiteX634" fmla="*/ 693460 w 1090712"/>
              <a:gd name="connsiteY634" fmla="*/ 668819 h 895572"/>
              <a:gd name="connsiteX635" fmla="*/ 692510 w 1090712"/>
              <a:gd name="connsiteY635" fmla="*/ 664305 h 895572"/>
              <a:gd name="connsiteX636" fmla="*/ 692510 w 1090712"/>
              <a:gd name="connsiteY636" fmla="*/ 659790 h 895572"/>
              <a:gd name="connsiteX637" fmla="*/ 692510 w 1090712"/>
              <a:gd name="connsiteY637" fmla="*/ 647436 h 895572"/>
              <a:gd name="connsiteX638" fmla="*/ 693460 w 1090712"/>
              <a:gd name="connsiteY638" fmla="*/ 635319 h 895572"/>
              <a:gd name="connsiteX639" fmla="*/ 694173 w 1090712"/>
              <a:gd name="connsiteY639" fmla="*/ 624389 h 895572"/>
              <a:gd name="connsiteX640" fmla="*/ 695598 w 1090712"/>
              <a:gd name="connsiteY640" fmla="*/ 612748 h 895572"/>
              <a:gd name="connsiteX641" fmla="*/ 699162 w 1090712"/>
              <a:gd name="connsiteY641" fmla="*/ 591364 h 895572"/>
              <a:gd name="connsiteX642" fmla="*/ 703676 w 1090712"/>
              <a:gd name="connsiteY642" fmla="*/ 570456 h 895572"/>
              <a:gd name="connsiteX643" fmla="*/ 720070 w 1090712"/>
              <a:gd name="connsiteY643" fmla="*/ 574971 h 895572"/>
              <a:gd name="connsiteX644" fmla="*/ 736939 w 1090712"/>
              <a:gd name="connsiteY644" fmla="*/ 579247 h 895572"/>
              <a:gd name="connsiteX645" fmla="*/ 770677 w 1090712"/>
              <a:gd name="connsiteY645" fmla="*/ 589226 h 895572"/>
              <a:gd name="connsiteX646" fmla="*/ 788021 w 1090712"/>
              <a:gd name="connsiteY646" fmla="*/ 593503 h 895572"/>
              <a:gd name="connsiteX647" fmla="*/ 805365 w 1090712"/>
              <a:gd name="connsiteY647" fmla="*/ 597542 h 895572"/>
              <a:gd name="connsiteX648" fmla="*/ 823660 w 1090712"/>
              <a:gd name="connsiteY648" fmla="*/ 601106 h 895572"/>
              <a:gd name="connsiteX649" fmla="*/ 841954 w 1090712"/>
              <a:gd name="connsiteY649" fmla="*/ 603719 h 895572"/>
              <a:gd name="connsiteX650" fmla="*/ 861437 w 1090712"/>
              <a:gd name="connsiteY650" fmla="*/ 606570 h 895572"/>
              <a:gd name="connsiteX651" fmla="*/ 880682 w 1090712"/>
              <a:gd name="connsiteY651" fmla="*/ 608233 h 895572"/>
              <a:gd name="connsiteX652" fmla="*/ 889948 w 1090712"/>
              <a:gd name="connsiteY652" fmla="*/ 608708 h 895572"/>
              <a:gd name="connsiteX653" fmla="*/ 898976 w 1090712"/>
              <a:gd name="connsiteY653" fmla="*/ 608708 h 895572"/>
              <a:gd name="connsiteX654" fmla="*/ 908242 w 1090712"/>
              <a:gd name="connsiteY654" fmla="*/ 608708 h 895572"/>
              <a:gd name="connsiteX655" fmla="*/ 916795 w 1090712"/>
              <a:gd name="connsiteY655" fmla="*/ 608233 h 895572"/>
              <a:gd name="connsiteX656" fmla="*/ 925586 w 1090712"/>
              <a:gd name="connsiteY656" fmla="*/ 607283 h 895572"/>
              <a:gd name="connsiteX657" fmla="*/ 934140 w 1090712"/>
              <a:gd name="connsiteY657" fmla="*/ 606095 h 895572"/>
              <a:gd name="connsiteX658" fmla="*/ 942455 w 1090712"/>
              <a:gd name="connsiteY658" fmla="*/ 604669 h 895572"/>
              <a:gd name="connsiteX659" fmla="*/ 950533 w 1090712"/>
              <a:gd name="connsiteY659" fmla="*/ 603006 h 895572"/>
              <a:gd name="connsiteX660" fmla="*/ 958611 w 1090712"/>
              <a:gd name="connsiteY660" fmla="*/ 600630 h 895572"/>
              <a:gd name="connsiteX661" fmla="*/ 966452 w 1090712"/>
              <a:gd name="connsiteY661" fmla="*/ 598017 h 895572"/>
              <a:gd name="connsiteX662" fmla="*/ 974055 w 1090712"/>
              <a:gd name="connsiteY662" fmla="*/ 595403 h 895572"/>
              <a:gd name="connsiteX663" fmla="*/ 981658 w 1090712"/>
              <a:gd name="connsiteY663" fmla="*/ 591840 h 895572"/>
              <a:gd name="connsiteX664" fmla="*/ 989261 w 1090712"/>
              <a:gd name="connsiteY664" fmla="*/ 588276 h 895572"/>
              <a:gd name="connsiteX665" fmla="*/ 996388 w 1090712"/>
              <a:gd name="connsiteY665" fmla="*/ 584237 h 895572"/>
              <a:gd name="connsiteX666" fmla="*/ 1003041 w 1090712"/>
              <a:gd name="connsiteY666" fmla="*/ 579247 h 895572"/>
              <a:gd name="connsiteX667" fmla="*/ 1009694 w 1090712"/>
              <a:gd name="connsiteY667" fmla="*/ 574495 h 895572"/>
              <a:gd name="connsiteX668" fmla="*/ 1016346 w 1090712"/>
              <a:gd name="connsiteY668" fmla="*/ 569031 h 895572"/>
              <a:gd name="connsiteX669" fmla="*/ 1022998 w 1090712"/>
              <a:gd name="connsiteY669" fmla="*/ 562853 h 895572"/>
              <a:gd name="connsiteX670" fmla="*/ 1029176 w 1090712"/>
              <a:gd name="connsiteY670" fmla="*/ 556676 h 895572"/>
              <a:gd name="connsiteX671" fmla="*/ 1035116 w 1090712"/>
              <a:gd name="connsiteY671" fmla="*/ 549548 h 895572"/>
              <a:gd name="connsiteX672" fmla="*/ 1040818 w 1090712"/>
              <a:gd name="connsiteY672" fmla="*/ 541945 h 895572"/>
              <a:gd name="connsiteX673" fmla="*/ 1046520 w 1090712"/>
              <a:gd name="connsiteY673" fmla="*/ 534342 h 895572"/>
              <a:gd name="connsiteX674" fmla="*/ 1051985 w 1090712"/>
              <a:gd name="connsiteY674" fmla="*/ 526027 h 895572"/>
              <a:gd name="connsiteX675" fmla="*/ 1056737 w 1090712"/>
              <a:gd name="connsiteY675" fmla="*/ 516523 h 895572"/>
              <a:gd name="connsiteX676" fmla="*/ 1061726 w 1090712"/>
              <a:gd name="connsiteY676" fmla="*/ 507257 h 895572"/>
              <a:gd name="connsiteX677" fmla="*/ 1066715 w 1090712"/>
              <a:gd name="connsiteY677" fmla="*/ 497041 h 895572"/>
              <a:gd name="connsiteX678" fmla="*/ 1070992 w 1090712"/>
              <a:gd name="connsiteY678" fmla="*/ 486349 h 895572"/>
              <a:gd name="connsiteX679" fmla="*/ 1075506 w 1090712"/>
              <a:gd name="connsiteY679" fmla="*/ 475182 h 895572"/>
              <a:gd name="connsiteX680" fmla="*/ 1079070 w 1090712"/>
              <a:gd name="connsiteY680" fmla="*/ 462828 h 895572"/>
              <a:gd name="connsiteX681" fmla="*/ 1082634 w 1090712"/>
              <a:gd name="connsiteY681" fmla="*/ 449998 h 895572"/>
              <a:gd name="connsiteX682" fmla="*/ 1084772 w 1090712"/>
              <a:gd name="connsiteY682" fmla="*/ 437405 h 895572"/>
              <a:gd name="connsiteX683" fmla="*/ 1087148 w 1090712"/>
              <a:gd name="connsiteY683" fmla="*/ 425050 h 895572"/>
              <a:gd name="connsiteX684" fmla="*/ 1088811 w 1090712"/>
              <a:gd name="connsiteY684" fmla="*/ 411983 h 895572"/>
              <a:gd name="connsiteX685" fmla="*/ 1089762 w 1090712"/>
              <a:gd name="connsiteY685" fmla="*/ 399628 h 895572"/>
              <a:gd name="connsiteX686" fmla="*/ 1090712 w 1090712"/>
              <a:gd name="connsiteY686" fmla="*/ 386798 h 895572"/>
              <a:gd name="connsiteX687" fmla="*/ 1090712 w 1090712"/>
              <a:gd name="connsiteY687" fmla="*/ 373731 h 895572"/>
              <a:gd name="connsiteX688" fmla="*/ 1090712 w 1090712"/>
              <a:gd name="connsiteY688" fmla="*/ 360901 h 895572"/>
              <a:gd name="connsiteX689" fmla="*/ 1089762 w 1090712"/>
              <a:gd name="connsiteY689" fmla="*/ 348071 h 895572"/>
              <a:gd name="connsiteX690" fmla="*/ 1088811 w 1090712"/>
              <a:gd name="connsiteY690" fmla="*/ 335004 h 895572"/>
              <a:gd name="connsiteX691" fmla="*/ 1088099 w 1090712"/>
              <a:gd name="connsiteY691" fmla="*/ 321698 h 895572"/>
              <a:gd name="connsiteX692" fmla="*/ 1084772 w 1090712"/>
              <a:gd name="connsiteY692" fmla="*/ 295563 h 895572"/>
              <a:gd name="connsiteX693" fmla="*/ 1080971 w 1090712"/>
              <a:gd name="connsiteY693" fmla="*/ 268478 h 895572"/>
              <a:gd name="connsiteX694" fmla="*/ 1078595 w 1090712"/>
              <a:gd name="connsiteY694" fmla="*/ 258262 h 895572"/>
              <a:gd name="connsiteX695" fmla="*/ 1075981 w 1090712"/>
              <a:gd name="connsiteY695" fmla="*/ 248283 h 895572"/>
              <a:gd name="connsiteX696" fmla="*/ 1072417 w 1090712"/>
              <a:gd name="connsiteY696" fmla="*/ 238542 h 895572"/>
              <a:gd name="connsiteX697" fmla="*/ 1069329 w 1090712"/>
              <a:gd name="connsiteY697" fmla="*/ 229275 h 895572"/>
              <a:gd name="connsiteX698" fmla="*/ 1061251 w 1090712"/>
              <a:gd name="connsiteY698" fmla="*/ 210031 h 895572"/>
              <a:gd name="connsiteX699" fmla="*/ 1053173 w 1090712"/>
              <a:gd name="connsiteY699" fmla="*/ 190073 h 895572"/>
              <a:gd name="connsiteX700" fmla="*/ 1051034 w 1090712"/>
              <a:gd name="connsiteY700" fmla="*/ 186034 h 895572"/>
              <a:gd name="connsiteX701" fmla="*/ 1048896 w 1090712"/>
              <a:gd name="connsiteY701" fmla="*/ 182470 h 895572"/>
              <a:gd name="connsiteX702" fmla="*/ 1046045 w 1090712"/>
              <a:gd name="connsiteY702" fmla="*/ 179381 h 895572"/>
              <a:gd name="connsiteX703" fmla="*/ 1043906 w 1090712"/>
              <a:gd name="connsiteY703" fmla="*/ 176768 h 895572"/>
              <a:gd name="connsiteX704" fmla="*/ 1041293 w 1090712"/>
              <a:gd name="connsiteY704" fmla="*/ 174630 h 895572"/>
              <a:gd name="connsiteX705" fmla="*/ 1038680 w 1090712"/>
              <a:gd name="connsiteY705" fmla="*/ 172729 h 895572"/>
              <a:gd name="connsiteX706" fmla="*/ 1035828 w 1090712"/>
              <a:gd name="connsiteY706" fmla="*/ 171303 h 895572"/>
              <a:gd name="connsiteX707" fmla="*/ 1032740 w 1090712"/>
              <a:gd name="connsiteY707" fmla="*/ 170591 h 895572"/>
              <a:gd name="connsiteX708" fmla="*/ 1030126 w 1090712"/>
              <a:gd name="connsiteY708" fmla="*/ 170591 h 895572"/>
              <a:gd name="connsiteX709" fmla="*/ 1027038 w 1090712"/>
              <a:gd name="connsiteY709" fmla="*/ 170591 h 895572"/>
              <a:gd name="connsiteX710" fmla="*/ 1024424 w 1090712"/>
              <a:gd name="connsiteY710" fmla="*/ 171303 h 895572"/>
              <a:gd name="connsiteX711" fmla="*/ 1021335 w 1090712"/>
              <a:gd name="connsiteY711" fmla="*/ 172729 h 895572"/>
              <a:gd name="connsiteX712" fmla="*/ 1018247 w 1090712"/>
              <a:gd name="connsiteY712" fmla="*/ 174867 h 895572"/>
              <a:gd name="connsiteX713" fmla="*/ 1014920 w 1090712"/>
              <a:gd name="connsiteY713" fmla="*/ 177718 h 895572"/>
              <a:gd name="connsiteX714" fmla="*/ 1011832 w 1090712"/>
              <a:gd name="connsiteY714" fmla="*/ 180807 h 895572"/>
              <a:gd name="connsiteX715" fmla="*/ 1008743 w 1090712"/>
              <a:gd name="connsiteY715" fmla="*/ 184846 h 895572"/>
              <a:gd name="connsiteX716" fmla="*/ 991874 w 1090712"/>
              <a:gd name="connsiteY716" fmla="*/ 201240 h 895572"/>
              <a:gd name="connsiteX717" fmla="*/ 983321 w 1090712"/>
              <a:gd name="connsiteY717" fmla="*/ 209318 h 895572"/>
              <a:gd name="connsiteX718" fmla="*/ 974530 w 1090712"/>
              <a:gd name="connsiteY718" fmla="*/ 216683 h 895572"/>
              <a:gd name="connsiteX719" fmla="*/ 965739 w 1090712"/>
              <a:gd name="connsiteY719" fmla="*/ 223811 h 895572"/>
              <a:gd name="connsiteX720" fmla="*/ 956236 w 1090712"/>
              <a:gd name="connsiteY720" fmla="*/ 230226 h 895572"/>
              <a:gd name="connsiteX721" fmla="*/ 946494 w 1090712"/>
              <a:gd name="connsiteY721" fmla="*/ 235928 h 895572"/>
              <a:gd name="connsiteX722" fmla="*/ 941505 w 1090712"/>
              <a:gd name="connsiteY722" fmla="*/ 238066 h 895572"/>
              <a:gd name="connsiteX723" fmla="*/ 936753 w 1090712"/>
              <a:gd name="connsiteY723" fmla="*/ 240442 h 895572"/>
              <a:gd name="connsiteX724" fmla="*/ 932239 w 1090712"/>
              <a:gd name="connsiteY724" fmla="*/ 242581 h 895572"/>
              <a:gd name="connsiteX725" fmla="*/ 928675 w 1090712"/>
              <a:gd name="connsiteY725" fmla="*/ 245669 h 895572"/>
              <a:gd name="connsiteX726" fmla="*/ 925111 w 1090712"/>
              <a:gd name="connsiteY726" fmla="*/ 249233 h 895572"/>
              <a:gd name="connsiteX727" fmla="*/ 922022 w 1090712"/>
              <a:gd name="connsiteY727" fmla="*/ 252797 h 895572"/>
              <a:gd name="connsiteX728" fmla="*/ 919884 w 1090712"/>
              <a:gd name="connsiteY728" fmla="*/ 257311 h 895572"/>
              <a:gd name="connsiteX729" fmla="*/ 918934 w 1090712"/>
              <a:gd name="connsiteY729" fmla="*/ 259925 h 895572"/>
              <a:gd name="connsiteX730" fmla="*/ 918459 w 1090712"/>
              <a:gd name="connsiteY730" fmla="*/ 262538 h 895572"/>
              <a:gd name="connsiteX731" fmla="*/ 918459 w 1090712"/>
              <a:gd name="connsiteY731" fmla="*/ 265389 h 895572"/>
              <a:gd name="connsiteX732" fmla="*/ 918459 w 1090712"/>
              <a:gd name="connsiteY732" fmla="*/ 268003 h 895572"/>
              <a:gd name="connsiteX733" fmla="*/ 918934 w 1090712"/>
              <a:gd name="connsiteY733" fmla="*/ 271091 h 895572"/>
              <a:gd name="connsiteX734" fmla="*/ 919884 w 1090712"/>
              <a:gd name="connsiteY734" fmla="*/ 274180 h 895572"/>
              <a:gd name="connsiteX735" fmla="*/ 921547 w 1090712"/>
              <a:gd name="connsiteY735" fmla="*/ 282258 h 895572"/>
              <a:gd name="connsiteX736" fmla="*/ 922973 w 1090712"/>
              <a:gd name="connsiteY736" fmla="*/ 290574 h 895572"/>
              <a:gd name="connsiteX737" fmla="*/ 923923 w 1090712"/>
              <a:gd name="connsiteY737" fmla="*/ 299127 h 895572"/>
              <a:gd name="connsiteX738" fmla="*/ 924161 w 1090712"/>
              <a:gd name="connsiteY738" fmla="*/ 307443 h 895572"/>
              <a:gd name="connsiteX739" fmla="*/ 924161 w 1090712"/>
              <a:gd name="connsiteY739" fmla="*/ 315996 h 895572"/>
              <a:gd name="connsiteX740" fmla="*/ 923923 w 1090712"/>
              <a:gd name="connsiteY740" fmla="*/ 324550 h 895572"/>
              <a:gd name="connsiteX741" fmla="*/ 922973 w 1090712"/>
              <a:gd name="connsiteY741" fmla="*/ 332865 h 895572"/>
              <a:gd name="connsiteX742" fmla="*/ 922022 w 1090712"/>
              <a:gd name="connsiteY742" fmla="*/ 340943 h 895572"/>
              <a:gd name="connsiteX743" fmla="*/ 920597 w 1090712"/>
              <a:gd name="connsiteY743" fmla="*/ 349259 h 895572"/>
              <a:gd name="connsiteX744" fmla="*/ 918934 w 1090712"/>
              <a:gd name="connsiteY744" fmla="*/ 357812 h 895572"/>
              <a:gd name="connsiteX745" fmla="*/ 914420 w 1090712"/>
              <a:gd name="connsiteY745" fmla="*/ 374681 h 895572"/>
              <a:gd name="connsiteX746" fmla="*/ 909192 w 1090712"/>
              <a:gd name="connsiteY746" fmla="*/ 391075 h 895572"/>
              <a:gd name="connsiteX747" fmla="*/ 903253 w 1090712"/>
              <a:gd name="connsiteY747" fmla="*/ 408182 h 895572"/>
              <a:gd name="connsiteX748" fmla="*/ 903253 w 1090712"/>
              <a:gd name="connsiteY748" fmla="*/ 397965 h 895572"/>
              <a:gd name="connsiteX749" fmla="*/ 904203 w 1090712"/>
              <a:gd name="connsiteY749" fmla="*/ 387274 h 895572"/>
              <a:gd name="connsiteX750" fmla="*/ 906104 w 1090712"/>
              <a:gd name="connsiteY750" fmla="*/ 367078 h 895572"/>
              <a:gd name="connsiteX751" fmla="*/ 907767 w 1090712"/>
              <a:gd name="connsiteY751" fmla="*/ 347596 h 895572"/>
              <a:gd name="connsiteX752" fmla="*/ 908717 w 1090712"/>
              <a:gd name="connsiteY752" fmla="*/ 338567 h 895572"/>
              <a:gd name="connsiteX753" fmla="*/ 908717 w 1090712"/>
              <a:gd name="connsiteY753" fmla="*/ 329777 h 895572"/>
              <a:gd name="connsiteX754" fmla="*/ 908717 w 1090712"/>
              <a:gd name="connsiteY754" fmla="*/ 325738 h 895572"/>
              <a:gd name="connsiteX755" fmla="*/ 907767 w 1090712"/>
              <a:gd name="connsiteY755" fmla="*/ 322649 h 895572"/>
              <a:gd name="connsiteX756" fmla="*/ 906817 w 1090712"/>
              <a:gd name="connsiteY756" fmla="*/ 319560 h 895572"/>
              <a:gd name="connsiteX757" fmla="*/ 905154 w 1090712"/>
              <a:gd name="connsiteY757" fmla="*/ 316471 h 895572"/>
              <a:gd name="connsiteX758" fmla="*/ 903728 w 1090712"/>
              <a:gd name="connsiteY758" fmla="*/ 314096 h 895572"/>
              <a:gd name="connsiteX759" fmla="*/ 901590 w 1090712"/>
              <a:gd name="connsiteY759" fmla="*/ 311957 h 895572"/>
              <a:gd name="connsiteX760" fmla="*/ 897551 w 1090712"/>
              <a:gd name="connsiteY760" fmla="*/ 307443 h 895572"/>
              <a:gd name="connsiteX761" fmla="*/ 895412 w 1090712"/>
              <a:gd name="connsiteY761" fmla="*/ 309344 h 895572"/>
              <a:gd name="connsiteX762" fmla="*/ 892561 w 1090712"/>
              <a:gd name="connsiteY762" fmla="*/ 310769 h 895572"/>
              <a:gd name="connsiteX763" fmla="*/ 887334 w 1090712"/>
              <a:gd name="connsiteY763" fmla="*/ 313383 h 895572"/>
              <a:gd name="connsiteX764" fmla="*/ 884721 w 1090712"/>
              <a:gd name="connsiteY764" fmla="*/ 314096 h 895572"/>
              <a:gd name="connsiteX765" fmla="*/ 882820 w 1090712"/>
              <a:gd name="connsiteY765" fmla="*/ 315521 h 895572"/>
              <a:gd name="connsiteX766" fmla="*/ 881632 w 1090712"/>
              <a:gd name="connsiteY766" fmla="*/ 316947 h 895572"/>
              <a:gd name="connsiteX767" fmla="*/ 881157 w 1090712"/>
              <a:gd name="connsiteY767" fmla="*/ 318610 h 895572"/>
              <a:gd name="connsiteX768" fmla="*/ 872604 w 1090712"/>
              <a:gd name="connsiteY768" fmla="*/ 331915 h 895572"/>
              <a:gd name="connsiteX769" fmla="*/ 864288 w 1090712"/>
              <a:gd name="connsiteY769" fmla="*/ 346646 h 895572"/>
              <a:gd name="connsiteX770" fmla="*/ 856210 w 1090712"/>
              <a:gd name="connsiteY770" fmla="*/ 361376 h 895572"/>
              <a:gd name="connsiteX771" fmla="*/ 847656 w 1090712"/>
              <a:gd name="connsiteY771" fmla="*/ 374681 h 895572"/>
              <a:gd name="connsiteX772" fmla="*/ 841954 w 1090712"/>
              <a:gd name="connsiteY772" fmla="*/ 374681 h 895572"/>
              <a:gd name="connsiteX773" fmla="*/ 846468 w 1090712"/>
              <a:gd name="connsiteY773" fmla="*/ 357812 h 895572"/>
              <a:gd name="connsiteX774" fmla="*/ 850508 w 1090712"/>
              <a:gd name="connsiteY774" fmla="*/ 339518 h 895572"/>
              <a:gd name="connsiteX775" fmla="*/ 854784 w 1090712"/>
              <a:gd name="connsiteY775" fmla="*/ 319560 h 895572"/>
              <a:gd name="connsiteX776" fmla="*/ 858823 w 1090712"/>
              <a:gd name="connsiteY776" fmla="*/ 296514 h 895572"/>
              <a:gd name="connsiteX777" fmla="*/ 848132 w 1090712"/>
              <a:gd name="connsiteY777" fmla="*/ 303879 h 895572"/>
              <a:gd name="connsiteX778" fmla="*/ 840054 w 1090712"/>
              <a:gd name="connsiteY778" fmla="*/ 310294 h 895572"/>
              <a:gd name="connsiteX779" fmla="*/ 833163 w 1090712"/>
              <a:gd name="connsiteY779" fmla="*/ 316947 h 895572"/>
              <a:gd name="connsiteX780" fmla="*/ 825560 w 1090712"/>
              <a:gd name="connsiteY780" fmla="*/ 324550 h 895572"/>
              <a:gd name="connsiteX781" fmla="*/ 823185 w 1090712"/>
              <a:gd name="connsiteY781" fmla="*/ 326688 h 895572"/>
              <a:gd name="connsiteX782" fmla="*/ 821522 w 1090712"/>
              <a:gd name="connsiteY782" fmla="*/ 329301 h 895572"/>
              <a:gd name="connsiteX783" fmla="*/ 817007 w 1090712"/>
              <a:gd name="connsiteY783" fmla="*/ 335954 h 895572"/>
              <a:gd name="connsiteX784" fmla="*/ 812968 w 1090712"/>
              <a:gd name="connsiteY784" fmla="*/ 344032 h 895572"/>
              <a:gd name="connsiteX785" fmla="*/ 808929 w 1090712"/>
              <a:gd name="connsiteY785" fmla="*/ 352585 h 895572"/>
              <a:gd name="connsiteX786" fmla="*/ 809880 w 1090712"/>
              <a:gd name="connsiteY786" fmla="*/ 343557 h 895572"/>
              <a:gd name="connsiteX787" fmla="*/ 811305 w 1090712"/>
              <a:gd name="connsiteY787" fmla="*/ 335479 h 895572"/>
              <a:gd name="connsiteX788" fmla="*/ 812493 w 1090712"/>
              <a:gd name="connsiteY788" fmla="*/ 328826 h 895572"/>
              <a:gd name="connsiteX789" fmla="*/ 814394 w 1090712"/>
              <a:gd name="connsiteY789" fmla="*/ 323124 h 895572"/>
              <a:gd name="connsiteX790" fmla="*/ 816532 w 1090712"/>
              <a:gd name="connsiteY790" fmla="*/ 317659 h 895572"/>
              <a:gd name="connsiteX791" fmla="*/ 819146 w 1090712"/>
              <a:gd name="connsiteY791" fmla="*/ 313383 h 895572"/>
              <a:gd name="connsiteX792" fmla="*/ 822709 w 1090712"/>
              <a:gd name="connsiteY792" fmla="*/ 309344 h 895572"/>
              <a:gd name="connsiteX793" fmla="*/ 826748 w 1090712"/>
              <a:gd name="connsiteY793" fmla="*/ 306255 h 895572"/>
              <a:gd name="connsiteX794" fmla="*/ 832213 w 1090712"/>
              <a:gd name="connsiteY794" fmla="*/ 303166 h 895572"/>
              <a:gd name="connsiteX795" fmla="*/ 838390 w 1090712"/>
              <a:gd name="connsiteY795" fmla="*/ 300315 h 895572"/>
              <a:gd name="connsiteX796" fmla="*/ 845518 w 1090712"/>
              <a:gd name="connsiteY796" fmla="*/ 298177 h 895572"/>
              <a:gd name="connsiteX797" fmla="*/ 854071 w 1090712"/>
              <a:gd name="connsiteY797" fmla="*/ 295563 h 895572"/>
              <a:gd name="connsiteX798" fmla="*/ 875217 w 1090712"/>
              <a:gd name="connsiteY798" fmla="*/ 290574 h 895572"/>
              <a:gd name="connsiteX799" fmla="*/ 903253 w 1090712"/>
              <a:gd name="connsiteY799" fmla="*/ 285347 h 895572"/>
              <a:gd name="connsiteX800" fmla="*/ 886384 w 1090712"/>
              <a:gd name="connsiteY800" fmla="*/ 268478 h 895572"/>
              <a:gd name="connsiteX801" fmla="*/ 879731 w 1090712"/>
              <a:gd name="connsiteY801" fmla="*/ 270141 h 895572"/>
              <a:gd name="connsiteX802" fmla="*/ 873079 w 1090712"/>
              <a:gd name="connsiteY802" fmla="*/ 271091 h 895572"/>
              <a:gd name="connsiteX803" fmla="*/ 867376 w 1090712"/>
              <a:gd name="connsiteY803" fmla="*/ 271567 h 895572"/>
              <a:gd name="connsiteX804" fmla="*/ 862387 w 1090712"/>
              <a:gd name="connsiteY804" fmla="*/ 271091 h 895572"/>
              <a:gd name="connsiteX805" fmla="*/ 857398 w 1090712"/>
              <a:gd name="connsiteY805" fmla="*/ 269666 h 895572"/>
              <a:gd name="connsiteX806" fmla="*/ 853596 w 1090712"/>
              <a:gd name="connsiteY806" fmla="*/ 268003 h 895572"/>
              <a:gd name="connsiteX807" fmla="*/ 849557 w 1090712"/>
              <a:gd name="connsiteY807" fmla="*/ 265627 h 895572"/>
              <a:gd name="connsiteX808" fmla="*/ 846468 w 1090712"/>
              <a:gd name="connsiteY808" fmla="*/ 262538 h 895572"/>
              <a:gd name="connsiteX809" fmla="*/ 843380 w 1090712"/>
              <a:gd name="connsiteY809" fmla="*/ 259450 h 895572"/>
              <a:gd name="connsiteX810" fmla="*/ 840529 w 1090712"/>
              <a:gd name="connsiteY810" fmla="*/ 255411 h 895572"/>
              <a:gd name="connsiteX811" fmla="*/ 838390 w 1090712"/>
              <a:gd name="connsiteY811" fmla="*/ 251134 h 895572"/>
              <a:gd name="connsiteX812" fmla="*/ 836490 w 1090712"/>
              <a:gd name="connsiteY812" fmla="*/ 246620 h 895572"/>
              <a:gd name="connsiteX813" fmla="*/ 834827 w 1090712"/>
              <a:gd name="connsiteY813" fmla="*/ 241155 h 895572"/>
              <a:gd name="connsiteX814" fmla="*/ 833401 w 1090712"/>
              <a:gd name="connsiteY814" fmla="*/ 235453 h 895572"/>
              <a:gd name="connsiteX815" fmla="*/ 831263 w 1090712"/>
              <a:gd name="connsiteY815" fmla="*/ 223336 h 895572"/>
              <a:gd name="connsiteX816" fmla="*/ 897551 w 1090712"/>
              <a:gd name="connsiteY816" fmla="*/ 206942 h 895572"/>
              <a:gd name="connsiteX817" fmla="*/ 888997 w 1090712"/>
              <a:gd name="connsiteY817" fmla="*/ 194112 h 895572"/>
              <a:gd name="connsiteX818" fmla="*/ 880682 w 1090712"/>
              <a:gd name="connsiteY818" fmla="*/ 181282 h 895572"/>
              <a:gd name="connsiteX819" fmla="*/ 871416 w 1090712"/>
              <a:gd name="connsiteY819" fmla="*/ 168690 h 895572"/>
              <a:gd name="connsiteX820" fmla="*/ 866901 w 1090712"/>
              <a:gd name="connsiteY820" fmla="*/ 162988 h 895572"/>
              <a:gd name="connsiteX821" fmla="*/ 861437 w 1090712"/>
              <a:gd name="connsiteY821" fmla="*/ 157048 h 895572"/>
              <a:gd name="connsiteX822" fmla="*/ 856210 w 1090712"/>
              <a:gd name="connsiteY822" fmla="*/ 151821 h 895572"/>
              <a:gd name="connsiteX823" fmla="*/ 850745 w 1090712"/>
              <a:gd name="connsiteY823" fmla="*/ 146831 h 895572"/>
              <a:gd name="connsiteX824" fmla="*/ 844568 w 1090712"/>
              <a:gd name="connsiteY824" fmla="*/ 142555 h 895572"/>
              <a:gd name="connsiteX825" fmla="*/ 838390 w 1090712"/>
              <a:gd name="connsiteY825" fmla="*/ 138516 h 895572"/>
              <a:gd name="connsiteX826" fmla="*/ 831738 w 1090712"/>
              <a:gd name="connsiteY826" fmla="*/ 134952 h 895572"/>
              <a:gd name="connsiteX827" fmla="*/ 824610 w 1090712"/>
              <a:gd name="connsiteY827" fmla="*/ 132338 h 895572"/>
              <a:gd name="connsiteX828" fmla="*/ 817007 w 1090712"/>
              <a:gd name="connsiteY828" fmla="*/ 129963 h 895572"/>
              <a:gd name="connsiteX829" fmla="*/ 808929 w 1090712"/>
              <a:gd name="connsiteY829" fmla="*/ 128774 h 895572"/>
              <a:gd name="connsiteX830" fmla="*/ 806791 w 1090712"/>
              <a:gd name="connsiteY830" fmla="*/ 128299 h 895572"/>
              <a:gd name="connsiteX831" fmla="*/ 804652 w 1090712"/>
              <a:gd name="connsiteY831" fmla="*/ 127824 h 895572"/>
              <a:gd name="connsiteX832" fmla="*/ 802752 w 1090712"/>
              <a:gd name="connsiteY832" fmla="*/ 126399 h 895572"/>
              <a:gd name="connsiteX833" fmla="*/ 801089 w 1090712"/>
              <a:gd name="connsiteY833" fmla="*/ 125211 h 895572"/>
              <a:gd name="connsiteX834" fmla="*/ 799663 w 1090712"/>
              <a:gd name="connsiteY834" fmla="*/ 123310 h 895572"/>
              <a:gd name="connsiteX835" fmla="*/ 798713 w 1090712"/>
              <a:gd name="connsiteY835" fmla="*/ 121647 h 895572"/>
              <a:gd name="connsiteX836" fmla="*/ 798000 w 1090712"/>
              <a:gd name="connsiteY836" fmla="*/ 119271 h 895572"/>
              <a:gd name="connsiteX837" fmla="*/ 798000 w 1090712"/>
              <a:gd name="connsiteY837" fmla="*/ 117608 h 895572"/>
              <a:gd name="connsiteX838" fmla="*/ 785408 w 1090712"/>
              <a:gd name="connsiteY838" fmla="*/ 106916 h 895572"/>
              <a:gd name="connsiteX839" fmla="*/ 772578 w 1090712"/>
              <a:gd name="connsiteY839" fmla="*/ 95749 h 895572"/>
              <a:gd name="connsiteX840" fmla="*/ 747155 w 1090712"/>
              <a:gd name="connsiteY840" fmla="*/ 72703 h 895572"/>
              <a:gd name="connsiteX841" fmla="*/ 733850 w 1090712"/>
              <a:gd name="connsiteY841" fmla="*/ 61061 h 895572"/>
              <a:gd name="connsiteX842" fmla="*/ 720545 w 1090712"/>
              <a:gd name="connsiteY842" fmla="*/ 49894 h 895572"/>
              <a:gd name="connsiteX843" fmla="*/ 706765 w 1090712"/>
              <a:gd name="connsiteY843" fmla="*/ 38728 h 895572"/>
              <a:gd name="connsiteX844" fmla="*/ 692510 w 1090712"/>
              <a:gd name="connsiteY844" fmla="*/ 28036 h 895572"/>
              <a:gd name="connsiteX845" fmla="*/ 679442 w 1090712"/>
              <a:gd name="connsiteY845" fmla="*/ 21859 h 895572"/>
              <a:gd name="connsiteX846" fmla="*/ 666137 w 1090712"/>
              <a:gd name="connsiteY846" fmla="*/ 16632 h 895572"/>
              <a:gd name="connsiteX847" fmla="*/ 652832 w 1090712"/>
              <a:gd name="connsiteY847" fmla="*/ 11642 h 895572"/>
              <a:gd name="connsiteX848" fmla="*/ 639527 w 1090712"/>
              <a:gd name="connsiteY848" fmla="*/ 7603 h 895572"/>
              <a:gd name="connsiteX849" fmla="*/ 626222 w 1090712"/>
              <a:gd name="connsiteY849" fmla="*/ 4514 h 895572"/>
              <a:gd name="connsiteX850" fmla="*/ 612917 w 1090712"/>
              <a:gd name="connsiteY850" fmla="*/ 1901 h 895572"/>
              <a:gd name="connsiteX851" fmla="*/ 599374 w 1090712"/>
              <a:gd name="connsiteY851" fmla="*/ 475 h 89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Lst>
            <a:rect l="l" t="t" r="r" b="b"/>
            <a:pathLst>
              <a:path w="1090712" h="895572">
                <a:moveTo>
                  <a:pt x="603413" y="721327"/>
                </a:moveTo>
                <a:lnTo>
                  <a:pt x="578466" y="770746"/>
                </a:lnTo>
                <a:lnTo>
                  <a:pt x="553519" y="818264"/>
                </a:lnTo>
                <a:lnTo>
                  <a:pt x="528334" y="865069"/>
                </a:lnTo>
                <a:lnTo>
                  <a:pt x="511825" y="895572"/>
                </a:lnTo>
                <a:lnTo>
                  <a:pt x="624528" y="895572"/>
                </a:lnTo>
                <a:lnTo>
                  <a:pt x="624796" y="894768"/>
                </a:lnTo>
                <a:lnTo>
                  <a:pt x="625271" y="891679"/>
                </a:lnTo>
                <a:lnTo>
                  <a:pt x="625747" y="889066"/>
                </a:lnTo>
                <a:lnTo>
                  <a:pt x="625747" y="860555"/>
                </a:lnTo>
                <a:lnTo>
                  <a:pt x="624796" y="833945"/>
                </a:lnTo>
                <a:lnTo>
                  <a:pt x="624321" y="820877"/>
                </a:lnTo>
                <a:lnTo>
                  <a:pt x="623608" y="808047"/>
                </a:lnTo>
                <a:lnTo>
                  <a:pt x="621708" y="795218"/>
                </a:lnTo>
                <a:lnTo>
                  <a:pt x="620044" y="782625"/>
                </a:lnTo>
                <a:lnTo>
                  <a:pt x="616005" y="766707"/>
                </a:lnTo>
                <a:lnTo>
                  <a:pt x="611966" y="751976"/>
                </a:lnTo>
                <a:lnTo>
                  <a:pt x="607452" y="737245"/>
                </a:lnTo>
                <a:close/>
                <a:moveTo>
                  <a:pt x="698212" y="530778"/>
                </a:moveTo>
                <a:lnTo>
                  <a:pt x="693460" y="534818"/>
                </a:lnTo>
                <a:lnTo>
                  <a:pt x="688471" y="538857"/>
                </a:lnTo>
                <a:lnTo>
                  <a:pt x="678254" y="546935"/>
                </a:lnTo>
                <a:lnTo>
                  <a:pt x="669226" y="553587"/>
                </a:lnTo>
                <a:lnTo>
                  <a:pt x="663048" y="558814"/>
                </a:lnTo>
                <a:lnTo>
                  <a:pt x="663048" y="556676"/>
                </a:lnTo>
                <a:lnTo>
                  <a:pt x="663523" y="554538"/>
                </a:lnTo>
                <a:lnTo>
                  <a:pt x="665424" y="550498"/>
                </a:lnTo>
                <a:lnTo>
                  <a:pt x="668038" y="546459"/>
                </a:lnTo>
                <a:lnTo>
                  <a:pt x="671602" y="542420"/>
                </a:lnTo>
                <a:lnTo>
                  <a:pt x="676829" y="538857"/>
                </a:lnTo>
                <a:lnTo>
                  <a:pt x="682768" y="535768"/>
                </a:lnTo>
                <a:lnTo>
                  <a:pt x="689896" y="533154"/>
                </a:lnTo>
                <a:close/>
                <a:moveTo>
                  <a:pt x="654257" y="302216"/>
                </a:moveTo>
                <a:lnTo>
                  <a:pt x="651882" y="302691"/>
                </a:lnTo>
                <a:lnTo>
                  <a:pt x="649268" y="303166"/>
                </a:lnTo>
                <a:lnTo>
                  <a:pt x="647130" y="304354"/>
                </a:lnTo>
                <a:lnTo>
                  <a:pt x="644516" y="306255"/>
                </a:lnTo>
                <a:lnTo>
                  <a:pt x="642140" y="307918"/>
                </a:lnTo>
                <a:lnTo>
                  <a:pt x="640002" y="310294"/>
                </a:lnTo>
                <a:lnTo>
                  <a:pt x="638101" y="312432"/>
                </a:lnTo>
                <a:lnTo>
                  <a:pt x="636913" y="314571"/>
                </a:lnTo>
                <a:lnTo>
                  <a:pt x="635963" y="316946"/>
                </a:lnTo>
                <a:lnTo>
                  <a:pt x="635963" y="319085"/>
                </a:lnTo>
                <a:lnTo>
                  <a:pt x="636913" y="321223"/>
                </a:lnTo>
                <a:lnTo>
                  <a:pt x="637626" y="324074"/>
                </a:lnTo>
                <a:lnTo>
                  <a:pt x="639527" y="326688"/>
                </a:lnTo>
                <a:lnTo>
                  <a:pt x="643091" y="331677"/>
                </a:lnTo>
                <a:lnTo>
                  <a:pt x="647130" y="335954"/>
                </a:lnTo>
                <a:lnTo>
                  <a:pt x="655920" y="330727"/>
                </a:lnTo>
                <a:lnTo>
                  <a:pt x="663999" y="324787"/>
                </a:lnTo>
                <a:lnTo>
                  <a:pt x="679917" y="313383"/>
                </a:lnTo>
                <a:lnTo>
                  <a:pt x="676354" y="311007"/>
                </a:lnTo>
                <a:lnTo>
                  <a:pt x="672790" y="308393"/>
                </a:lnTo>
                <a:lnTo>
                  <a:pt x="668988" y="306730"/>
                </a:lnTo>
                <a:lnTo>
                  <a:pt x="664949" y="304829"/>
                </a:lnTo>
                <a:lnTo>
                  <a:pt x="660910" y="303641"/>
                </a:lnTo>
                <a:lnTo>
                  <a:pt x="657346" y="302691"/>
                </a:lnTo>
                <a:close/>
                <a:moveTo>
                  <a:pt x="696549" y="252322"/>
                </a:moveTo>
                <a:lnTo>
                  <a:pt x="696786" y="259925"/>
                </a:lnTo>
                <a:lnTo>
                  <a:pt x="698212" y="266102"/>
                </a:lnTo>
                <a:lnTo>
                  <a:pt x="700113" y="272042"/>
                </a:lnTo>
                <a:lnTo>
                  <a:pt x="701776" y="276794"/>
                </a:lnTo>
                <a:lnTo>
                  <a:pt x="704389" y="280833"/>
                </a:lnTo>
                <a:lnTo>
                  <a:pt x="707240" y="284397"/>
                </a:lnTo>
                <a:lnTo>
                  <a:pt x="710329" y="287010"/>
                </a:lnTo>
                <a:lnTo>
                  <a:pt x="713418" y="289624"/>
                </a:lnTo>
                <a:lnTo>
                  <a:pt x="716506" y="291524"/>
                </a:lnTo>
                <a:lnTo>
                  <a:pt x="719595" y="293187"/>
                </a:lnTo>
                <a:lnTo>
                  <a:pt x="725772" y="295088"/>
                </a:lnTo>
                <a:lnTo>
                  <a:pt x="731237" y="296514"/>
                </a:lnTo>
                <a:lnTo>
                  <a:pt x="734801" y="296751"/>
                </a:lnTo>
                <a:lnTo>
                  <a:pt x="722209" y="303879"/>
                </a:lnTo>
                <a:lnTo>
                  <a:pt x="710804" y="311007"/>
                </a:lnTo>
                <a:lnTo>
                  <a:pt x="688471" y="324787"/>
                </a:lnTo>
                <a:lnTo>
                  <a:pt x="667563" y="339043"/>
                </a:lnTo>
                <a:lnTo>
                  <a:pt x="646179" y="352823"/>
                </a:lnTo>
                <a:lnTo>
                  <a:pt x="620044" y="313383"/>
                </a:lnTo>
                <a:lnTo>
                  <a:pt x="617668" y="312432"/>
                </a:lnTo>
                <a:lnTo>
                  <a:pt x="615055" y="312432"/>
                </a:lnTo>
                <a:lnTo>
                  <a:pt x="612441" y="313383"/>
                </a:lnTo>
                <a:lnTo>
                  <a:pt x="609353" y="314095"/>
                </a:lnTo>
                <a:lnTo>
                  <a:pt x="602938" y="316946"/>
                </a:lnTo>
                <a:lnTo>
                  <a:pt x="599849" y="317659"/>
                </a:lnTo>
                <a:lnTo>
                  <a:pt x="596760" y="318610"/>
                </a:lnTo>
                <a:lnTo>
                  <a:pt x="607927" y="307205"/>
                </a:lnTo>
                <a:lnTo>
                  <a:pt x="618619" y="295088"/>
                </a:lnTo>
                <a:lnTo>
                  <a:pt x="623846" y="289386"/>
                </a:lnTo>
                <a:lnTo>
                  <a:pt x="629786" y="283921"/>
                </a:lnTo>
                <a:lnTo>
                  <a:pt x="635963" y="278694"/>
                </a:lnTo>
                <a:lnTo>
                  <a:pt x="642140" y="273705"/>
                </a:lnTo>
                <a:lnTo>
                  <a:pt x="648793" y="269191"/>
                </a:lnTo>
                <a:lnTo>
                  <a:pt x="655446" y="265627"/>
                </a:lnTo>
                <a:lnTo>
                  <a:pt x="662098" y="263013"/>
                </a:lnTo>
                <a:lnTo>
                  <a:pt x="668988" y="260400"/>
                </a:lnTo>
                <a:lnTo>
                  <a:pt x="682768" y="256361"/>
                </a:lnTo>
                <a:close/>
                <a:moveTo>
                  <a:pt x="1030602" y="200289"/>
                </a:moveTo>
                <a:lnTo>
                  <a:pt x="1027513" y="207892"/>
                </a:lnTo>
                <a:lnTo>
                  <a:pt x="1023949" y="214545"/>
                </a:lnTo>
                <a:lnTo>
                  <a:pt x="1019910" y="221197"/>
                </a:lnTo>
                <a:lnTo>
                  <a:pt x="1015396" y="226899"/>
                </a:lnTo>
                <a:lnTo>
                  <a:pt x="1011119" y="232839"/>
                </a:lnTo>
                <a:lnTo>
                  <a:pt x="1006130" y="237591"/>
                </a:lnTo>
                <a:lnTo>
                  <a:pt x="1001140" y="242105"/>
                </a:lnTo>
                <a:lnTo>
                  <a:pt x="996388" y="246144"/>
                </a:lnTo>
                <a:lnTo>
                  <a:pt x="990924" y="249708"/>
                </a:lnTo>
                <a:lnTo>
                  <a:pt x="985697" y="252797"/>
                </a:lnTo>
                <a:lnTo>
                  <a:pt x="980232" y="254935"/>
                </a:lnTo>
                <a:lnTo>
                  <a:pt x="975005" y="256836"/>
                </a:lnTo>
                <a:lnTo>
                  <a:pt x="969541" y="258262"/>
                </a:lnTo>
                <a:lnTo>
                  <a:pt x="963839" y="258499"/>
                </a:lnTo>
                <a:lnTo>
                  <a:pt x="958612" y="258499"/>
                </a:lnTo>
                <a:lnTo>
                  <a:pt x="953622" y="257786"/>
                </a:lnTo>
                <a:lnTo>
                  <a:pt x="970966" y="244006"/>
                </a:lnTo>
                <a:lnTo>
                  <a:pt x="990211" y="229275"/>
                </a:lnTo>
                <a:lnTo>
                  <a:pt x="1010169" y="214069"/>
                </a:lnTo>
                <a:lnTo>
                  <a:pt x="1020385" y="206942"/>
                </a:lnTo>
                <a:close/>
                <a:moveTo>
                  <a:pt x="389581" y="176768"/>
                </a:moveTo>
                <a:lnTo>
                  <a:pt x="397422" y="177243"/>
                </a:lnTo>
                <a:lnTo>
                  <a:pt x="414766" y="178906"/>
                </a:lnTo>
                <a:lnTo>
                  <a:pt x="405500" y="179856"/>
                </a:lnTo>
                <a:lnTo>
                  <a:pt x="396946" y="181995"/>
                </a:lnTo>
                <a:lnTo>
                  <a:pt x="389581" y="184371"/>
                </a:lnTo>
                <a:lnTo>
                  <a:pt x="381978" y="186984"/>
                </a:lnTo>
                <a:lnTo>
                  <a:pt x="375326" y="190548"/>
                </a:lnTo>
                <a:lnTo>
                  <a:pt x="368911" y="194112"/>
                </a:lnTo>
                <a:lnTo>
                  <a:pt x="363208" y="198626"/>
                </a:lnTo>
                <a:lnTo>
                  <a:pt x="357981" y="202903"/>
                </a:lnTo>
                <a:lnTo>
                  <a:pt x="352517" y="208367"/>
                </a:lnTo>
                <a:lnTo>
                  <a:pt x="348003" y="214070"/>
                </a:lnTo>
                <a:lnTo>
                  <a:pt x="343726" y="220247"/>
                </a:lnTo>
                <a:lnTo>
                  <a:pt x="339687" y="226662"/>
                </a:lnTo>
                <a:lnTo>
                  <a:pt x="335648" y="233790"/>
                </a:lnTo>
                <a:lnTo>
                  <a:pt x="332559" y="240917"/>
                </a:lnTo>
                <a:lnTo>
                  <a:pt x="328995" y="248758"/>
                </a:lnTo>
                <a:lnTo>
                  <a:pt x="325907" y="256836"/>
                </a:lnTo>
                <a:lnTo>
                  <a:pt x="325432" y="252797"/>
                </a:lnTo>
                <a:lnTo>
                  <a:pt x="324956" y="248283"/>
                </a:lnTo>
                <a:lnTo>
                  <a:pt x="323056" y="239492"/>
                </a:lnTo>
                <a:lnTo>
                  <a:pt x="320917" y="229275"/>
                </a:lnTo>
                <a:lnTo>
                  <a:pt x="320442" y="223811"/>
                </a:lnTo>
                <a:lnTo>
                  <a:pt x="319967" y="217633"/>
                </a:lnTo>
                <a:lnTo>
                  <a:pt x="314740" y="217633"/>
                </a:lnTo>
                <a:lnTo>
                  <a:pt x="302148" y="243056"/>
                </a:lnTo>
                <a:lnTo>
                  <a:pt x="289793" y="267528"/>
                </a:lnTo>
                <a:lnTo>
                  <a:pt x="277438" y="291049"/>
                </a:lnTo>
                <a:lnTo>
                  <a:pt x="264371" y="312907"/>
                </a:lnTo>
                <a:lnTo>
                  <a:pt x="267459" y="295088"/>
                </a:lnTo>
                <a:lnTo>
                  <a:pt x="271023" y="279170"/>
                </a:lnTo>
                <a:lnTo>
                  <a:pt x="274587" y="263964"/>
                </a:lnTo>
                <a:lnTo>
                  <a:pt x="279101" y="250183"/>
                </a:lnTo>
                <a:lnTo>
                  <a:pt x="284091" y="238066"/>
                </a:lnTo>
                <a:lnTo>
                  <a:pt x="289318" y="226900"/>
                </a:lnTo>
                <a:lnTo>
                  <a:pt x="292406" y="221673"/>
                </a:lnTo>
                <a:lnTo>
                  <a:pt x="295495" y="217158"/>
                </a:lnTo>
                <a:lnTo>
                  <a:pt x="298584" y="212406"/>
                </a:lnTo>
                <a:lnTo>
                  <a:pt x="302148" y="208367"/>
                </a:lnTo>
                <a:lnTo>
                  <a:pt x="305711" y="204328"/>
                </a:lnTo>
                <a:lnTo>
                  <a:pt x="309275" y="200765"/>
                </a:lnTo>
                <a:lnTo>
                  <a:pt x="313314" y="197201"/>
                </a:lnTo>
                <a:lnTo>
                  <a:pt x="317354" y="194112"/>
                </a:lnTo>
                <a:lnTo>
                  <a:pt x="321868" y="191498"/>
                </a:lnTo>
                <a:lnTo>
                  <a:pt x="326382" y="188647"/>
                </a:lnTo>
                <a:lnTo>
                  <a:pt x="330659" y="186509"/>
                </a:lnTo>
                <a:lnTo>
                  <a:pt x="335648" y="184371"/>
                </a:lnTo>
                <a:lnTo>
                  <a:pt x="340637" y="182470"/>
                </a:lnTo>
                <a:lnTo>
                  <a:pt x="345864" y="181282"/>
                </a:lnTo>
                <a:lnTo>
                  <a:pt x="351091" y="179856"/>
                </a:lnTo>
                <a:lnTo>
                  <a:pt x="357031" y="178431"/>
                </a:lnTo>
                <a:lnTo>
                  <a:pt x="368911" y="177243"/>
                </a:lnTo>
                <a:lnTo>
                  <a:pt x="381978" y="176768"/>
                </a:lnTo>
                <a:close/>
                <a:moveTo>
                  <a:pt x="609353" y="174629"/>
                </a:moveTo>
                <a:lnTo>
                  <a:pt x="602463" y="180807"/>
                </a:lnTo>
                <a:lnTo>
                  <a:pt x="596285" y="187459"/>
                </a:lnTo>
                <a:lnTo>
                  <a:pt x="583931" y="201715"/>
                </a:lnTo>
                <a:lnTo>
                  <a:pt x="571101" y="215495"/>
                </a:lnTo>
                <a:lnTo>
                  <a:pt x="564686" y="222148"/>
                </a:lnTo>
                <a:lnTo>
                  <a:pt x="558508" y="228325"/>
                </a:lnTo>
                <a:lnTo>
                  <a:pt x="557558" y="223335"/>
                </a:lnTo>
                <a:lnTo>
                  <a:pt x="557083" y="219059"/>
                </a:lnTo>
                <a:lnTo>
                  <a:pt x="557083" y="215020"/>
                </a:lnTo>
                <a:lnTo>
                  <a:pt x="557558" y="210981"/>
                </a:lnTo>
                <a:lnTo>
                  <a:pt x="558508" y="207417"/>
                </a:lnTo>
                <a:lnTo>
                  <a:pt x="560409" y="203853"/>
                </a:lnTo>
                <a:lnTo>
                  <a:pt x="562072" y="200764"/>
                </a:lnTo>
                <a:lnTo>
                  <a:pt x="564686" y="197676"/>
                </a:lnTo>
                <a:lnTo>
                  <a:pt x="567774" y="194587"/>
                </a:lnTo>
                <a:lnTo>
                  <a:pt x="571813" y="191973"/>
                </a:lnTo>
                <a:lnTo>
                  <a:pt x="576328" y="188647"/>
                </a:lnTo>
                <a:lnTo>
                  <a:pt x="581317" y="186034"/>
                </a:lnTo>
                <a:lnTo>
                  <a:pt x="587019" y="183420"/>
                </a:lnTo>
                <a:lnTo>
                  <a:pt x="593672" y="180332"/>
                </a:lnTo>
                <a:close/>
                <a:moveTo>
                  <a:pt x="586544" y="0"/>
                </a:moveTo>
                <a:lnTo>
                  <a:pt x="570150" y="2851"/>
                </a:lnTo>
                <a:lnTo>
                  <a:pt x="553519" y="5940"/>
                </a:lnTo>
                <a:lnTo>
                  <a:pt x="536650" y="10454"/>
                </a:lnTo>
                <a:lnTo>
                  <a:pt x="520256" y="14731"/>
                </a:lnTo>
                <a:lnTo>
                  <a:pt x="486993" y="24472"/>
                </a:lnTo>
                <a:lnTo>
                  <a:pt x="469887" y="28986"/>
                </a:lnTo>
                <a:lnTo>
                  <a:pt x="453493" y="33500"/>
                </a:lnTo>
                <a:lnTo>
                  <a:pt x="438762" y="40153"/>
                </a:lnTo>
                <a:lnTo>
                  <a:pt x="424507" y="47281"/>
                </a:lnTo>
                <a:lnTo>
                  <a:pt x="417379" y="51320"/>
                </a:lnTo>
                <a:lnTo>
                  <a:pt x="410727" y="55834"/>
                </a:lnTo>
                <a:lnTo>
                  <a:pt x="403599" y="60111"/>
                </a:lnTo>
                <a:lnTo>
                  <a:pt x="397422" y="65100"/>
                </a:lnTo>
                <a:lnTo>
                  <a:pt x="390769" y="69852"/>
                </a:lnTo>
                <a:lnTo>
                  <a:pt x="384592" y="75792"/>
                </a:lnTo>
                <a:lnTo>
                  <a:pt x="378889" y="81494"/>
                </a:lnTo>
                <a:lnTo>
                  <a:pt x="372950" y="87671"/>
                </a:lnTo>
                <a:lnTo>
                  <a:pt x="367723" y="94324"/>
                </a:lnTo>
                <a:lnTo>
                  <a:pt x="362733" y="101452"/>
                </a:lnTo>
                <a:lnTo>
                  <a:pt x="357981" y="109055"/>
                </a:lnTo>
                <a:lnTo>
                  <a:pt x="353467" y="117608"/>
                </a:lnTo>
                <a:lnTo>
                  <a:pt x="409064" y="117608"/>
                </a:lnTo>
                <a:lnTo>
                  <a:pt x="406925" y="119271"/>
                </a:lnTo>
                <a:lnTo>
                  <a:pt x="404074" y="121647"/>
                </a:lnTo>
                <a:lnTo>
                  <a:pt x="400510" y="123310"/>
                </a:lnTo>
                <a:lnTo>
                  <a:pt x="397422" y="125211"/>
                </a:lnTo>
                <a:lnTo>
                  <a:pt x="393383" y="126399"/>
                </a:lnTo>
                <a:lnTo>
                  <a:pt x="389581" y="127824"/>
                </a:lnTo>
                <a:lnTo>
                  <a:pt x="385542" y="128299"/>
                </a:lnTo>
                <a:lnTo>
                  <a:pt x="381503" y="128774"/>
                </a:lnTo>
                <a:lnTo>
                  <a:pt x="375326" y="130438"/>
                </a:lnTo>
                <a:lnTo>
                  <a:pt x="368435" y="131863"/>
                </a:lnTo>
                <a:lnTo>
                  <a:pt x="361783" y="133051"/>
                </a:lnTo>
                <a:lnTo>
                  <a:pt x="355606" y="134001"/>
                </a:lnTo>
                <a:lnTo>
                  <a:pt x="342300" y="135427"/>
                </a:lnTo>
                <a:lnTo>
                  <a:pt x="329471" y="137090"/>
                </a:lnTo>
                <a:lnTo>
                  <a:pt x="322818" y="138040"/>
                </a:lnTo>
                <a:lnTo>
                  <a:pt x="316403" y="139704"/>
                </a:lnTo>
                <a:lnTo>
                  <a:pt x="310226" y="141604"/>
                </a:lnTo>
                <a:lnTo>
                  <a:pt x="304048" y="144218"/>
                </a:lnTo>
                <a:lnTo>
                  <a:pt x="298346" y="147307"/>
                </a:lnTo>
                <a:lnTo>
                  <a:pt x="292406" y="151346"/>
                </a:lnTo>
                <a:lnTo>
                  <a:pt x="286704" y="156335"/>
                </a:lnTo>
                <a:lnTo>
                  <a:pt x="281240" y="162037"/>
                </a:lnTo>
                <a:lnTo>
                  <a:pt x="262232" y="182945"/>
                </a:lnTo>
                <a:lnTo>
                  <a:pt x="242987" y="203378"/>
                </a:lnTo>
                <a:lnTo>
                  <a:pt x="203547" y="244006"/>
                </a:lnTo>
                <a:lnTo>
                  <a:pt x="183827" y="264439"/>
                </a:lnTo>
                <a:lnTo>
                  <a:pt x="164345" y="285822"/>
                </a:lnTo>
                <a:lnTo>
                  <a:pt x="144862" y="307443"/>
                </a:lnTo>
                <a:lnTo>
                  <a:pt x="126093" y="329777"/>
                </a:lnTo>
                <a:lnTo>
                  <a:pt x="122054" y="335004"/>
                </a:lnTo>
                <a:lnTo>
                  <a:pt x="118015" y="340468"/>
                </a:lnTo>
                <a:lnTo>
                  <a:pt x="110887" y="352110"/>
                </a:lnTo>
                <a:lnTo>
                  <a:pt x="104709" y="363514"/>
                </a:lnTo>
                <a:lnTo>
                  <a:pt x="99007" y="375156"/>
                </a:lnTo>
                <a:lnTo>
                  <a:pt x="87840" y="400103"/>
                </a:lnTo>
                <a:lnTo>
                  <a:pt x="82138" y="412458"/>
                </a:lnTo>
                <a:lnTo>
                  <a:pt x="75723" y="425050"/>
                </a:lnTo>
                <a:lnTo>
                  <a:pt x="75723" y="429802"/>
                </a:lnTo>
                <a:lnTo>
                  <a:pt x="76674" y="436217"/>
                </a:lnTo>
                <a:lnTo>
                  <a:pt x="77149" y="439306"/>
                </a:lnTo>
                <a:lnTo>
                  <a:pt x="78574" y="442395"/>
                </a:lnTo>
                <a:lnTo>
                  <a:pt x="79762" y="445008"/>
                </a:lnTo>
                <a:lnTo>
                  <a:pt x="81663" y="447147"/>
                </a:lnTo>
                <a:lnTo>
                  <a:pt x="94018" y="468055"/>
                </a:lnTo>
                <a:lnTo>
                  <a:pt x="106848" y="488963"/>
                </a:lnTo>
                <a:lnTo>
                  <a:pt x="113975" y="499654"/>
                </a:lnTo>
                <a:lnTo>
                  <a:pt x="121103" y="510346"/>
                </a:lnTo>
                <a:lnTo>
                  <a:pt x="128706" y="520562"/>
                </a:lnTo>
                <a:lnTo>
                  <a:pt x="137259" y="531254"/>
                </a:lnTo>
                <a:lnTo>
                  <a:pt x="149614" y="514385"/>
                </a:lnTo>
                <a:lnTo>
                  <a:pt x="162206" y="498466"/>
                </a:lnTo>
                <a:lnTo>
                  <a:pt x="174561" y="483260"/>
                </a:lnTo>
                <a:lnTo>
                  <a:pt x="180739" y="476133"/>
                </a:lnTo>
                <a:lnTo>
                  <a:pt x="186916" y="469480"/>
                </a:lnTo>
                <a:lnTo>
                  <a:pt x="182639" y="482310"/>
                </a:lnTo>
                <a:lnTo>
                  <a:pt x="178125" y="495615"/>
                </a:lnTo>
                <a:lnTo>
                  <a:pt x="172423" y="509871"/>
                </a:lnTo>
                <a:lnTo>
                  <a:pt x="164820" y="525552"/>
                </a:lnTo>
                <a:lnTo>
                  <a:pt x="156267" y="538381"/>
                </a:lnTo>
                <a:lnTo>
                  <a:pt x="152703" y="544559"/>
                </a:lnTo>
                <a:lnTo>
                  <a:pt x="148664" y="551449"/>
                </a:lnTo>
                <a:lnTo>
                  <a:pt x="145100" y="558339"/>
                </a:lnTo>
                <a:lnTo>
                  <a:pt x="142011" y="565467"/>
                </a:lnTo>
                <a:lnTo>
                  <a:pt x="139398" y="573070"/>
                </a:lnTo>
                <a:lnTo>
                  <a:pt x="137259" y="581623"/>
                </a:lnTo>
                <a:lnTo>
                  <a:pt x="136309" y="583761"/>
                </a:lnTo>
                <a:lnTo>
                  <a:pt x="135359" y="586137"/>
                </a:lnTo>
                <a:lnTo>
                  <a:pt x="134883" y="590889"/>
                </a:lnTo>
                <a:lnTo>
                  <a:pt x="134883" y="595879"/>
                </a:lnTo>
                <a:lnTo>
                  <a:pt x="135359" y="601106"/>
                </a:lnTo>
                <a:lnTo>
                  <a:pt x="136784" y="606095"/>
                </a:lnTo>
                <a:lnTo>
                  <a:pt x="138447" y="611322"/>
                </a:lnTo>
                <a:lnTo>
                  <a:pt x="140348" y="616311"/>
                </a:lnTo>
                <a:lnTo>
                  <a:pt x="142486" y="620826"/>
                </a:lnTo>
                <a:lnTo>
                  <a:pt x="148664" y="629616"/>
                </a:lnTo>
                <a:lnTo>
                  <a:pt x="155554" y="637219"/>
                </a:lnTo>
                <a:lnTo>
                  <a:pt x="162444" y="643872"/>
                </a:lnTo>
                <a:lnTo>
                  <a:pt x="169572" y="649099"/>
                </a:lnTo>
                <a:lnTo>
                  <a:pt x="177175" y="653613"/>
                </a:lnTo>
                <a:lnTo>
                  <a:pt x="184778" y="657177"/>
                </a:lnTo>
                <a:lnTo>
                  <a:pt x="192856" y="659553"/>
                </a:lnTo>
                <a:lnTo>
                  <a:pt x="200934" y="661216"/>
                </a:lnTo>
                <a:lnTo>
                  <a:pt x="209250" y="661691"/>
                </a:lnTo>
                <a:lnTo>
                  <a:pt x="218278" y="661691"/>
                </a:lnTo>
                <a:lnTo>
                  <a:pt x="227069" y="660266"/>
                </a:lnTo>
                <a:lnTo>
                  <a:pt x="236335" y="658603"/>
                </a:lnTo>
                <a:lnTo>
                  <a:pt x="245838" y="655514"/>
                </a:lnTo>
                <a:lnTo>
                  <a:pt x="255580" y="652425"/>
                </a:lnTo>
                <a:lnTo>
                  <a:pt x="265321" y="647911"/>
                </a:lnTo>
                <a:lnTo>
                  <a:pt x="276013" y="642922"/>
                </a:lnTo>
                <a:lnTo>
                  <a:pt x="288367" y="635081"/>
                </a:lnTo>
                <a:lnTo>
                  <a:pt x="301910" y="627478"/>
                </a:lnTo>
                <a:lnTo>
                  <a:pt x="315215" y="620350"/>
                </a:lnTo>
                <a:lnTo>
                  <a:pt x="329471" y="613698"/>
                </a:lnTo>
                <a:lnTo>
                  <a:pt x="343726" y="607283"/>
                </a:lnTo>
                <a:lnTo>
                  <a:pt x="357981" y="602056"/>
                </a:lnTo>
                <a:lnTo>
                  <a:pt x="371999" y="597066"/>
                </a:lnTo>
                <a:lnTo>
                  <a:pt x="386730" y="592790"/>
                </a:lnTo>
                <a:lnTo>
                  <a:pt x="394808" y="590414"/>
                </a:lnTo>
                <a:lnTo>
                  <a:pt x="402411" y="587325"/>
                </a:lnTo>
                <a:lnTo>
                  <a:pt x="409064" y="583761"/>
                </a:lnTo>
                <a:lnTo>
                  <a:pt x="411677" y="581623"/>
                </a:lnTo>
                <a:lnTo>
                  <a:pt x="414766" y="579247"/>
                </a:lnTo>
                <a:lnTo>
                  <a:pt x="417142" y="577109"/>
                </a:lnTo>
                <a:lnTo>
                  <a:pt x="419280" y="574495"/>
                </a:lnTo>
                <a:lnTo>
                  <a:pt x="420943" y="571407"/>
                </a:lnTo>
                <a:lnTo>
                  <a:pt x="422844" y="568318"/>
                </a:lnTo>
                <a:lnTo>
                  <a:pt x="424269" y="565229"/>
                </a:lnTo>
                <a:lnTo>
                  <a:pt x="424982" y="561665"/>
                </a:lnTo>
                <a:lnTo>
                  <a:pt x="425457" y="557626"/>
                </a:lnTo>
                <a:lnTo>
                  <a:pt x="425932" y="553587"/>
                </a:lnTo>
                <a:lnTo>
                  <a:pt x="425932" y="413884"/>
                </a:lnTo>
                <a:lnTo>
                  <a:pt x="425932" y="285347"/>
                </a:lnTo>
                <a:lnTo>
                  <a:pt x="429496" y="300078"/>
                </a:lnTo>
                <a:lnTo>
                  <a:pt x="433060" y="314096"/>
                </a:lnTo>
                <a:lnTo>
                  <a:pt x="436149" y="328826"/>
                </a:lnTo>
                <a:lnTo>
                  <a:pt x="438762" y="343082"/>
                </a:lnTo>
                <a:lnTo>
                  <a:pt x="443752" y="370642"/>
                </a:lnTo>
                <a:lnTo>
                  <a:pt x="447791" y="397015"/>
                </a:lnTo>
                <a:lnTo>
                  <a:pt x="451830" y="421962"/>
                </a:lnTo>
                <a:lnTo>
                  <a:pt x="454919" y="446434"/>
                </a:lnTo>
                <a:lnTo>
                  <a:pt x="456106" y="458313"/>
                </a:lnTo>
                <a:lnTo>
                  <a:pt x="457057" y="470430"/>
                </a:lnTo>
                <a:lnTo>
                  <a:pt x="457532" y="482310"/>
                </a:lnTo>
                <a:lnTo>
                  <a:pt x="457532" y="493952"/>
                </a:lnTo>
                <a:lnTo>
                  <a:pt x="457532" y="506069"/>
                </a:lnTo>
                <a:lnTo>
                  <a:pt x="456582" y="517473"/>
                </a:lnTo>
                <a:lnTo>
                  <a:pt x="455869" y="529116"/>
                </a:lnTo>
                <a:lnTo>
                  <a:pt x="453968" y="540757"/>
                </a:lnTo>
                <a:lnTo>
                  <a:pt x="452305" y="552162"/>
                </a:lnTo>
                <a:lnTo>
                  <a:pt x="449454" y="563804"/>
                </a:lnTo>
                <a:lnTo>
                  <a:pt x="446365" y="575446"/>
                </a:lnTo>
                <a:lnTo>
                  <a:pt x="442326" y="586850"/>
                </a:lnTo>
                <a:lnTo>
                  <a:pt x="440188" y="591364"/>
                </a:lnTo>
                <a:lnTo>
                  <a:pt x="437574" y="595403"/>
                </a:lnTo>
                <a:lnTo>
                  <a:pt x="434486" y="598967"/>
                </a:lnTo>
                <a:lnTo>
                  <a:pt x="431397" y="602531"/>
                </a:lnTo>
                <a:lnTo>
                  <a:pt x="428071" y="605145"/>
                </a:lnTo>
                <a:lnTo>
                  <a:pt x="424982" y="607283"/>
                </a:lnTo>
                <a:lnTo>
                  <a:pt x="422369" y="608708"/>
                </a:lnTo>
                <a:lnTo>
                  <a:pt x="420230" y="609659"/>
                </a:lnTo>
                <a:lnTo>
                  <a:pt x="410727" y="610847"/>
                </a:lnTo>
                <a:lnTo>
                  <a:pt x="401461" y="612748"/>
                </a:lnTo>
                <a:lnTo>
                  <a:pt x="392670" y="614886"/>
                </a:lnTo>
                <a:lnTo>
                  <a:pt x="383641" y="617262"/>
                </a:lnTo>
                <a:lnTo>
                  <a:pt x="374850" y="620350"/>
                </a:lnTo>
                <a:lnTo>
                  <a:pt x="365822" y="623914"/>
                </a:lnTo>
                <a:lnTo>
                  <a:pt x="348478" y="631042"/>
                </a:lnTo>
                <a:lnTo>
                  <a:pt x="331609" y="639358"/>
                </a:lnTo>
                <a:lnTo>
                  <a:pt x="314740" y="647911"/>
                </a:lnTo>
                <a:lnTo>
                  <a:pt x="281240" y="665255"/>
                </a:lnTo>
                <a:lnTo>
                  <a:pt x="274587" y="669294"/>
                </a:lnTo>
                <a:lnTo>
                  <a:pt x="267935" y="672858"/>
                </a:lnTo>
                <a:lnTo>
                  <a:pt x="261757" y="675947"/>
                </a:lnTo>
                <a:lnTo>
                  <a:pt x="255105" y="679035"/>
                </a:lnTo>
                <a:lnTo>
                  <a:pt x="248927" y="681174"/>
                </a:lnTo>
                <a:lnTo>
                  <a:pt x="242987" y="683075"/>
                </a:lnTo>
                <a:lnTo>
                  <a:pt x="236810" y="684738"/>
                </a:lnTo>
                <a:lnTo>
                  <a:pt x="231108" y="686163"/>
                </a:lnTo>
                <a:lnTo>
                  <a:pt x="225406" y="687114"/>
                </a:lnTo>
                <a:lnTo>
                  <a:pt x="219466" y="687589"/>
                </a:lnTo>
                <a:lnTo>
                  <a:pt x="213764" y="687589"/>
                </a:lnTo>
                <a:lnTo>
                  <a:pt x="208299" y="687589"/>
                </a:lnTo>
                <a:lnTo>
                  <a:pt x="203072" y="687114"/>
                </a:lnTo>
                <a:lnTo>
                  <a:pt x="197607" y="686163"/>
                </a:lnTo>
                <a:lnTo>
                  <a:pt x="192380" y="684738"/>
                </a:lnTo>
                <a:lnTo>
                  <a:pt x="186916" y="683550"/>
                </a:lnTo>
                <a:lnTo>
                  <a:pt x="181689" y="681649"/>
                </a:lnTo>
                <a:lnTo>
                  <a:pt x="176699" y="679986"/>
                </a:lnTo>
                <a:lnTo>
                  <a:pt x="171472" y="677610"/>
                </a:lnTo>
                <a:lnTo>
                  <a:pt x="166483" y="674996"/>
                </a:lnTo>
                <a:lnTo>
                  <a:pt x="156742" y="669294"/>
                </a:lnTo>
                <a:lnTo>
                  <a:pt x="147001" y="662167"/>
                </a:lnTo>
                <a:lnTo>
                  <a:pt x="137735" y="654564"/>
                </a:lnTo>
                <a:lnTo>
                  <a:pt x="127756" y="645535"/>
                </a:lnTo>
                <a:lnTo>
                  <a:pt x="118490" y="636269"/>
                </a:lnTo>
                <a:lnTo>
                  <a:pt x="109224" y="626053"/>
                </a:lnTo>
                <a:lnTo>
                  <a:pt x="107323" y="623914"/>
                </a:lnTo>
                <a:lnTo>
                  <a:pt x="106135" y="620350"/>
                </a:lnTo>
                <a:lnTo>
                  <a:pt x="105185" y="616311"/>
                </a:lnTo>
                <a:lnTo>
                  <a:pt x="105185" y="612272"/>
                </a:lnTo>
                <a:lnTo>
                  <a:pt x="105185" y="608233"/>
                </a:lnTo>
                <a:lnTo>
                  <a:pt x="106135" y="604194"/>
                </a:lnTo>
                <a:lnTo>
                  <a:pt x="107323" y="600630"/>
                </a:lnTo>
                <a:lnTo>
                  <a:pt x="109224" y="598017"/>
                </a:lnTo>
                <a:lnTo>
                  <a:pt x="111837" y="591840"/>
                </a:lnTo>
                <a:lnTo>
                  <a:pt x="113975" y="586137"/>
                </a:lnTo>
                <a:lnTo>
                  <a:pt x="115401" y="579722"/>
                </a:lnTo>
                <a:lnTo>
                  <a:pt x="115876" y="574020"/>
                </a:lnTo>
                <a:lnTo>
                  <a:pt x="115876" y="568318"/>
                </a:lnTo>
                <a:lnTo>
                  <a:pt x="115401" y="562378"/>
                </a:lnTo>
                <a:lnTo>
                  <a:pt x="114451" y="557151"/>
                </a:lnTo>
                <a:lnTo>
                  <a:pt x="112788" y="551449"/>
                </a:lnTo>
                <a:lnTo>
                  <a:pt x="110412" y="545984"/>
                </a:lnTo>
                <a:lnTo>
                  <a:pt x="108273" y="540757"/>
                </a:lnTo>
                <a:lnTo>
                  <a:pt x="105185" y="535293"/>
                </a:lnTo>
                <a:lnTo>
                  <a:pt x="102096" y="530066"/>
                </a:lnTo>
                <a:lnTo>
                  <a:pt x="94968" y="519374"/>
                </a:lnTo>
                <a:lnTo>
                  <a:pt x="86890" y="508683"/>
                </a:lnTo>
                <a:lnTo>
                  <a:pt x="78812" y="497991"/>
                </a:lnTo>
                <a:lnTo>
                  <a:pt x="70972" y="486824"/>
                </a:lnTo>
                <a:lnTo>
                  <a:pt x="67408" y="481122"/>
                </a:lnTo>
                <a:lnTo>
                  <a:pt x="64319" y="474707"/>
                </a:lnTo>
                <a:lnTo>
                  <a:pt x="61230" y="469005"/>
                </a:lnTo>
                <a:lnTo>
                  <a:pt x="58379" y="462828"/>
                </a:lnTo>
                <a:lnTo>
                  <a:pt x="56716" y="456175"/>
                </a:lnTo>
                <a:lnTo>
                  <a:pt x="54815" y="449998"/>
                </a:lnTo>
                <a:lnTo>
                  <a:pt x="54103" y="443345"/>
                </a:lnTo>
                <a:lnTo>
                  <a:pt x="53627" y="436455"/>
                </a:lnTo>
                <a:lnTo>
                  <a:pt x="53627" y="429327"/>
                </a:lnTo>
                <a:lnTo>
                  <a:pt x="54815" y="422675"/>
                </a:lnTo>
                <a:lnTo>
                  <a:pt x="56716" y="415547"/>
                </a:lnTo>
                <a:lnTo>
                  <a:pt x="59330" y="408182"/>
                </a:lnTo>
                <a:lnTo>
                  <a:pt x="60280" y="403192"/>
                </a:lnTo>
                <a:lnTo>
                  <a:pt x="61943" y="397965"/>
                </a:lnTo>
                <a:lnTo>
                  <a:pt x="65507" y="387986"/>
                </a:lnTo>
                <a:lnTo>
                  <a:pt x="69546" y="378720"/>
                </a:lnTo>
                <a:lnTo>
                  <a:pt x="74535" y="369929"/>
                </a:lnTo>
                <a:lnTo>
                  <a:pt x="79762" y="360901"/>
                </a:lnTo>
                <a:lnTo>
                  <a:pt x="85940" y="352585"/>
                </a:lnTo>
                <a:lnTo>
                  <a:pt x="98057" y="335479"/>
                </a:lnTo>
                <a:lnTo>
                  <a:pt x="102571" y="328113"/>
                </a:lnTo>
                <a:lnTo>
                  <a:pt x="106848" y="320986"/>
                </a:lnTo>
                <a:lnTo>
                  <a:pt x="116827" y="307205"/>
                </a:lnTo>
                <a:lnTo>
                  <a:pt x="127043" y="293188"/>
                </a:lnTo>
                <a:lnTo>
                  <a:pt x="137735" y="279407"/>
                </a:lnTo>
                <a:lnTo>
                  <a:pt x="159831" y="251847"/>
                </a:lnTo>
                <a:lnTo>
                  <a:pt x="170522" y="238066"/>
                </a:lnTo>
                <a:lnTo>
                  <a:pt x="181214" y="223336"/>
                </a:lnTo>
                <a:lnTo>
                  <a:pt x="164820" y="223336"/>
                </a:lnTo>
                <a:lnTo>
                  <a:pt x="137972" y="230226"/>
                </a:lnTo>
                <a:lnTo>
                  <a:pt x="125142" y="233790"/>
                </a:lnTo>
                <a:lnTo>
                  <a:pt x="112788" y="237591"/>
                </a:lnTo>
                <a:lnTo>
                  <a:pt x="100195" y="241630"/>
                </a:lnTo>
                <a:lnTo>
                  <a:pt x="87840" y="245669"/>
                </a:lnTo>
                <a:lnTo>
                  <a:pt x="75723" y="250183"/>
                </a:lnTo>
                <a:lnTo>
                  <a:pt x="64319" y="254935"/>
                </a:lnTo>
                <a:lnTo>
                  <a:pt x="52677" y="260400"/>
                </a:lnTo>
                <a:lnTo>
                  <a:pt x="41035" y="265627"/>
                </a:lnTo>
                <a:lnTo>
                  <a:pt x="29868" y="271567"/>
                </a:lnTo>
                <a:lnTo>
                  <a:pt x="18939" y="277744"/>
                </a:lnTo>
                <a:lnTo>
                  <a:pt x="7772" y="284397"/>
                </a:lnTo>
                <a:lnTo>
                  <a:pt x="0" y="289924"/>
                </a:lnTo>
                <a:lnTo>
                  <a:pt x="0" y="895572"/>
                </a:lnTo>
                <a:lnTo>
                  <a:pt x="125653" y="895572"/>
                </a:lnTo>
                <a:lnTo>
                  <a:pt x="127756" y="892155"/>
                </a:lnTo>
                <a:lnTo>
                  <a:pt x="131082" y="885502"/>
                </a:lnTo>
                <a:lnTo>
                  <a:pt x="133696" y="878374"/>
                </a:lnTo>
                <a:lnTo>
                  <a:pt x="135834" y="871722"/>
                </a:lnTo>
                <a:lnTo>
                  <a:pt x="137735" y="864594"/>
                </a:lnTo>
                <a:lnTo>
                  <a:pt x="138923" y="857466"/>
                </a:lnTo>
                <a:lnTo>
                  <a:pt x="140348" y="850339"/>
                </a:lnTo>
                <a:lnTo>
                  <a:pt x="141298" y="843211"/>
                </a:lnTo>
                <a:lnTo>
                  <a:pt x="142011" y="828955"/>
                </a:lnTo>
                <a:lnTo>
                  <a:pt x="142486" y="814225"/>
                </a:lnTo>
                <a:lnTo>
                  <a:pt x="142486" y="799494"/>
                </a:lnTo>
                <a:lnTo>
                  <a:pt x="142486" y="782625"/>
                </a:lnTo>
                <a:lnTo>
                  <a:pt x="142486" y="771458"/>
                </a:lnTo>
                <a:lnTo>
                  <a:pt x="143912" y="778586"/>
                </a:lnTo>
                <a:lnTo>
                  <a:pt x="145100" y="784526"/>
                </a:lnTo>
                <a:lnTo>
                  <a:pt x="147476" y="789753"/>
                </a:lnTo>
                <a:lnTo>
                  <a:pt x="149614" y="794267"/>
                </a:lnTo>
                <a:lnTo>
                  <a:pt x="152228" y="797831"/>
                </a:lnTo>
                <a:lnTo>
                  <a:pt x="155554" y="801395"/>
                </a:lnTo>
                <a:lnTo>
                  <a:pt x="158643" y="803533"/>
                </a:lnTo>
                <a:lnTo>
                  <a:pt x="162206" y="805909"/>
                </a:lnTo>
                <a:lnTo>
                  <a:pt x="165770" y="807572"/>
                </a:lnTo>
                <a:lnTo>
                  <a:pt x="169572" y="808523"/>
                </a:lnTo>
                <a:lnTo>
                  <a:pt x="174086" y="809473"/>
                </a:lnTo>
                <a:lnTo>
                  <a:pt x="178600" y="810186"/>
                </a:lnTo>
                <a:lnTo>
                  <a:pt x="187866" y="810661"/>
                </a:lnTo>
                <a:lnTo>
                  <a:pt x="198083" y="810661"/>
                </a:lnTo>
                <a:lnTo>
                  <a:pt x="236810" y="810661"/>
                </a:lnTo>
                <a:lnTo>
                  <a:pt x="249640" y="811136"/>
                </a:lnTo>
                <a:lnTo>
                  <a:pt x="263183" y="811611"/>
                </a:lnTo>
                <a:lnTo>
                  <a:pt x="270310" y="811611"/>
                </a:lnTo>
                <a:lnTo>
                  <a:pt x="276963" y="811136"/>
                </a:lnTo>
                <a:lnTo>
                  <a:pt x="283140" y="810186"/>
                </a:lnTo>
                <a:lnTo>
                  <a:pt x="289793" y="808523"/>
                </a:lnTo>
                <a:lnTo>
                  <a:pt x="295495" y="806147"/>
                </a:lnTo>
                <a:lnTo>
                  <a:pt x="301435" y="803058"/>
                </a:lnTo>
                <a:lnTo>
                  <a:pt x="304524" y="801395"/>
                </a:lnTo>
                <a:lnTo>
                  <a:pt x="307137" y="799256"/>
                </a:lnTo>
                <a:lnTo>
                  <a:pt x="309275" y="796881"/>
                </a:lnTo>
                <a:lnTo>
                  <a:pt x="312126" y="794267"/>
                </a:lnTo>
                <a:lnTo>
                  <a:pt x="314265" y="791178"/>
                </a:lnTo>
                <a:lnTo>
                  <a:pt x="316403" y="788090"/>
                </a:lnTo>
                <a:lnTo>
                  <a:pt x="318304" y="784051"/>
                </a:lnTo>
                <a:lnTo>
                  <a:pt x="319967" y="780012"/>
                </a:lnTo>
                <a:lnTo>
                  <a:pt x="321868" y="775973"/>
                </a:lnTo>
                <a:lnTo>
                  <a:pt x="323056" y="771221"/>
                </a:lnTo>
                <a:lnTo>
                  <a:pt x="324481" y="765756"/>
                </a:lnTo>
                <a:lnTo>
                  <a:pt x="325907" y="760529"/>
                </a:lnTo>
                <a:lnTo>
                  <a:pt x="325907" y="827530"/>
                </a:lnTo>
                <a:lnTo>
                  <a:pt x="310226" y="835608"/>
                </a:lnTo>
                <a:lnTo>
                  <a:pt x="295970" y="843686"/>
                </a:lnTo>
                <a:lnTo>
                  <a:pt x="282665" y="850339"/>
                </a:lnTo>
                <a:lnTo>
                  <a:pt x="276488" y="852952"/>
                </a:lnTo>
                <a:lnTo>
                  <a:pt x="270310" y="855565"/>
                </a:lnTo>
                <a:lnTo>
                  <a:pt x="266271" y="857942"/>
                </a:lnTo>
                <a:lnTo>
                  <a:pt x="262708" y="860080"/>
                </a:lnTo>
                <a:lnTo>
                  <a:pt x="259619" y="862693"/>
                </a:lnTo>
                <a:lnTo>
                  <a:pt x="256768" y="865544"/>
                </a:lnTo>
                <a:lnTo>
                  <a:pt x="254154" y="868633"/>
                </a:lnTo>
                <a:lnTo>
                  <a:pt x="252491" y="871722"/>
                </a:lnTo>
                <a:lnTo>
                  <a:pt x="250590" y="874810"/>
                </a:lnTo>
                <a:lnTo>
                  <a:pt x="249402" y="877899"/>
                </a:lnTo>
                <a:lnTo>
                  <a:pt x="248452" y="880988"/>
                </a:lnTo>
                <a:lnTo>
                  <a:pt x="247977" y="884076"/>
                </a:lnTo>
                <a:lnTo>
                  <a:pt x="247977" y="887165"/>
                </a:lnTo>
                <a:lnTo>
                  <a:pt x="248452" y="890016"/>
                </a:lnTo>
                <a:lnTo>
                  <a:pt x="249402" y="893105"/>
                </a:lnTo>
                <a:lnTo>
                  <a:pt x="250075" y="895572"/>
                </a:lnTo>
                <a:lnTo>
                  <a:pt x="474750" y="895572"/>
                </a:lnTo>
                <a:lnTo>
                  <a:pt x="475827" y="894768"/>
                </a:lnTo>
                <a:lnTo>
                  <a:pt x="486993" y="882889"/>
                </a:lnTo>
                <a:lnTo>
                  <a:pt x="497210" y="870296"/>
                </a:lnTo>
                <a:lnTo>
                  <a:pt x="506951" y="857942"/>
                </a:lnTo>
                <a:lnTo>
                  <a:pt x="515742" y="844636"/>
                </a:lnTo>
                <a:lnTo>
                  <a:pt x="523820" y="831094"/>
                </a:lnTo>
                <a:lnTo>
                  <a:pt x="531898" y="816838"/>
                </a:lnTo>
                <a:lnTo>
                  <a:pt x="539026" y="802583"/>
                </a:lnTo>
                <a:lnTo>
                  <a:pt x="545678" y="788565"/>
                </a:lnTo>
                <a:lnTo>
                  <a:pt x="552331" y="773359"/>
                </a:lnTo>
                <a:lnTo>
                  <a:pt x="558033" y="758628"/>
                </a:lnTo>
                <a:lnTo>
                  <a:pt x="563498" y="743185"/>
                </a:lnTo>
                <a:lnTo>
                  <a:pt x="568725" y="727979"/>
                </a:lnTo>
                <a:lnTo>
                  <a:pt x="573714" y="712298"/>
                </a:lnTo>
                <a:lnTo>
                  <a:pt x="577991" y="696855"/>
                </a:lnTo>
                <a:lnTo>
                  <a:pt x="586544" y="665255"/>
                </a:lnTo>
                <a:lnTo>
                  <a:pt x="586069" y="663117"/>
                </a:lnTo>
                <a:lnTo>
                  <a:pt x="584881" y="660266"/>
                </a:lnTo>
                <a:lnTo>
                  <a:pt x="582980" y="657177"/>
                </a:lnTo>
                <a:lnTo>
                  <a:pt x="580367" y="654088"/>
                </a:lnTo>
                <a:lnTo>
                  <a:pt x="574902" y="647911"/>
                </a:lnTo>
                <a:lnTo>
                  <a:pt x="570150" y="642922"/>
                </a:lnTo>
                <a:lnTo>
                  <a:pt x="565636" y="636744"/>
                </a:lnTo>
                <a:lnTo>
                  <a:pt x="560647" y="631517"/>
                </a:lnTo>
                <a:lnTo>
                  <a:pt x="555420" y="626053"/>
                </a:lnTo>
                <a:lnTo>
                  <a:pt x="550193" y="621301"/>
                </a:lnTo>
                <a:lnTo>
                  <a:pt x="544253" y="616787"/>
                </a:lnTo>
                <a:lnTo>
                  <a:pt x="538075" y="612272"/>
                </a:lnTo>
                <a:lnTo>
                  <a:pt x="525721" y="603719"/>
                </a:lnTo>
                <a:lnTo>
                  <a:pt x="563023" y="619875"/>
                </a:lnTo>
                <a:lnTo>
                  <a:pt x="581317" y="628191"/>
                </a:lnTo>
                <a:lnTo>
                  <a:pt x="599374" y="636744"/>
                </a:lnTo>
                <a:lnTo>
                  <a:pt x="607927" y="641259"/>
                </a:lnTo>
                <a:lnTo>
                  <a:pt x="616718" y="646010"/>
                </a:lnTo>
                <a:lnTo>
                  <a:pt x="625271" y="651000"/>
                </a:lnTo>
                <a:lnTo>
                  <a:pt x="633349" y="656227"/>
                </a:lnTo>
                <a:lnTo>
                  <a:pt x="641665" y="662167"/>
                </a:lnTo>
                <a:lnTo>
                  <a:pt x="649268" y="668344"/>
                </a:lnTo>
                <a:lnTo>
                  <a:pt x="656871" y="674996"/>
                </a:lnTo>
                <a:lnTo>
                  <a:pt x="664474" y="682124"/>
                </a:lnTo>
                <a:lnTo>
                  <a:pt x="668988" y="686163"/>
                </a:lnTo>
                <a:lnTo>
                  <a:pt x="672790" y="690202"/>
                </a:lnTo>
                <a:lnTo>
                  <a:pt x="677304" y="693291"/>
                </a:lnTo>
                <a:lnTo>
                  <a:pt x="682293" y="696855"/>
                </a:lnTo>
                <a:lnTo>
                  <a:pt x="686570" y="699468"/>
                </a:lnTo>
                <a:lnTo>
                  <a:pt x="691559" y="702082"/>
                </a:lnTo>
                <a:lnTo>
                  <a:pt x="696549" y="703983"/>
                </a:lnTo>
                <a:lnTo>
                  <a:pt x="701300" y="705646"/>
                </a:lnTo>
                <a:lnTo>
                  <a:pt x="706290" y="707071"/>
                </a:lnTo>
                <a:lnTo>
                  <a:pt x="711042" y="708497"/>
                </a:lnTo>
                <a:lnTo>
                  <a:pt x="716506" y="708734"/>
                </a:lnTo>
                <a:lnTo>
                  <a:pt x="721258" y="708734"/>
                </a:lnTo>
                <a:lnTo>
                  <a:pt x="726723" y="708497"/>
                </a:lnTo>
                <a:lnTo>
                  <a:pt x="731712" y="707546"/>
                </a:lnTo>
                <a:lnTo>
                  <a:pt x="736939" y="706121"/>
                </a:lnTo>
                <a:lnTo>
                  <a:pt x="742166" y="704458"/>
                </a:lnTo>
                <a:lnTo>
                  <a:pt x="749294" y="702082"/>
                </a:lnTo>
                <a:lnTo>
                  <a:pt x="756184" y="699468"/>
                </a:lnTo>
                <a:lnTo>
                  <a:pt x="762361" y="696380"/>
                </a:lnTo>
                <a:lnTo>
                  <a:pt x="768063" y="692816"/>
                </a:lnTo>
                <a:lnTo>
                  <a:pt x="773528" y="689252"/>
                </a:lnTo>
                <a:lnTo>
                  <a:pt x="778755" y="684738"/>
                </a:lnTo>
                <a:lnTo>
                  <a:pt x="783269" y="680461"/>
                </a:lnTo>
                <a:lnTo>
                  <a:pt x="787308" y="674996"/>
                </a:lnTo>
                <a:lnTo>
                  <a:pt x="791110" y="669769"/>
                </a:lnTo>
                <a:lnTo>
                  <a:pt x="794436" y="663830"/>
                </a:lnTo>
                <a:lnTo>
                  <a:pt x="797050" y="657652"/>
                </a:lnTo>
                <a:lnTo>
                  <a:pt x="799188" y="651000"/>
                </a:lnTo>
                <a:lnTo>
                  <a:pt x="801089" y="643872"/>
                </a:lnTo>
                <a:lnTo>
                  <a:pt x="802277" y="636744"/>
                </a:lnTo>
                <a:lnTo>
                  <a:pt x="803227" y="628666"/>
                </a:lnTo>
                <a:lnTo>
                  <a:pt x="803227" y="620826"/>
                </a:lnTo>
                <a:lnTo>
                  <a:pt x="801089" y="622489"/>
                </a:lnTo>
                <a:lnTo>
                  <a:pt x="798238" y="623914"/>
                </a:lnTo>
                <a:lnTo>
                  <a:pt x="793011" y="626053"/>
                </a:lnTo>
                <a:lnTo>
                  <a:pt x="790397" y="627478"/>
                </a:lnTo>
                <a:lnTo>
                  <a:pt x="788496" y="628191"/>
                </a:lnTo>
                <a:lnTo>
                  <a:pt x="787308" y="630092"/>
                </a:lnTo>
                <a:lnTo>
                  <a:pt x="786833" y="631755"/>
                </a:lnTo>
                <a:lnTo>
                  <a:pt x="785408" y="635794"/>
                </a:lnTo>
                <a:lnTo>
                  <a:pt x="784220" y="639833"/>
                </a:lnTo>
                <a:lnTo>
                  <a:pt x="780656" y="646485"/>
                </a:lnTo>
                <a:lnTo>
                  <a:pt x="776617" y="653138"/>
                </a:lnTo>
                <a:lnTo>
                  <a:pt x="772103" y="659078"/>
                </a:lnTo>
                <a:lnTo>
                  <a:pt x="762361" y="670007"/>
                </a:lnTo>
                <a:lnTo>
                  <a:pt x="757847" y="675947"/>
                </a:lnTo>
                <a:lnTo>
                  <a:pt x="753333" y="682124"/>
                </a:lnTo>
                <a:lnTo>
                  <a:pt x="750244" y="684738"/>
                </a:lnTo>
                <a:lnTo>
                  <a:pt x="747155" y="687589"/>
                </a:lnTo>
                <a:lnTo>
                  <a:pt x="744067" y="689252"/>
                </a:lnTo>
                <a:lnTo>
                  <a:pt x="740978" y="690915"/>
                </a:lnTo>
                <a:lnTo>
                  <a:pt x="737890" y="691865"/>
                </a:lnTo>
                <a:lnTo>
                  <a:pt x="734801" y="692816"/>
                </a:lnTo>
                <a:lnTo>
                  <a:pt x="731950" y="693291"/>
                </a:lnTo>
                <a:lnTo>
                  <a:pt x="728861" y="693291"/>
                </a:lnTo>
                <a:lnTo>
                  <a:pt x="723634" y="692816"/>
                </a:lnTo>
                <a:lnTo>
                  <a:pt x="718169" y="691390"/>
                </a:lnTo>
                <a:lnTo>
                  <a:pt x="713418" y="689727"/>
                </a:lnTo>
                <a:lnTo>
                  <a:pt x="708903" y="687826"/>
                </a:lnTo>
                <a:lnTo>
                  <a:pt x="706765" y="687589"/>
                </a:lnTo>
                <a:lnTo>
                  <a:pt x="704864" y="687114"/>
                </a:lnTo>
                <a:lnTo>
                  <a:pt x="703201" y="686163"/>
                </a:lnTo>
                <a:lnTo>
                  <a:pt x="701776" y="684738"/>
                </a:lnTo>
                <a:lnTo>
                  <a:pt x="698687" y="681649"/>
                </a:lnTo>
                <a:lnTo>
                  <a:pt x="696549" y="678085"/>
                </a:lnTo>
                <a:lnTo>
                  <a:pt x="694648" y="673571"/>
                </a:lnTo>
                <a:lnTo>
                  <a:pt x="693460" y="668819"/>
                </a:lnTo>
                <a:lnTo>
                  <a:pt x="692510" y="664305"/>
                </a:lnTo>
                <a:lnTo>
                  <a:pt x="692510" y="659790"/>
                </a:lnTo>
                <a:lnTo>
                  <a:pt x="692510" y="647436"/>
                </a:lnTo>
                <a:lnTo>
                  <a:pt x="693460" y="635319"/>
                </a:lnTo>
                <a:lnTo>
                  <a:pt x="694173" y="624389"/>
                </a:lnTo>
                <a:lnTo>
                  <a:pt x="695598" y="612748"/>
                </a:lnTo>
                <a:lnTo>
                  <a:pt x="699162" y="591364"/>
                </a:lnTo>
                <a:lnTo>
                  <a:pt x="703676" y="570456"/>
                </a:lnTo>
                <a:lnTo>
                  <a:pt x="720070" y="574971"/>
                </a:lnTo>
                <a:lnTo>
                  <a:pt x="736939" y="579247"/>
                </a:lnTo>
                <a:lnTo>
                  <a:pt x="770677" y="589226"/>
                </a:lnTo>
                <a:lnTo>
                  <a:pt x="788021" y="593503"/>
                </a:lnTo>
                <a:lnTo>
                  <a:pt x="805365" y="597542"/>
                </a:lnTo>
                <a:lnTo>
                  <a:pt x="823660" y="601106"/>
                </a:lnTo>
                <a:lnTo>
                  <a:pt x="841954" y="603719"/>
                </a:lnTo>
                <a:lnTo>
                  <a:pt x="861437" y="606570"/>
                </a:lnTo>
                <a:lnTo>
                  <a:pt x="880682" y="608233"/>
                </a:lnTo>
                <a:lnTo>
                  <a:pt x="889948" y="608708"/>
                </a:lnTo>
                <a:lnTo>
                  <a:pt x="898976" y="608708"/>
                </a:lnTo>
                <a:lnTo>
                  <a:pt x="908242" y="608708"/>
                </a:lnTo>
                <a:lnTo>
                  <a:pt x="916795" y="608233"/>
                </a:lnTo>
                <a:lnTo>
                  <a:pt x="925586" y="607283"/>
                </a:lnTo>
                <a:lnTo>
                  <a:pt x="934140" y="606095"/>
                </a:lnTo>
                <a:lnTo>
                  <a:pt x="942455" y="604669"/>
                </a:lnTo>
                <a:lnTo>
                  <a:pt x="950533" y="603006"/>
                </a:lnTo>
                <a:lnTo>
                  <a:pt x="958611" y="600630"/>
                </a:lnTo>
                <a:lnTo>
                  <a:pt x="966452" y="598017"/>
                </a:lnTo>
                <a:lnTo>
                  <a:pt x="974055" y="595403"/>
                </a:lnTo>
                <a:lnTo>
                  <a:pt x="981658" y="591840"/>
                </a:lnTo>
                <a:lnTo>
                  <a:pt x="989261" y="588276"/>
                </a:lnTo>
                <a:lnTo>
                  <a:pt x="996388" y="584237"/>
                </a:lnTo>
                <a:lnTo>
                  <a:pt x="1003041" y="579247"/>
                </a:lnTo>
                <a:lnTo>
                  <a:pt x="1009694" y="574495"/>
                </a:lnTo>
                <a:lnTo>
                  <a:pt x="1016346" y="569031"/>
                </a:lnTo>
                <a:lnTo>
                  <a:pt x="1022998" y="562853"/>
                </a:lnTo>
                <a:lnTo>
                  <a:pt x="1029176" y="556676"/>
                </a:lnTo>
                <a:lnTo>
                  <a:pt x="1035116" y="549548"/>
                </a:lnTo>
                <a:lnTo>
                  <a:pt x="1040818" y="541945"/>
                </a:lnTo>
                <a:lnTo>
                  <a:pt x="1046520" y="534342"/>
                </a:lnTo>
                <a:lnTo>
                  <a:pt x="1051985" y="526027"/>
                </a:lnTo>
                <a:lnTo>
                  <a:pt x="1056737" y="516523"/>
                </a:lnTo>
                <a:lnTo>
                  <a:pt x="1061726" y="507257"/>
                </a:lnTo>
                <a:lnTo>
                  <a:pt x="1066715" y="497041"/>
                </a:lnTo>
                <a:lnTo>
                  <a:pt x="1070992" y="486349"/>
                </a:lnTo>
                <a:lnTo>
                  <a:pt x="1075506" y="475182"/>
                </a:lnTo>
                <a:lnTo>
                  <a:pt x="1079070" y="462828"/>
                </a:lnTo>
                <a:lnTo>
                  <a:pt x="1082634" y="449998"/>
                </a:lnTo>
                <a:lnTo>
                  <a:pt x="1084772" y="437405"/>
                </a:lnTo>
                <a:lnTo>
                  <a:pt x="1087148" y="425050"/>
                </a:lnTo>
                <a:lnTo>
                  <a:pt x="1088811" y="411983"/>
                </a:lnTo>
                <a:lnTo>
                  <a:pt x="1089762" y="399628"/>
                </a:lnTo>
                <a:lnTo>
                  <a:pt x="1090712" y="386798"/>
                </a:lnTo>
                <a:lnTo>
                  <a:pt x="1090712" y="373731"/>
                </a:lnTo>
                <a:lnTo>
                  <a:pt x="1090712" y="360901"/>
                </a:lnTo>
                <a:lnTo>
                  <a:pt x="1089762" y="348071"/>
                </a:lnTo>
                <a:lnTo>
                  <a:pt x="1088811" y="335004"/>
                </a:lnTo>
                <a:lnTo>
                  <a:pt x="1088099" y="321698"/>
                </a:lnTo>
                <a:lnTo>
                  <a:pt x="1084772" y="295563"/>
                </a:lnTo>
                <a:lnTo>
                  <a:pt x="1080971" y="268478"/>
                </a:lnTo>
                <a:lnTo>
                  <a:pt x="1078595" y="258262"/>
                </a:lnTo>
                <a:lnTo>
                  <a:pt x="1075981" y="248283"/>
                </a:lnTo>
                <a:lnTo>
                  <a:pt x="1072417" y="238542"/>
                </a:lnTo>
                <a:lnTo>
                  <a:pt x="1069329" y="229275"/>
                </a:lnTo>
                <a:lnTo>
                  <a:pt x="1061251" y="210031"/>
                </a:lnTo>
                <a:lnTo>
                  <a:pt x="1053173" y="190073"/>
                </a:lnTo>
                <a:lnTo>
                  <a:pt x="1051034" y="186034"/>
                </a:lnTo>
                <a:lnTo>
                  <a:pt x="1048896" y="182470"/>
                </a:lnTo>
                <a:lnTo>
                  <a:pt x="1046045" y="179381"/>
                </a:lnTo>
                <a:lnTo>
                  <a:pt x="1043906" y="176768"/>
                </a:lnTo>
                <a:lnTo>
                  <a:pt x="1041293" y="174630"/>
                </a:lnTo>
                <a:lnTo>
                  <a:pt x="1038680" y="172729"/>
                </a:lnTo>
                <a:lnTo>
                  <a:pt x="1035828" y="171303"/>
                </a:lnTo>
                <a:lnTo>
                  <a:pt x="1032740" y="170591"/>
                </a:lnTo>
                <a:lnTo>
                  <a:pt x="1030126" y="170591"/>
                </a:lnTo>
                <a:lnTo>
                  <a:pt x="1027038" y="170591"/>
                </a:lnTo>
                <a:lnTo>
                  <a:pt x="1024424" y="171303"/>
                </a:lnTo>
                <a:lnTo>
                  <a:pt x="1021335" y="172729"/>
                </a:lnTo>
                <a:lnTo>
                  <a:pt x="1018247" y="174867"/>
                </a:lnTo>
                <a:lnTo>
                  <a:pt x="1014920" y="177718"/>
                </a:lnTo>
                <a:lnTo>
                  <a:pt x="1011832" y="180807"/>
                </a:lnTo>
                <a:lnTo>
                  <a:pt x="1008743" y="184846"/>
                </a:lnTo>
                <a:lnTo>
                  <a:pt x="991874" y="201240"/>
                </a:lnTo>
                <a:lnTo>
                  <a:pt x="983321" y="209318"/>
                </a:lnTo>
                <a:lnTo>
                  <a:pt x="974530" y="216683"/>
                </a:lnTo>
                <a:lnTo>
                  <a:pt x="965739" y="223811"/>
                </a:lnTo>
                <a:lnTo>
                  <a:pt x="956236" y="230226"/>
                </a:lnTo>
                <a:lnTo>
                  <a:pt x="946494" y="235928"/>
                </a:lnTo>
                <a:lnTo>
                  <a:pt x="941505" y="238066"/>
                </a:lnTo>
                <a:lnTo>
                  <a:pt x="936753" y="240442"/>
                </a:lnTo>
                <a:lnTo>
                  <a:pt x="932239" y="242581"/>
                </a:lnTo>
                <a:lnTo>
                  <a:pt x="928675" y="245669"/>
                </a:lnTo>
                <a:lnTo>
                  <a:pt x="925111" y="249233"/>
                </a:lnTo>
                <a:lnTo>
                  <a:pt x="922022" y="252797"/>
                </a:lnTo>
                <a:lnTo>
                  <a:pt x="919884" y="257311"/>
                </a:lnTo>
                <a:lnTo>
                  <a:pt x="918934" y="259925"/>
                </a:lnTo>
                <a:lnTo>
                  <a:pt x="918459" y="262538"/>
                </a:lnTo>
                <a:lnTo>
                  <a:pt x="918459" y="265389"/>
                </a:lnTo>
                <a:lnTo>
                  <a:pt x="918459" y="268003"/>
                </a:lnTo>
                <a:lnTo>
                  <a:pt x="918934" y="271091"/>
                </a:lnTo>
                <a:lnTo>
                  <a:pt x="919884" y="274180"/>
                </a:lnTo>
                <a:lnTo>
                  <a:pt x="921547" y="282258"/>
                </a:lnTo>
                <a:lnTo>
                  <a:pt x="922973" y="290574"/>
                </a:lnTo>
                <a:lnTo>
                  <a:pt x="923923" y="299127"/>
                </a:lnTo>
                <a:lnTo>
                  <a:pt x="924161" y="307443"/>
                </a:lnTo>
                <a:lnTo>
                  <a:pt x="924161" y="315996"/>
                </a:lnTo>
                <a:lnTo>
                  <a:pt x="923923" y="324550"/>
                </a:lnTo>
                <a:lnTo>
                  <a:pt x="922973" y="332865"/>
                </a:lnTo>
                <a:lnTo>
                  <a:pt x="922022" y="340943"/>
                </a:lnTo>
                <a:lnTo>
                  <a:pt x="920597" y="349259"/>
                </a:lnTo>
                <a:lnTo>
                  <a:pt x="918934" y="357812"/>
                </a:lnTo>
                <a:lnTo>
                  <a:pt x="914420" y="374681"/>
                </a:lnTo>
                <a:lnTo>
                  <a:pt x="909192" y="391075"/>
                </a:lnTo>
                <a:lnTo>
                  <a:pt x="903253" y="408182"/>
                </a:lnTo>
                <a:lnTo>
                  <a:pt x="903253" y="397965"/>
                </a:lnTo>
                <a:lnTo>
                  <a:pt x="904203" y="387274"/>
                </a:lnTo>
                <a:lnTo>
                  <a:pt x="906104" y="367078"/>
                </a:lnTo>
                <a:lnTo>
                  <a:pt x="907767" y="347596"/>
                </a:lnTo>
                <a:lnTo>
                  <a:pt x="908717" y="338567"/>
                </a:lnTo>
                <a:lnTo>
                  <a:pt x="908717" y="329777"/>
                </a:lnTo>
                <a:lnTo>
                  <a:pt x="908717" y="325738"/>
                </a:lnTo>
                <a:lnTo>
                  <a:pt x="907767" y="322649"/>
                </a:lnTo>
                <a:lnTo>
                  <a:pt x="906817" y="319560"/>
                </a:lnTo>
                <a:lnTo>
                  <a:pt x="905154" y="316471"/>
                </a:lnTo>
                <a:lnTo>
                  <a:pt x="903728" y="314096"/>
                </a:lnTo>
                <a:lnTo>
                  <a:pt x="901590" y="311957"/>
                </a:lnTo>
                <a:lnTo>
                  <a:pt x="897551" y="307443"/>
                </a:lnTo>
                <a:lnTo>
                  <a:pt x="895412" y="309344"/>
                </a:lnTo>
                <a:lnTo>
                  <a:pt x="892561" y="310769"/>
                </a:lnTo>
                <a:lnTo>
                  <a:pt x="887334" y="313383"/>
                </a:lnTo>
                <a:lnTo>
                  <a:pt x="884721" y="314096"/>
                </a:lnTo>
                <a:lnTo>
                  <a:pt x="882820" y="315521"/>
                </a:lnTo>
                <a:lnTo>
                  <a:pt x="881632" y="316947"/>
                </a:lnTo>
                <a:lnTo>
                  <a:pt x="881157" y="318610"/>
                </a:lnTo>
                <a:lnTo>
                  <a:pt x="872604" y="331915"/>
                </a:lnTo>
                <a:lnTo>
                  <a:pt x="864288" y="346646"/>
                </a:lnTo>
                <a:lnTo>
                  <a:pt x="856210" y="361376"/>
                </a:lnTo>
                <a:lnTo>
                  <a:pt x="847656" y="374681"/>
                </a:lnTo>
                <a:lnTo>
                  <a:pt x="841954" y="374681"/>
                </a:lnTo>
                <a:lnTo>
                  <a:pt x="846468" y="357812"/>
                </a:lnTo>
                <a:lnTo>
                  <a:pt x="850508" y="339518"/>
                </a:lnTo>
                <a:lnTo>
                  <a:pt x="854784" y="319560"/>
                </a:lnTo>
                <a:lnTo>
                  <a:pt x="858823" y="296514"/>
                </a:lnTo>
                <a:lnTo>
                  <a:pt x="848132" y="303879"/>
                </a:lnTo>
                <a:lnTo>
                  <a:pt x="840054" y="310294"/>
                </a:lnTo>
                <a:lnTo>
                  <a:pt x="833163" y="316947"/>
                </a:lnTo>
                <a:lnTo>
                  <a:pt x="825560" y="324550"/>
                </a:lnTo>
                <a:lnTo>
                  <a:pt x="823185" y="326688"/>
                </a:lnTo>
                <a:lnTo>
                  <a:pt x="821522" y="329301"/>
                </a:lnTo>
                <a:lnTo>
                  <a:pt x="817007" y="335954"/>
                </a:lnTo>
                <a:lnTo>
                  <a:pt x="812968" y="344032"/>
                </a:lnTo>
                <a:lnTo>
                  <a:pt x="808929" y="352585"/>
                </a:lnTo>
                <a:lnTo>
                  <a:pt x="809880" y="343557"/>
                </a:lnTo>
                <a:lnTo>
                  <a:pt x="811305" y="335479"/>
                </a:lnTo>
                <a:lnTo>
                  <a:pt x="812493" y="328826"/>
                </a:lnTo>
                <a:lnTo>
                  <a:pt x="814394" y="323124"/>
                </a:lnTo>
                <a:lnTo>
                  <a:pt x="816532" y="317659"/>
                </a:lnTo>
                <a:lnTo>
                  <a:pt x="819146" y="313383"/>
                </a:lnTo>
                <a:lnTo>
                  <a:pt x="822709" y="309344"/>
                </a:lnTo>
                <a:lnTo>
                  <a:pt x="826748" y="306255"/>
                </a:lnTo>
                <a:lnTo>
                  <a:pt x="832213" y="303166"/>
                </a:lnTo>
                <a:lnTo>
                  <a:pt x="838390" y="300315"/>
                </a:lnTo>
                <a:lnTo>
                  <a:pt x="845518" y="298177"/>
                </a:lnTo>
                <a:lnTo>
                  <a:pt x="854071" y="295563"/>
                </a:lnTo>
                <a:lnTo>
                  <a:pt x="875217" y="290574"/>
                </a:lnTo>
                <a:lnTo>
                  <a:pt x="903253" y="285347"/>
                </a:lnTo>
                <a:lnTo>
                  <a:pt x="886384" y="268478"/>
                </a:lnTo>
                <a:lnTo>
                  <a:pt x="879731" y="270141"/>
                </a:lnTo>
                <a:lnTo>
                  <a:pt x="873079" y="271091"/>
                </a:lnTo>
                <a:lnTo>
                  <a:pt x="867376" y="271567"/>
                </a:lnTo>
                <a:lnTo>
                  <a:pt x="862387" y="271091"/>
                </a:lnTo>
                <a:lnTo>
                  <a:pt x="857398" y="269666"/>
                </a:lnTo>
                <a:lnTo>
                  <a:pt x="853596" y="268003"/>
                </a:lnTo>
                <a:lnTo>
                  <a:pt x="849557" y="265627"/>
                </a:lnTo>
                <a:lnTo>
                  <a:pt x="846468" y="262538"/>
                </a:lnTo>
                <a:lnTo>
                  <a:pt x="843380" y="259450"/>
                </a:lnTo>
                <a:lnTo>
                  <a:pt x="840529" y="255411"/>
                </a:lnTo>
                <a:lnTo>
                  <a:pt x="838390" y="251134"/>
                </a:lnTo>
                <a:lnTo>
                  <a:pt x="836490" y="246620"/>
                </a:lnTo>
                <a:lnTo>
                  <a:pt x="834827" y="241155"/>
                </a:lnTo>
                <a:lnTo>
                  <a:pt x="833401" y="235453"/>
                </a:lnTo>
                <a:lnTo>
                  <a:pt x="831263" y="223336"/>
                </a:lnTo>
                <a:lnTo>
                  <a:pt x="897551" y="206942"/>
                </a:lnTo>
                <a:lnTo>
                  <a:pt x="888997" y="194112"/>
                </a:lnTo>
                <a:lnTo>
                  <a:pt x="880682" y="181282"/>
                </a:lnTo>
                <a:lnTo>
                  <a:pt x="871416" y="168690"/>
                </a:lnTo>
                <a:lnTo>
                  <a:pt x="866901" y="162988"/>
                </a:lnTo>
                <a:lnTo>
                  <a:pt x="861437" y="157048"/>
                </a:lnTo>
                <a:lnTo>
                  <a:pt x="856210" y="151821"/>
                </a:lnTo>
                <a:lnTo>
                  <a:pt x="850745" y="146831"/>
                </a:lnTo>
                <a:lnTo>
                  <a:pt x="844568" y="142555"/>
                </a:lnTo>
                <a:lnTo>
                  <a:pt x="838390" y="138516"/>
                </a:lnTo>
                <a:lnTo>
                  <a:pt x="831738" y="134952"/>
                </a:lnTo>
                <a:lnTo>
                  <a:pt x="824610" y="132338"/>
                </a:lnTo>
                <a:lnTo>
                  <a:pt x="817007" y="129963"/>
                </a:lnTo>
                <a:lnTo>
                  <a:pt x="808929" y="128774"/>
                </a:lnTo>
                <a:lnTo>
                  <a:pt x="806791" y="128299"/>
                </a:lnTo>
                <a:lnTo>
                  <a:pt x="804652" y="127824"/>
                </a:lnTo>
                <a:lnTo>
                  <a:pt x="802752" y="126399"/>
                </a:lnTo>
                <a:lnTo>
                  <a:pt x="801089" y="125211"/>
                </a:lnTo>
                <a:lnTo>
                  <a:pt x="799663" y="123310"/>
                </a:lnTo>
                <a:lnTo>
                  <a:pt x="798713" y="121647"/>
                </a:lnTo>
                <a:lnTo>
                  <a:pt x="798000" y="119271"/>
                </a:lnTo>
                <a:lnTo>
                  <a:pt x="798000" y="117608"/>
                </a:lnTo>
                <a:lnTo>
                  <a:pt x="785408" y="106916"/>
                </a:lnTo>
                <a:lnTo>
                  <a:pt x="772578" y="95749"/>
                </a:lnTo>
                <a:lnTo>
                  <a:pt x="747155" y="72703"/>
                </a:lnTo>
                <a:lnTo>
                  <a:pt x="733850" y="61061"/>
                </a:lnTo>
                <a:lnTo>
                  <a:pt x="720545" y="49894"/>
                </a:lnTo>
                <a:lnTo>
                  <a:pt x="706765" y="38728"/>
                </a:lnTo>
                <a:lnTo>
                  <a:pt x="692510" y="28036"/>
                </a:lnTo>
                <a:lnTo>
                  <a:pt x="679442" y="21859"/>
                </a:lnTo>
                <a:lnTo>
                  <a:pt x="666137" y="16632"/>
                </a:lnTo>
                <a:lnTo>
                  <a:pt x="652832" y="11642"/>
                </a:lnTo>
                <a:lnTo>
                  <a:pt x="639527" y="7603"/>
                </a:lnTo>
                <a:lnTo>
                  <a:pt x="626222" y="4514"/>
                </a:lnTo>
                <a:lnTo>
                  <a:pt x="612917" y="1901"/>
                </a:lnTo>
                <a:lnTo>
                  <a:pt x="599374" y="475"/>
                </a:lnTo>
                <a:close/>
              </a:path>
            </a:pathLst>
          </a:custGeom>
          <a:solidFill>
            <a:schemeClr val="bg1">
              <a:alpha val="25000"/>
            </a:schemeClr>
          </a:solidFill>
          <a:ln>
            <a:noFill/>
          </a:ln>
        </p:spPr>
        <p:txBody>
          <a:bodyPr vert="horz" wrap="square" lIns="91440" tIns="45720" rIns="91440" bIns="45720" numCol="1" anchor="t" anchorCtr="0" compatLnSpc="1">
            <a:prstTxWarp prst="textNoShape">
              <a:avLst/>
            </a:prstTxWarp>
            <a:noAutofit/>
          </a:bodyPr>
          <a:lstStyle/>
          <a:p>
            <a:endParaRPr lang="en-IN"/>
          </a:p>
        </p:txBody>
      </p:sp>
      <p:sp>
        <p:nvSpPr>
          <p:cNvPr id="7" name="Rectangle 6"/>
          <p:cNvSpPr/>
          <p:nvPr/>
        </p:nvSpPr>
        <p:spPr>
          <a:xfrm>
            <a:off x="9108" y="1237136"/>
            <a:ext cx="5325034" cy="1588127"/>
          </a:xfrm>
          <a:prstGeom prst="rect">
            <a:avLst/>
          </a:prstGeom>
        </p:spPr>
        <p:txBody>
          <a:bodyPr wrap="square" lIns="274320">
            <a:spAutoFit/>
          </a:bodyPr>
          <a:lstStyle/>
          <a:p>
            <a:pPr defTabSz="932472" fontAlgn="base">
              <a:lnSpc>
                <a:spcPct val="90000"/>
              </a:lnSpc>
              <a:spcBef>
                <a:spcPct val="0"/>
              </a:spcBef>
              <a:spcAft>
                <a:spcPct val="0"/>
              </a:spcAft>
            </a:pPr>
            <a:r>
              <a:rPr lang="en-US" sz="5400" dirty="0" smtClean="0">
                <a:solidFill>
                  <a:schemeClr val="bg1"/>
                </a:solidFill>
                <a:latin typeface="+mj-lt"/>
                <a:ea typeface="Segoe UI" pitchFamily="34" charset="0"/>
                <a:cs typeface="Segoe UI" pitchFamily="34" charset="0"/>
              </a:rPr>
              <a:t>Visual Studio Tooling</a:t>
            </a:r>
            <a:endParaRPr lang="en-US" sz="5400" dirty="0">
              <a:solidFill>
                <a:schemeClr val="bg1"/>
              </a:solidFill>
              <a:latin typeface="+mj-lt"/>
              <a:ea typeface="Segoe UI" pitchFamily="34" charset="0"/>
              <a:cs typeface="Segoe UI" pitchFamily="34" charset="0"/>
            </a:endParaRPr>
          </a:p>
        </p:txBody>
      </p:sp>
      <p:sp>
        <p:nvSpPr>
          <p:cNvPr id="2" name="Slide Number Placeholder 1"/>
          <p:cNvSpPr>
            <a:spLocks noGrp="1"/>
          </p:cNvSpPr>
          <p:nvPr>
            <p:ph type="sldNum" sz="quarter" idx="11"/>
          </p:nvPr>
        </p:nvSpPr>
        <p:spPr/>
        <p:txBody>
          <a:bodyPr/>
          <a:lstStyle/>
          <a:p>
            <a:pPr>
              <a:defRPr/>
            </a:pPr>
            <a:fld id="{F8A0AC42-AA1D-4944-8D96-660DE70C7E1B}" type="slidenum">
              <a:rPr lang="en-IN" smtClean="0"/>
              <a:pPr>
                <a:defRPr/>
              </a:pPr>
              <a:t>19</a:t>
            </a:fld>
            <a:endParaRPr lang="en-IN" dirty="0"/>
          </a:p>
        </p:txBody>
      </p:sp>
    </p:spTree>
    <p:extLst>
      <p:ext uri="{BB962C8B-B14F-4D97-AF65-F5344CB8AC3E}">
        <p14:creationId xmlns:p14="http://schemas.microsoft.com/office/powerpoint/2010/main" val="3036016559"/>
      </p:ext>
    </p:extLst>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0"/>
            <a:ext cx="5325035" cy="6994525"/>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5400" dirty="0" smtClean="0">
              <a:solidFill>
                <a:schemeClr val="bg1"/>
              </a:solidFill>
              <a:latin typeface="+mj-lt"/>
              <a:ea typeface="Segoe UI" pitchFamily="34" charset="0"/>
              <a:cs typeface="Segoe UI" pitchFamily="34" charset="0"/>
            </a:endParaRPr>
          </a:p>
          <a:p>
            <a:pPr defTabSz="932472" fontAlgn="base">
              <a:lnSpc>
                <a:spcPct val="90000"/>
              </a:lnSpc>
              <a:spcBef>
                <a:spcPct val="0"/>
              </a:spcBef>
              <a:spcAft>
                <a:spcPct val="0"/>
              </a:spcAft>
            </a:pPr>
            <a:endParaRPr lang="en-US" sz="5400" dirty="0">
              <a:solidFill>
                <a:schemeClr val="bg1"/>
              </a:solidFill>
              <a:latin typeface="+mj-lt"/>
              <a:ea typeface="Segoe UI" pitchFamily="34" charset="0"/>
              <a:cs typeface="Segoe UI" pitchFamily="34" charset="0"/>
            </a:endParaRPr>
          </a:p>
        </p:txBody>
      </p:sp>
      <p:sp>
        <p:nvSpPr>
          <p:cNvPr id="4" name="TextBox 3"/>
          <p:cNvSpPr txBox="1"/>
          <p:nvPr/>
        </p:nvSpPr>
        <p:spPr>
          <a:xfrm>
            <a:off x="5325034" y="1308536"/>
            <a:ext cx="6684403" cy="1874520"/>
          </a:xfrm>
          <a:prstGeom prst="rect">
            <a:avLst/>
          </a:prstGeom>
          <a:noFill/>
        </p:spPr>
        <p:txBody>
          <a:bodyPr wrap="square" lIns="274320" tIns="146304" rIns="182880" bIns="146304" rtlCol="0">
            <a:noAutofit/>
          </a:bodyPr>
          <a:lstStyle/>
          <a:p>
            <a:pPr marL="53975" lvl="1" defTabSz="932133" fontAlgn="base">
              <a:spcBef>
                <a:spcPts val="1200"/>
              </a:spcBef>
              <a:buClr>
                <a:schemeClr val="accent3">
                  <a:lumMod val="50000"/>
                </a:schemeClr>
              </a:buClr>
            </a:pPr>
            <a:r>
              <a:rPr lang="en-US" sz="3200" dirty="0" smtClean="0">
                <a:ln>
                  <a:solidFill>
                    <a:srgbClr val="FFFFFF">
                      <a:alpha val="0"/>
                    </a:srgbClr>
                  </a:solidFill>
                </a:ln>
                <a:solidFill>
                  <a:schemeClr val="accent3"/>
                </a:solidFill>
                <a:latin typeface="+mj-lt"/>
                <a:ea typeface="Segoe UI" pitchFamily="34" charset="0"/>
                <a:cs typeface="Segoe UI" pitchFamily="34" charset="0"/>
              </a:rPr>
              <a:t>Prerequisites</a:t>
            </a:r>
          </a:p>
          <a:p>
            <a:pPr marL="569913" lvl="1" indent="-457200" defTabSz="932133" fontAlgn="base">
              <a:buClr>
                <a:schemeClr val="accent3">
                  <a:lumMod val="50000"/>
                </a:schemeClr>
              </a:buClr>
              <a:buBlip>
                <a:blip r:embed="rId2"/>
              </a:buBlip>
            </a:pPr>
            <a:r>
              <a:rPr lang="en-US" sz="24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Blob storage concepts</a:t>
            </a:r>
          </a:p>
          <a:p>
            <a:pPr marL="569913" lvl="1" indent="-457200" defTabSz="932133" fontAlgn="base">
              <a:buClr>
                <a:schemeClr val="accent3">
                  <a:lumMod val="50000"/>
                </a:schemeClr>
              </a:buClr>
              <a:buBlip>
                <a:blip r:embed="rId2"/>
              </a:buBlip>
            </a:pPr>
            <a:r>
              <a:rPr lang="en-US" sz="24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Data </a:t>
            </a:r>
            <a:r>
              <a:rPr lang="en-US"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types and </a:t>
            </a:r>
            <a:r>
              <a:rPr lang="en-US" sz="24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sources</a:t>
            </a:r>
            <a:endParaRPr lang="en-US"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pPr marL="569913" lvl="1" indent="-457200" defTabSz="932133" fontAlgn="base">
              <a:buClr>
                <a:schemeClr val="accent3">
                  <a:lumMod val="50000"/>
                </a:schemeClr>
              </a:buClr>
              <a:buBlip>
                <a:blip r:embed="rId2"/>
              </a:buBlip>
            </a:pPr>
            <a:r>
              <a:rPr lang="en-US"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erformance and </a:t>
            </a:r>
            <a:r>
              <a:rPr lang="en-US" sz="24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scalability</a:t>
            </a:r>
            <a:endParaRPr lang="en-US"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p:txBody>
      </p:sp>
      <p:sp>
        <p:nvSpPr>
          <p:cNvPr id="5" name="Rectangle 4"/>
          <p:cNvSpPr/>
          <p:nvPr/>
        </p:nvSpPr>
        <p:spPr bwMode="auto">
          <a:xfrm>
            <a:off x="0" y="6445885"/>
            <a:ext cx="5325035" cy="54864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rPr>
              <a:t>Tools</a:t>
            </a:r>
          </a:p>
        </p:txBody>
      </p:sp>
      <p:sp>
        <p:nvSpPr>
          <p:cNvPr id="6" name="Freeform 5"/>
          <p:cNvSpPr>
            <a:spLocks/>
          </p:cNvSpPr>
          <p:nvPr/>
        </p:nvSpPr>
        <p:spPr bwMode="auto">
          <a:xfrm flipH="1">
            <a:off x="2671625" y="4267200"/>
            <a:ext cx="2653409" cy="2178685"/>
          </a:xfrm>
          <a:custGeom>
            <a:avLst/>
            <a:gdLst>
              <a:gd name="connsiteX0" fmla="*/ 603413 w 1090712"/>
              <a:gd name="connsiteY0" fmla="*/ 721327 h 895572"/>
              <a:gd name="connsiteX1" fmla="*/ 578466 w 1090712"/>
              <a:gd name="connsiteY1" fmla="*/ 770746 h 895572"/>
              <a:gd name="connsiteX2" fmla="*/ 553519 w 1090712"/>
              <a:gd name="connsiteY2" fmla="*/ 818264 h 895572"/>
              <a:gd name="connsiteX3" fmla="*/ 528334 w 1090712"/>
              <a:gd name="connsiteY3" fmla="*/ 865069 h 895572"/>
              <a:gd name="connsiteX4" fmla="*/ 511825 w 1090712"/>
              <a:gd name="connsiteY4" fmla="*/ 895572 h 895572"/>
              <a:gd name="connsiteX5" fmla="*/ 624528 w 1090712"/>
              <a:gd name="connsiteY5" fmla="*/ 895572 h 895572"/>
              <a:gd name="connsiteX6" fmla="*/ 624796 w 1090712"/>
              <a:gd name="connsiteY6" fmla="*/ 894768 h 895572"/>
              <a:gd name="connsiteX7" fmla="*/ 625271 w 1090712"/>
              <a:gd name="connsiteY7" fmla="*/ 891679 h 895572"/>
              <a:gd name="connsiteX8" fmla="*/ 625747 w 1090712"/>
              <a:gd name="connsiteY8" fmla="*/ 889066 h 895572"/>
              <a:gd name="connsiteX9" fmla="*/ 625747 w 1090712"/>
              <a:gd name="connsiteY9" fmla="*/ 860555 h 895572"/>
              <a:gd name="connsiteX10" fmla="*/ 624796 w 1090712"/>
              <a:gd name="connsiteY10" fmla="*/ 833945 h 895572"/>
              <a:gd name="connsiteX11" fmla="*/ 624321 w 1090712"/>
              <a:gd name="connsiteY11" fmla="*/ 820877 h 895572"/>
              <a:gd name="connsiteX12" fmla="*/ 623608 w 1090712"/>
              <a:gd name="connsiteY12" fmla="*/ 808047 h 895572"/>
              <a:gd name="connsiteX13" fmla="*/ 621708 w 1090712"/>
              <a:gd name="connsiteY13" fmla="*/ 795218 h 895572"/>
              <a:gd name="connsiteX14" fmla="*/ 620044 w 1090712"/>
              <a:gd name="connsiteY14" fmla="*/ 782625 h 895572"/>
              <a:gd name="connsiteX15" fmla="*/ 616005 w 1090712"/>
              <a:gd name="connsiteY15" fmla="*/ 766707 h 895572"/>
              <a:gd name="connsiteX16" fmla="*/ 611966 w 1090712"/>
              <a:gd name="connsiteY16" fmla="*/ 751976 h 895572"/>
              <a:gd name="connsiteX17" fmla="*/ 607452 w 1090712"/>
              <a:gd name="connsiteY17" fmla="*/ 737245 h 895572"/>
              <a:gd name="connsiteX18" fmla="*/ 698212 w 1090712"/>
              <a:gd name="connsiteY18" fmla="*/ 530778 h 895572"/>
              <a:gd name="connsiteX19" fmla="*/ 693460 w 1090712"/>
              <a:gd name="connsiteY19" fmla="*/ 534818 h 895572"/>
              <a:gd name="connsiteX20" fmla="*/ 688471 w 1090712"/>
              <a:gd name="connsiteY20" fmla="*/ 538857 h 895572"/>
              <a:gd name="connsiteX21" fmla="*/ 678254 w 1090712"/>
              <a:gd name="connsiteY21" fmla="*/ 546935 h 895572"/>
              <a:gd name="connsiteX22" fmla="*/ 669226 w 1090712"/>
              <a:gd name="connsiteY22" fmla="*/ 553587 h 895572"/>
              <a:gd name="connsiteX23" fmla="*/ 663048 w 1090712"/>
              <a:gd name="connsiteY23" fmla="*/ 558814 h 895572"/>
              <a:gd name="connsiteX24" fmla="*/ 663048 w 1090712"/>
              <a:gd name="connsiteY24" fmla="*/ 556676 h 895572"/>
              <a:gd name="connsiteX25" fmla="*/ 663523 w 1090712"/>
              <a:gd name="connsiteY25" fmla="*/ 554538 h 895572"/>
              <a:gd name="connsiteX26" fmla="*/ 665424 w 1090712"/>
              <a:gd name="connsiteY26" fmla="*/ 550498 h 895572"/>
              <a:gd name="connsiteX27" fmla="*/ 668038 w 1090712"/>
              <a:gd name="connsiteY27" fmla="*/ 546459 h 895572"/>
              <a:gd name="connsiteX28" fmla="*/ 671602 w 1090712"/>
              <a:gd name="connsiteY28" fmla="*/ 542420 h 895572"/>
              <a:gd name="connsiteX29" fmla="*/ 676829 w 1090712"/>
              <a:gd name="connsiteY29" fmla="*/ 538857 h 895572"/>
              <a:gd name="connsiteX30" fmla="*/ 682768 w 1090712"/>
              <a:gd name="connsiteY30" fmla="*/ 535768 h 895572"/>
              <a:gd name="connsiteX31" fmla="*/ 689896 w 1090712"/>
              <a:gd name="connsiteY31" fmla="*/ 533154 h 895572"/>
              <a:gd name="connsiteX32" fmla="*/ 654257 w 1090712"/>
              <a:gd name="connsiteY32" fmla="*/ 302216 h 895572"/>
              <a:gd name="connsiteX33" fmla="*/ 651882 w 1090712"/>
              <a:gd name="connsiteY33" fmla="*/ 302691 h 895572"/>
              <a:gd name="connsiteX34" fmla="*/ 649268 w 1090712"/>
              <a:gd name="connsiteY34" fmla="*/ 303166 h 895572"/>
              <a:gd name="connsiteX35" fmla="*/ 647130 w 1090712"/>
              <a:gd name="connsiteY35" fmla="*/ 304354 h 895572"/>
              <a:gd name="connsiteX36" fmla="*/ 644516 w 1090712"/>
              <a:gd name="connsiteY36" fmla="*/ 306255 h 895572"/>
              <a:gd name="connsiteX37" fmla="*/ 642140 w 1090712"/>
              <a:gd name="connsiteY37" fmla="*/ 307918 h 895572"/>
              <a:gd name="connsiteX38" fmla="*/ 640002 w 1090712"/>
              <a:gd name="connsiteY38" fmla="*/ 310294 h 895572"/>
              <a:gd name="connsiteX39" fmla="*/ 638101 w 1090712"/>
              <a:gd name="connsiteY39" fmla="*/ 312432 h 895572"/>
              <a:gd name="connsiteX40" fmla="*/ 636913 w 1090712"/>
              <a:gd name="connsiteY40" fmla="*/ 314571 h 895572"/>
              <a:gd name="connsiteX41" fmla="*/ 635963 w 1090712"/>
              <a:gd name="connsiteY41" fmla="*/ 316946 h 895572"/>
              <a:gd name="connsiteX42" fmla="*/ 635963 w 1090712"/>
              <a:gd name="connsiteY42" fmla="*/ 319085 h 895572"/>
              <a:gd name="connsiteX43" fmla="*/ 636913 w 1090712"/>
              <a:gd name="connsiteY43" fmla="*/ 321223 h 895572"/>
              <a:gd name="connsiteX44" fmla="*/ 637626 w 1090712"/>
              <a:gd name="connsiteY44" fmla="*/ 324074 h 895572"/>
              <a:gd name="connsiteX45" fmla="*/ 639527 w 1090712"/>
              <a:gd name="connsiteY45" fmla="*/ 326688 h 895572"/>
              <a:gd name="connsiteX46" fmla="*/ 643091 w 1090712"/>
              <a:gd name="connsiteY46" fmla="*/ 331677 h 895572"/>
              <a:gd name="connsiteX47" fmla="*/ 647130 w 1090712"/>
              <a:gd name="connsiteY47" fmla="*/ 335954 h 895572"/>
              <a:gd name="connsiteX48" fmla="*/ 655920 w 1090712"/>
              <a:gd name="connsiteY48" fmla="*/ 330727 h 895572"/>
              <a:gd name="connsiteX49" fmla="*/ 663999 w 1090712"/>
              <a:gd name="connsiteY49" fmla="*/ 324787 h 895572"/>
              <a:gd name="connsiteX50" fmla="*/ 679917 w 1090712"/>
              <a:gd name="connsiteY50" fmla="*/ 313383 h 895572"/>
              <a:gd name="connsiteX51" fmla="*/ 676354 w 1090712"/>
              <a:gd name="connsiteY51" fmla="*/ 311007 h 895572"/>
              <a:gd name="connsiteX52" fmla="*/ 672790 w 1090712"/>
              <a:gd name="connsiteY52" fmla="*/ 308393 h 895572"/>
              <a:gd name="connsiteX53" fmla="*/ 668988 w 1090712"/>
              <a:gd name="connsiteY53" fmla="*/ 306730 h 895572"/>
              <a:gd name="connsiteX54" fmla="*/ 664949 w 1090712"/>
              <a:gd name="connsiteY54" fmla="*/ 304829 h 895572"/>
              <a:gd name="connsiteX55" fmla="*/ 660910 w 1090712"/>
              <a:gd name="connsiteY55" fmla="*/ 303641 h 895572"/>
              <a:gd name="connsiteX56" fmla="*/ 657346 w 1090712"/>
              <a:gd name="connsiteY56" fmla="*/ 302691 h 895572"/>
              <a:gd name="connsiteX57" fmla="*/ 696549 w 1090712"/>
              <a:gd name="connsiteY57" fmla="*/ 252322 h 895572"/>
              <a:gd name="connsiteX58" fmla="*/ 696786 w 1090712"/>
              <a:gd name="connsiteY58" fmla="*/ 259925 h 895572"/>
              <a:gd name="connsiteX59" fmla="*/ 698212 w 1090712"/>
              <a:gd name="connsiteY59" fmla="*/ 266102 h 895572"/>
              <a:gd name="connsiteX60" fmla="*/ 700113 w 1090712"/>
              <a:gd name="connsiteY60" fmla="*/ 272042 h 895572"/>
              <a:gd name="connsiteX61" fmla="*/ 701776 w 1090712"/>
              <a:gd name="connsiteY61" fmla="*/ 276794 h 895572"/>
              <a:gd name="connsiteX62" fmla="*/ 704389 w 1090712"/>
              <a:gd name="connsiteY62" fmla="*/ 280833 h 895572"/>
              <a:gd name="connsiteX63" fmla="*/ 707240 w 1090712"/>
              <a:gd name="connsiteY63" fmla="*/ 284397 h 895572"/>
              <a:gd name="connsiteX64" fmla="*/ 710329 w 1090712"/>
              <a:gd name="connsiteY64" fmla="*/ 287010 h 895572"/>
              <a:gd name="connsiteX65" fmla="*/ 713418 w 1090712"/>
              <a:gd name="connsiteY65" fmla="*/ 289624 h 895572"/>
              <a:gd name="connsiteX66" fmla="*/ 716506 w 1090712"/>
              <a:gd name="connsiteY66" fmla="*/ 291524 h 895572"/>
              <a:gd name="connsiteX67" fmla="*/ 719595 w 1090712"/>
              <a:gd name="connsiteY67" fmla="*/ 293187 h 895572"/>
              <a:gd name="connsiteX68" fmla="*/ 725772 w 1090712"/>
              <a:gd name="connsiteY68" fmla="*/ 295088 h 895572"/>
              <a:gd name="connsiteX69" fmla="*/ 731237 w 1090712"/>
              <a:gd name="connsiteY69" fmla="*/ 296514 h 895572"/>
              <a:gd name="connsiteX70" fmla="*/ 734801 w 1090712"/>
              <a:gd name="connsiteY70" fmla="*/ 296751 h 895572"/>
              <a:gd name="connsiteX71" fmla="*/ 722209 w 1090712"/>
              <a:gd name="connsiteY71" fmla="*/ 303879 h 895572"/>
              <a:gd name="connsiteX72" fmla="*/ 710804 w 1090712"/>
              <a:gd name="connsiteY72" fmla="*/ 311007 h 895572"/>
              <a:gd name="connsiteX73" fmla="*/ 688471 w 1090712"/>
              <a:gd name="connsiteY73" fmla="*/ 324787 h 895572"/>
              <a:gd name="connsiteX74" fmla="*/ 667563 w 1090712"/>
              <a:gd name="connsiteY74" fmla="*/ 339043 h 895572"/>
              <a:gd name="connsiteX75" fmla="*/ 646179 w 1090712"/>
              <a:gd name="connsiteY75" fmla="*/ 352823 h 895572"/>
              <a:gd name="connsiteX76" fmla="*/ 620044 w 1090712"/>
              <a:gd name="connsiteY76" fmla="*/ 313383 h 895572"/>
              <a:gd name="connsiteX77" fmla="*/ 617668 w 1090712"/>
              <a:gd name="connsiteY77" fmla="*/ 312432 h 895572"/>
              <a:gd name="connsiteX78" fmla="*/ 615055 w 1090712"/>
              <a:gd name="connsiteY78" fmla="*/ 312432 h 895572"/>
              <a:gd name="connsiteX79" fmla="*/ 612441 w 1090712"/>
              <a:gd name="connsiteY79" fmla="*/ 313383 h 895572"/>
              <a:gd name="connsiteX80" fmla="*/ 609353 w 1090712"/>
              <a:gd name="connsiteY80" fmla="*/ 314095 h 895572"/>
              <a:gd name="connsiteX81" fmla="*/ 602938 w 1090712"/>
              <a:gd name="connsiteY81" fmla="*/ 316946 h 895572"/>
              <a:gd name="connsiteX82" fmla="*/ 599849 w 1090712"/>
              <a:gd name="connsiteY82" fmla="*/ 317659 h 895572"/>
              <a:gd name="connsiteX83" fmla="*/ 596760 w 1090712"/>
              <a:gd name="connsiteY83" fmla="*/ 318610 h 895572"/>
              <a:gd name="connsiteX84" fmla="*/ 607927 w 1090712"/>
              <a:gd name="connsiteY84" fmla="*/ 307205 h 895572"/>
              <a:gd name="connsiteX85" fmla="*/ 618619 w 1090712"/>
              <a:gd name="connsiteY85" fmla="*/ 295088 h 895572"/>
              <a:gd name="connsiteX86" fmla="*/ 623846 w 1090712"/>
              <a:gd name="connsiteY86" fmla="*/ 289386 h 895572"/>
              <a:gd name="connsiteX87" fmla="*/ 629786 w 1090712"/>
              <a:gd name="connsiteY87" fmla="*/ 283921 h 895572"/>
              <a:gd name="connsiteX88" fmla="*/ 635963 w 1090712"/>
              <a:gd name="connsiteY88" fmla="*/ 278694 h 895572"/>
              <a:gd name="connsiteX89" fmla="*/ 642140 w 1090712"/>
              <a:gd name="connsiteY89" fmla="*/ 273705 h 895572"/>
              <a:gd name="connsiteX90" fmla="*/ 648793 w 1090712"/>
              <a:gd name="connsiteY90" fmla="*/ 269191 h 895572"/>
              <a:gd name="connsiteX91" fmla="*/ 655446 w 1090712"/>
              <a:gd name="connsiteY91" fmla="*/ 265627 h 895572"/>
              <a:gd name="connsiteX92" fmla="*/ 662098 w 1090712"/>
              <a:gd name="connsiteY92" fmla="*/ 263013 h 895572"/>
              <a:gd name="connsiteX93" fmla="*/ 668988 w 1090712"/>
              <a:gd name="connsiteY93" fmla="*/ 260400 h 895572"/>
              <a:gd name="connsiteX94" fmla="*/ 682768 w 1090712"/>
              <a:gd name="connsiteY94" fmla="*/ 256361 h 895572"/>
              <a:gd name="connsiteX95" fmla="*/ 1030602 w 1090712"/>
              <a:gd name="connsiteY95" fmla="*/ 200289 h 895572"/>
              <a:gd name="connsiteX96" fmla="*/ 1027513 w 1090712"/>
              <a:gd name="connsiteY96" fmla="*/ 207892 h 895572"/>
              <a:gd name="connsiteX97" fmla="*/ 1023949 w 1090712"/>
              <a:gd name="connsiteY97" fmla="*/ 214545 h 895572"/>
              <a:gd name="connsiteX98" fmla="*/ 1019910 w 1090712"/>
              <a:gd name="connsiteY98" fmla="*/ 221197 h 895572"/>
              <a:gd name="connsiteX99" fmla="*/ 1015396 w 1090712"/>
              <a:gd name="connsiteY99" fmla="*/ 226899 h 895572"/>
              <a:gd name="connsiteX100" fmla="*/ 1011119 w 1090712"/>
              <a:gd name="connsiteY100" fmla="*/ 232839 h 895572"/>
              <a:gd name="connsiteX101" fmla="*/ 1006130 w 1090712"/>
              <a:gd name="connsiteY101" fmla="*/ 237591 h 895572"/>
              <a:gd name="connsiteX102" fmla="*/ 1001140 w 1090712"/>
              <a:gd name="connsiteY102" fmla="*/ 242105 h 895572"/>
              <a:gd name="connsiteX103" fmla="*/ 996388 w 1090712"/>
              <a:gd name="connsiteY103" fmla="*/ 246144 h 895572"/>
              <a:gd name="connsiteX104" fmla="*/ 990924 w 1090712"/>
              <a:gd name="connsiteY104" fmla="*/ 249708 h 895572"/>
              <a:gd name="connsiteX105" fmla="*/ 985697 w 1090712"/>
              <a:gd name="connsiteY105" fmla="*/ 252797 h 895572"/>
              <a:gd name="connsiteX106" fmla="*/ 980232 w 1090712"/>
              <a:gd name="connsiteY106" fmla="*/ 254935 h 895572"/>
              <a:gd name="connsiteX107" fmla="*/ 975005 w 1090712"/>
              <a:gd name="connsiteY107" fmla="*/ 256836 h 895572"/>
              <a:gd name="connsiteX108" fmla="*/ 969541 w 1090712"/>
              <a:gd name="connsiteY108" fmla="*/ 258262 h 895572"/>
              <a:gd name="connsiteX109" fmla="*/ 963839 w 1090712"/>
              <a:gd name="connsiteY109" fmla="*/ 258499 h 895572"/>
              <a:gd name="connsiteX110" fmla="*/ 958612 w 1090712"/>
              <a:gd name="connsiteY110" fmla="*/ 258499 h 895572"/>
              <a:gd name="connsiteX111" fmla="*/ 953622 w 1090712"/>
              <a:gd name="connsiteY111" fmla="*/ 257786 h 895572"/>
              <a:gd name="connsiteX112" fmla="*/ 970966 w 1090712"/>
              <a:gd name="connsiteY112" fmla="*/ 244006 h 895572"/>
              <a:gd name="connsiteX113" fmla="*/ 990211 w 1090712"/>
              <a:gd name="connsiteY113" fmla="*/ 229275 h 895572"/>
              <a:gd name="connsiteX114" fmla="*/ 1010169 w 1090712"/>
              <a:gd name="connsiteY114" fmla="*/ 214069 h 895572"/>
              <a:gd name="connsiteX115" fmla="*/ 1020385 w 1090712"/>
              <a:gd name="connsiteY115" fmla="*/ 206942 h 895572"/>
              <a:gd name="connsiteX116" fmla="*/ 389581 w 1090712"/>
              <a:gd name="connsiteY116" fmla="*/ 176768 h 895572"/>
              <a:gd name="connsiteX117" fmla="*/ 397422 w 1090712"/>
              <a:gd name="connsiteY117" fmla="*/ 177243 h 895572"/>
              <a:gd name="connsiteX118" fmla="*/ 414766 w 1090712"/>
              <a:gd name="connsiteY118" fmla="*/ 178906 h 895572"/>
              <a:gd name="connsiteX119" fmla="*/ 405500 w 1090712"/>
              <a:gd name="connsiteY119" fmla="*/ 179856 h 895572"/>
              <a:gd name="connsiteX120" fmla="*/ 396946 w 1090712"/>
              <a:gd name="connsiteY120" fmla="*/ 181995 h 895572"/>
              <a:gd name="connsiteX121" fmla="*/ 389581 w 1090712"/>
              <a:gd name="connsiteY121" fmla="*/ 184371 h 895572"/>
              <a:gd name="connsiteX122" fmla="*/ 381978 w 1090712"/>
              <a:gd name="connsiteY122" fmla="*/ 186984 h 895572"/>
              <a:gd name="connsiteX123" fmla="*/ 375326 w 1090712"/>
              <a:gd name="connsiteY123" fmla="*/ 190548 h 895572"/>
              <a:gd name="connsiteX124" fmla="*/ 368911 w 1090712"/>
              <a:gd name="connsiteY124" fmla="*/ 194112 h 895572"/>
              <a:gd name="connsiteX125" fmla="*/ 363208 w 1090712"/>
              <a:gd name="connsiteY125" fmla="*/ 198626 h 895572"/>
              <a:gd name="connsiteX126" fmla="*/ 357981 w 1090712"/>
              <a:gd name="connsiteY126" fmla="*/ 202903 h 895572"/>
              <a:gd name="connsiteX127" fmla="*/ 352517 w 1090712"/>
              <a:gd name="connsiteY127" fmla="*/ 208367 h 895572"/>
              <a:gd name="connsiteX128" fmla="*/ 348003 w 1090712"/>
              <a:gd name="connsiteY128" fmla="*/ 214070 h 895572"/>
              <a:gd name="connsiteX129" fmla="*/ 343726 w 1090712"/>
              <a:gd name="connsiteY129" fmla="*/ 220247 h 895572"/>
              <a:gd name="connsiteX130" fmla="*/ 339687 w 1090712"/>
              <a:gd name="connsiteY130" fmla="*/ 226662 h 895572"/>
              <a:gd name="connsiteX131" fmla="*/ 335648 w 1090712"/>
              <a:gd name="connsiteY131" fmla="*/ 233790 h 895572"/>
              <a:gd name="connsiteX132" fmla="*/ 332559 w 1090712"/>
              <a:gd name="connsiteY132" fmla="*/ 240917 h 895572"/>
              <a:gd name="connsiteX133" fmla="*/ 328995 w 1090712"/>
              <a:gd name="connsiteY133" fmla="*/ 248758 h 895572"/>
              <a:gd name="connsiteX134" fmla="*/ 325907 w 1090712"/>
              <a:gd name="connsiteY134" fmla="*/ 256836 h 895572"/>
              <a:gd name="connsiteX135" fmla="*/ 325432 w 1090712"/>
              <a:gd name="connsiteY135" fmla="*/ 252797 h 895572"/>
              <a:gd name="connsiteX136" fmla="*/ 324956 w 1090712"/>
              <a:gd name="connsiteY136" fmla="*/ 248283 h 895572"/>
              <a:gd name="connsiteX137" fmla="*/ 323056 w 1090712"/>
              <a:gd name="connsiteY137" fmla="*/ 239492 h 895572"/>
              <a:gd name="connsiteX138" fmla="*/ 320917 w 1090712"/>
              <a:gd name="connsiteY138" fmla="*/ 229275 h 895572"/>
              <a:gd name="connsiteX139" fmla="*/ 320442 w 1090712"/>
              <a:gd name="connsiteY139" fmla="*/ 223811 h 895572"/>
              <a:gd name="connsiteX140" fmla="*/ 319967 w 1090712"/>
              <a:gd name="connsiteY140" fmla="*/ 217633 h 895572"/>
              <a:gd name="connsiteX141" fmla="*/ 314740 w 1090712"/>
              <a:gd name="connsiteY141" fmla="*/ 217633 h 895572"/>
              <a:gd name="connsiteX142" fmla="*/ 302148 w 1090712"/>
              <a:gd name="connsiteY142" fmla="*/ 243056 h 895572"/>
              <a:gd name="connsiteX143" fmla="*/ 289793 w 1090712"/>
              <a:gd name="connsiteY143" fmla="*/ 267528 h 895572"/>
              <a:gd name="connsiteX144" fmla="*/ 277438 w 1090712"/>
              <a:gd name="connsiteY144" fmla="*/ 291049 h 895572"/>
              <a:gd name="connsiteX145" fmla="*/ 264371 w 1090712"/>
              <a:gd name="connsiteY145" fmla="*/ 312907 h 895572"/>
              <a:gd name="connsiteX146" fmla="*/ 267459 w 1090712"/>
              <a:gd name="connsiteY146" fmla="*/ 295088 h 895572"/>
              <a:gd name="connsiteX147" fmla="*/ 271023 w 1090712"/>
              <a:gd name="connsiteY147" fmla="*/ 279170 h 895572"/>
              <a:gd name="connsiteX148" fmla="*/ 274587 w 1090712"/>
              <a:gd name="connsiteY148" fmla="*/ 263964 h 895572"/>
              <a:gd name="connsiteX149" fmla="*/ 279101 w 1090712"/>
              <a:gd name="connsiteY149" fmla="*/ 250183 h 895572"/>
              <a:gd name="connsiteX150" fmla="*/ 284091 w 1090712"/>
              <a:gd name="connsiteY150" fmla="*/ 238066 h 895572"/>
              <a:gd name="connsiteX151" fmla="*/ 289318 w 1090712"/>
              <a:gd name="connsiteY151" fmla="*/ 226900 h 895572"/>
              <a:gd name="connsiteX152" fmla="*/ 292406 w 1090712"/>
              <a:gd name="connsiteY152" fmla="*/ 221673 h 895572"/>
              <a:gd name="connsiteX153" fmla="*/ 295495 w 1090712"/>
              <a:gd name="connsiteY153" fmla="*/ 217158 h 895572"/>
              <a:gd name="connsiteX154" fmla="*/ 298584 w 1090712"/>
              <a:gd name="connsiteY154" fmla="*/ 212406 h 895572"/>
              <a:gd name="connsiteX155" fmla="*/ 302148 w 1090712"/>
              <a:gd name="connsiteY155" fmla="*/ 208367 h 895572"/>
              <a:gd name="connsiteX156" fmla="*/ 305711 w 1090712"/>
              <a:gd name="connsiteY156" fmla="*/ 204328 h 895572"/>
              <a:gd name="connsiteX157" fmla="*/ 309275 w 1090712"/>
              <a:gd name="connsiteY157" fmla="*/ 200765 h 895572"/>
              <a:gd name="connsiteX158" fmla="*/ 313314 w 1090712"/>
              <a:gd name="connsiteY158" fmla="*/ 197201 h 895572"/>
              <a:gd name="connsiteX159" fmla="*/ 317354 w 1090712"/>
              <a:gd name="connsiteY159" fmla="*/ 194112 h 895572"/>
              <a:gd name="connsiteX160" fmla="*/ 321868 w 1090712"/>
              <a:gd name="connsiteY160" fmla="*/ 191498 h 895572"/>
              <a:gd name="connsiteX161" fmla="*/ 326382 w 1090712"/>
              <a:gd name="connsiteY161" fmla="*/ 188647 h 895572"/>
              <a:gd name="connsiteX162" fmla="*/ 330659 w 1090712"/>
              <a:gd name="connsiteY162" fmla="*/ 186509 h 895572"/>
              <a:gd name="connsiteX163" fmla="*/ 335648 w 1090712"/>
              <a:gd name="connsiteY163" fmla="*/ 184371 h 895572"/>
              <a:gd name="connsiteX164" fmla="*/ 340637 w 1090712"/>
              <a:gd name="connsiteY164" fmla="*/ 182470 h 895572"/>
              <a:gd name="connsiteX165" fmla="*/ 345864 w 1090712"/>
              <a:gd name="connsiteY165" fmla="*/ 181282 h 895572"/>
              <a:gd name="connsiteX166" fmla="*/ 351091 w 1090712"/>
              <a:gd name="connsiteY166" fmla="*/ 179856 h 895572"/>
              <a:gd name="connsiteX167" fmla="*/ 357031 w 1090712"/>
              <a:gd name="connsiteY167" fmla="*/ 178431 h 895572"/>
              <a:gd name="connsiteX168" fmla="*/ 368911 w 1090712"/>
              <a:gd name="connsiteY168" fmla="*/ 177243 h 895572"/>
              <a:gd name="connsiteX169" fmla="*/ 381978 w 1090712"/>
              <a:gd name="connsiteY169" fmla="*/ 176768 h 895572"/>
              <a:gd name="connsiteX170" fmla="*/ 609353 w 1090712"/>
              <a:gd name="connsiteY170" fmla="*/ 174629 h 895572"/>
              <a:gd name="connsiteX171" fmla="*/ 602463 w 1090712"/>
              <a:gd name="connsiteY171" fmla="*/ 180807 h 895572"/>
              <a:gd name="connsiteX172" fmla="*/ 596285 w 1090712"/>
              <a:gd name="connsiteY172" fmla="*/ 187459 h 895572"/>
              <a:gd name="connsiteX173" fmla="*/ 583931 w 1090712"/>
              <a:gd name="connsiteY173" fmla="*/ 201715 h 895572"/>
              <a:gd name="connsiteX174" fmla="*/ 571101 w 1090712"/>
              <a:gd name="connsiteY174" fmla="*/ 215495 h 895572"/>
              <a:gd name="connsiteX175" fmla="*/ 564686 w 1090712"/>
              <a:gd name="connsiteY175" fmla="*/ 222148 h 895572"/>
              <a:gd name="connsiteX176" fmla="*/ 558508 w 1090712"/>
              <a:gd name="connsiteY176" fmla="*/ 228325 h 895572"/>
              <a:gd name="connsiteX177" fmla="*/ 557558 w 1090712"/>
              <a:gd name="connsiteY177" fmla="*/ 223335 h 895572"/>
              <a:gd name="connsiteX178" fmla="*/ 557083 w 1090712"/>
              <a:gd name="connsiteY178" fmla="*/ 219059 h 895572"/>
              <a:gd name="connsiteX179" fmla="*/ 557083 w 1090712"/>
              <a:gd name="connsiteY179" fmla="*/ 215020 h 895572"/>
              <a:gd name="connsiteX180" fmla="*/ 557558 w 1090712"/>
              <a:gd name="connsiteY180" fmla="*/ 210981 h 895572"/>
              <a:gd name="connsiteX181" fmla="*/ 558508 w 1090712"/>
              <a:gd name="connsiteY181" fmla="*/ 207417 h 895572"/>
              <a:gd name="connsiteX182" fmla="*/ 560409 w 1090712"/>
              <a:gd name="connsiteY182" fmla="*/ 203853 h 895572"/>
              <a:gd name="connsiteX183" fmla="*/ 562072 w 1090712"/>
              <a:gd name="connsiteY183" fmla="*/ 200764 h 895572"/>
              <a:gd name="connsiteX184" fmla="*/ 564686 w 1090712"/>
              <a:gd name="connsiteY184" fmla="*/ 197676 h 895572"/>
              <a:gd name="connsiteX185" fmla="*/ 567774 w 1090712"/>
              <a:gd name="connsiteY185" fmla="*/ 194587 h 895572"/>
              <a:gd name="connsiteX186" fmla="*/ 571813 w 1090712"/>
              <a:gd name="connsiteY186" fmla="*/ 191973 h 895572"/>
              <a:gd name="connsiteX187" fmla="*/ 576328 w 1090712"/>
              <a:gd name="connsiteY187" fmla="*/ 188647 h 895572"/>
              <a:gd name="connsiteX188" fmla="*/ 581317 w 1090712"/>
              <a:gd name="connsiteY188" fmla="*/ 186034 h 895572"/>
              <a:gd name="connsiteX189" fmla="*/ 587019 w 1090712"/>
              <a:gd name="connsiteY189" fmla="*/ 183420 h 895572"/>
              <a:gd name="connsiteX190" fmla="*/ 593672 w 1090712"/>
              <a:gd name="connsiteY190" fmla="*/ 180332 h 895572"/>
              <a:gd name="connsiteX191" fmla="*/ 586544 w 1090712"/>
              <a:gd name="connsiteY191" fmla="*/ 0 h 895572"/>
              <a:gd name="connsiteX192" fmla="*/ 570150 w 1090712"/>
              <a:gd name="connsiteY192" fmla="*/ 2851 h 895572"/>
              <a:gd name="connsiteX193" fmla="*/ 553519 w 1090712"/>
              <a:gd name="connsiteY193" fmla="*/ 5940 h 895572"/>
              <a:gd name="connsiteX194" fmla="*/ 536650 w 1090712"/>
              <a:gd name="connsiteY194" fmla="*/ 10454 h 895572"/>
              <a:gd name="connsiteX195" fmla="*/ 520256 w 1090712"/>
              <a:gd name="connsiteY195" fmla="*/ 14731 h 895572"/>
              <a:gd name="connsiteX196" fmla="*/ 486993 w 1090712"/>
              <a:gd name="connsiteY196" fmla="*/ 24472 h 895572"/>
              <a:gd name="connsiteX197" fmla="*/ 469887 w 1090712"/>
              <a:gd name="connsiteY197" fmla="*/ 28986 h 895572"/>
              <a:gd name="connsiteX198" fmla="*/ 453493 w 1090712"/>
              <a:gd name="connsiteY198" fmla="*/ 33500 h 895572"/>
              <a:gd name="connsiteX199" fmla="*/ 438762 w 1090712"/>
              <a:gd name="connsiteY199" fmla="*/ 40153 h 895572"/>
              <a:gd name="connsiteX200" fmla="*/ 424507 w 1090712"/>
              <a:gd name="connsiteY200" fmla="*/ 47281 h 895572"/>
              <a:gd name="connsiteX201" fmla="*/ 417379 w 1090712"/>
              <a:gd name="connsiteY201" fmla="*/ 51320 h 895572"/>
              <a:gd name="connsiteX202" fmla="*/ 410727 w 1090712"/>
              <a:gd name="connsiteY202" fmla="*/ 55834 h 895572"/>
              <a:gd name="connsiteX203" fmla="*/ 403599 w 1090712"/>
              <a:gd name="connsiteY203" fmla="*/ 60111 h 895572"/>
              <a:gd name="connsiteX204" fmla="*/ 397422 w 1090712"/>
              <a:gd name="connsiteY204" fmla="*/ 65100 h 895572"/>
              <a:gd name="connsiteX205" fmla="*/ 390769 w 1090712"/>
              <a:gd name="connsiteY205" fmla="*/ 69852 h 895572"/>
              <a:gd name="connsiteX206" fmla="*/ 384592 w 1090712"/>
              <a:gd name="connsiteY206" fmla="*/ 75792 h 895572"/>
              <a:gd name="connsiteX207" fmla="*/ 378889 w 1090712"/>
              <a:gd name="connsiteY207" fmla="*/ 81494 h 895572"/>
              <a:gd name="connsiteX208" fmla="*/ 372950 w 1090712"/>
              <a:gd name="connsiteY208" fmla="*/ 87671 h 895572"/>
              <a:gd name="connsiteX209" fmla="*/ 367723 w 1090712"/>
              <a:gd name="connsiteY209" fmla="*/ 94324 h 895572"/>
              <a:gd name="connsiteX210" fmla="*/ 362733 w 1090712"/>
              <a:gd name="connsiteY210" fmla="*/ 101452 h 895572"/>
              <a:gd name="connsiteX211" fmla="*/ 357981 w 1090712"/>
              <a:gd name="connsiteY211" fmla="*/ 109055 h 895572"/>
              <a:gd name="connsiteX212" fmla="*/ 353467 w 1090712"/>
              <a:gd name="connsiteY212" fmla="*/ 117608 h 895572"/>
              <a:gd name="connsiteX213" fmla="*/ 409064 w 1090712"/>
              <a:gd name="connsiteY213" fmla="*/ 117608 h 895572"/>
              <a:gd name="connsiteX214" fmla="*/ 406925 w 1090712"/>
              <a:gd name="connsiteY214" fmla="*/ 119271 h 895572"/>
              <a:gd name="connsiteX215" fmla="*/ 404074 w 1090712"/>
              <a:gd name="connsiteY215" fmla="*/ 121647 h 895572"/>
              <a:gd name="connsiteX216" fmla="*/ 400510 w 1090712"/>
              <a:gd name="connsiteY216" fmla="*/ 123310 h 895572"/>
              <a:gd name="connsiteX217" fmla="*/ 397422 w 1090712"/>
              <a:gd name="connsiteY217" fmla="*/ 125211 h 895572"/>
              <a:gd name="connsiteX218" fmla="*/ 393383 w 1090712"/>
              <a:gd name="connsiteY218" fmla="*/ 126399 h 895572"/>
              <a:gd name="connsiteX219" fmla="*/ 389581 w 1090712"/>
              <a:gd name="connsiteY219" fmla="*/ 127824 h 895572"/>
              <a:gd name="connsiteX220" fmla="*/ 385542 w 1090712"/>
              <a:gd name="connsiteY220" fmla="*/ 128299 h 895572"/>
              <a:gd name="connsiteX221" fmla="*/ 381503 w 1090712"/>
              <a:gd name="connsiteY221" fmla="*/ 128774 h 895572"/>
              <a:gd name="connsiteX222" fmla="*/ 375326 w 1090712"/>
              <a:gd name="connsiteY222" fmla="*/ 130438 h 895572"/>
              <a:gd name="connsiteX223" fmla="*/ 368435 w 1090712"/>
              <a:gd name="connsiteY223" fmla="*/ 131863 h 895572"/>
              <a:gd name="connsiteX224" fmla="*/ 361783 w 1090712"/>
              <a:gd name="connsiteY224" fmla="*/ 133051 h 895572"/>
              <a:gd name="connsiteX225" fmla="*/ 355606 w 1090712"/>
              <a:gd name="connsiteY225" fmla="*/ 134001 h 895572"/>
              <a:gd name="connsiteX226" fmla="*/ 342300 w 1090712"/>
              <a:gd name="connsiteY226" fmla="*/ 135427 h 895572"/>
              <a:gd name="connsiteX227" fmla="*/ 329471 w 1090712"/>
              <a:gd name="connsiteY227" fmla="*/ 137090 h 895572"/>
              <a:gd name="connsiteX228" fmla="*/ 322818 w 1090712"/>
              <a:gd name="connsiteY228" fmla="*/ 138040 h 895572"/>
              <a:gd name="connsiteX229" fmla="*/ 316403 w 1090712"/>
              <a:gd name="connsiteY229" fmla="*/ 139704 h 895572"/>
              <a:gd name="connsiteX230" fmla="*/ 310226 w 1090712"/>
              <a:gd name="connsiteY230" fmla="*/ 141604 h 895572"/>
              <a:gd name="connsiteX231" fmla="*/ 304048 w 1090712"/>
              <a:gd name="connsiteY231" fmla="*/ 144218 h 895572"/>
              <a:gd name="connsiteX232" fmla="*/ 298346 w 1090712"/>
              <a:gd name="connsiteY232" fmla="*/ 147307 h 895572"/>
              <a:gd name="connsiteX233" fmla="*/ 292406 w 1090712"/>
              <a:gd name="connsiteY233" fmla="*/ 151346 h 895572"/>
              <a:gd name="connsiteX234" fmla="*/ 286704 w 1090712"/>
              <a:gd name="connsiteY234" fmla="*/ 156335 h 895572"/>
              <a:gd name="connsiteX235" fmla="*/ 281240 w 1090712"/>
              <a:gd name="connsiteY235" fmla="*/ 162037 h 895572"/>
              <a:gd name="connsiteX236" fmla="*/ 262232 w 1090712"/>
              <a:gd name="connsiteY236" fmla="*/ 182945 h 895572"/>
              <a:gd name="connsiteX237" fmla="*/ 242987 w 1090712"/>
              <a:gd name="connsiteY237" fmla="*/ 203378 h 895572"/>
              <a:gd name="connsiteX238" fmla="*/ 203547 w 1090712"/>
              <a:gd name="connsiteY238" fmla="*/ 244006 h 895572"/>
              <a:gd name="connsiteX239" fmla="*/ 183827 w 1090712"/>
              <a:gd name="connsiteY239" fmla="*/ 264439 h 895572"/>
              <a:gd name="connsiteX240" fmla="*/ 164345 w 1090712"/>
              <a:gd name="connsiteY240" fmla="*/ 285822 h 895572"/>
              <a:gd name="connsiteX241" fmla="*/ 144862 w 1090712"/>
              <a:gd name="connsiteY241" fmla="*/ 307443 h 895572"/>
              <a:gd name="connsiteX242" fmla="*/ 126093 w 1090712"/>
              <a:gd name="connsiteY242" fmla="*/ 329777 h 895572"/>
              <a:gd name="connsiteX243" fmla="*/ 122054 w 1090712"/>
              <a:gd name="connsiteY243" fmla="*/ 335004 h 895572"/>
              <a:gd name="connsiteX244" fmla="*/ 118015 w 1090712"/>
              <a:gd name="connsiteY244" fmla="*/ 340468 h 895572"/>
              <a:gd name="connsiteX245" fmla="*/ 110887 w 1090712"/>
              <a:gd name="connsiteY245" fmla="*/ 352110 h 895572"/>
              <a:gd name="connsiteX246" fmla="*/ 104709 w 1090712"/>
              <a:gd name="connsiteY246" fmla="*/ 363514 h 895572"/>
              <a:gd name="connsiteX247" fmla="*/ 99007 w 1090712"/>
              <a:gd name="connsiteY247" fmla="*/ 375156 h 895572"/>
              <a:gd name="connsiteX248" fmla="*/ 87840 w 1090712"/>
              <a:gd name="connsiteY248" fmla="*/ 400103 h 895572"/>
              <a:gd name="connsiteX249" fmla="*/ 82138 w 1090712"/>
              <a:gd name="connsiteY249" fmla="*/ 412458 h 895572"/>
              <a:gd name="connsiteX250" fmla="*/ 75723 w 1090712"/>
              <a:gd name="connsiteY250" fmla="*/ 425050 h 895572"/>
              <a:gd name="connsiteX251" fmla="*/ 75723 w 1090712"/>
              <a:gd name="connsiteY251" fmla="*/ 429802 h 895572"/>
              <a:gd name="connsiteX252" fmla="*/ 76674 w 1090712"/>
              <a:gd name="connsiteY252" fmla="*/ 436217 h 895572"/>
              <a:gd name="connsiteX253" fmla="*/ 77149 w 1090712"/>
              <a:gd name="connsiteY253" fmla="*/ 439306 h 895572"/>
              <a:gd name="connsiteX254" fmla="*/ 78574 w 1090712"/>
              <a:gd name="connsiteY254" fmla="*/ 442395 h 895572"/>
              <a:gd name="connsiteX255" fmla="*/ 79762 w 1090712"/>
              <a:gd name="connsiteY255" fmla="*/ 445008 h 895572"/>
              <a:gd name="connsiteX256" fmla="*/ 81663 w 1090712"/>
              <a:gd name="connsiteY256" fmla="*/ 447147 h 895572"/>
              <a:gd name="connsiteX257" fmla="*/ 94018 w 1090712"/>
              <a:gd name="connsiteY257" fmla="*/ 468055 h 895572"/>
              <a:gd name="connsiteX258" fmla="*/ 106848 w 1090712"/>
              <a:gd name="connsiteY258" fmla="*/ 488963 h 895572"/>
              <a:gd name="connsiteX259" fmla="*/ 113975 w 1090712"/>
              <a:gd name="connsiteY259" fmla="*/ 499654 h 895572"/>
              <a:gd name="connsiteX260" fmla="*/ 121103 w 1090712"/>
              <a:gd name="connsiteY260" fmla="*/ 510346 h 895572"/>
              <a:gd name="connsiteX261" fmla="*/ 128706 w 1090712"/>
              <a:gd name="connsiteY261" fmla="*/ 520562 h 895572"/>
              <a:gd name="connsiteX262" fmla="*/ 137259 w 1090712"/>
              <a:gd name="connsiteY262" fmla="*/ 531254 h 895572"/>
              <a:gd name="connsiteX263" fmla="*/ 149614 w 1090712"/>
              <a:gd name="connsiteY263" fmla="*/ 514385 h 895572"/>
              <a:gd name="connsiteX264" fmla="*/ 162206 w 1090712"/>
              <a:gd name="connsiteY264" fmla="*/ 498466 h 895572"/>
              <a:gd name="connsiteX265" fmla="*/ 174561 w 1090712"/>
              <a:gd name="connsiteY265" fmla="*/ 483260 h 895572"/>
              <a:gd name="connsiteX266" fmla="*/ 180739 w 1090712"/>
              <a:gd name="connsiteY266" fmla="*/ 476133 h 895572"/>
              <a:gd name="connsiteX267" fmla="*/ 186916 w 1090712"/>
              <a:gd name="connsiteY267" fmla="*/ 469480 h 895572"/>
              <a:gd name="connsiteX268" fmla="*/ 182639 w 1090712"/>
              <a:gd name="connsiteY268" fmla="*/ 482310 h 895572"/>
              <a:gd name="connsiteX269" fmla="*/ 178125 w 1090712"/>
              <a:gd name="connsiteY269" fmla="*/ 495615 h 895572"/>
              <a:gd name="connsiteX270" fmla="*/ 172423 w 1090712"/>
              <a:gd name="connsiteY270" fmla="*/ 509871 h 895572"/>
              <a:gd name="connsiteX271" fmla="*/ 164820 w 1090712"/>
              <a:gd name="connsiteY271" fmla="*/ 525552 h 895572"/>
              <a:gd name="connsiteX272" fmla="*/ 156267 w 1090712"/>
              <a:gd name="connsiteY272" fmla="*/ 538381 h 895572"/>
              <a:gd name="connsiteX273" fmla="*/ 152703 w 1090712"/>
              <a:gd name="connsiteY273" fmla="*/ 544559 h 895572"/>
              <a:gd name="connsiteX274" fmla="*/ 148664 w 1090712"/>
              <a:gd name="connsiteY274" fmla="*/ 551449 h 895572"/>
              <a:gd name="connsiteX275" fmla="*/ 145100 w 1090712"/>
              <a:gd name="connsiteY275" fmla="*/ 558339 h 895572"/>
              <a:gd name="connsiteX276" fmla="*/ 142011 w 1090712"/>
              <a:gd name="connsiteY276" fmla="*/ 565467 h 895572"/>
              <a:gd name="connsiteX277" fmla="*/ 139398 w 1090712"/>
              <a:gd name="connsiteY277" fmla="*/ 573070 h 895572"/>
              <a:gd name="connsiteX278" fmla="*/ 137259 w 1090712"/>
              <a:gd name="connsiteY278" fmla="*/ 581623 h 895572"/>
              <a:gd name="connsiteX279" fmla="*/ 136309 w 1090712"/>
              <a:gd name="connsiteY279" fmla="*/ 583761 h 895572"/>
              <a:gd name="connsiteX280" fmla="*/ 135359 w 1090712"/>
              <a:gd name="connsiteY280" fmla="*/ 586137 h 895572"/>
              <a:gd name="connsiteX281" fmla="*/ 134883 w 1090712"/>
              <a:gd name="connsiteY281" fmla="*/ 590889 h 895572"/>
              <a:gd name="connsiteX282" fmla="*/ 134883 w 1090712"/>
              <a:gd name="connsiteY282" fmla="*/ 595879 h 895572"/>
              <a:gd name="connsiteX283" fmla="*/ 135359 w 1090712"/>
              <a:gd name="connsiteY283" fmla="*/ 601106 h 895572"/>
              <a:gd name="connsiteX284" fmla="*/ 136784 w 1090712"/>
              <a:gd name="connsiteY284" fmla="*/ 606095 h 895572"/>
              <a:gd name="connsiteX285" fmla="*/ 138447 w 1090712"/>
              <a:gd name="connsiteY285" fmla="*/ 611322 h 895572"/>
              <a:gd name="connsiteX286" fmla="*/ 140348 w 1090712"/>
              <a:gd name="connsiteY286" fmla="*/ 616311 h 895572"/>
              <a:gd name="connsiteX287" fmla="*/ 142486 w 1090712"/>
              <a:gd name="connsiteY287" fmla="*/ 620826 h 895572"/>
              <a:gd name="connsiteX288" fmla="*/ 148664 w 1090712"/>
              <a:gd name="connsiteY288" fmla="*/ 629616 h 895572"/>
              <a:gd name="connsiteX289" fmla="*/ 155554 w 1090712"/>
              <a:gd name="connsiteY289" fmla="*/ 637219 h 895572"/>
              <a:gd name="connsiteX290" fmla="*/ 162444 w 1090712"/>
              <a:gd name="connsiteY290" fmla="*/ 643872 h 895572"/>
              <a:gd name="connsiteX291" fmla="*/ 169572 w 1090712"/>
              <a:gd name="connsiteY291" fmla="*/ 649099 h 895572"/>
              <a:gd name="connsiteX292" fmla="*/ 177175 w 1090712"/>
              <a:gd name="connsiteY292" fmla="*/ 653613 h 895572"/>
              <a:gd name="connsiteX293" fmla="*/ 184778 w 1090712"/>
              <a:gd name="connsiteY293" fmla="*/ 657177 h 895572"/>
              <a:gd name="connsiteX294" fmla="*/ 192856 w 1090712"/>
              <a:gd name="connsiteY294" fmla="*/ 659553 h 895572"/>
              <a:gd name="connsiteX295" fmla="*/ 200934 w 1090712"/>
              <a:gd name="connsiteY295" fmla="*/ 661216 h 895572"/>
              <a:gd name="connsiteX296" fmla="*/ 209250 w 1090712"/>
              <a:gd name="connsiteY296" fmla="*/ 661691 h 895572"/>
              <a:gd name="connsiteX297" fmla="*/ 218278 w 1090712"/>
              <a:gd name="connsiteY297" fmla="*/ 661691 h 895572"/>
              <a:gd name="connsiteX298" fmla="*/ 227069 w 1090712"/>
              <a:gd name="connsiteY298" fmla="*/ 660266 h 895572"/>
              <a:gd name="connsiteX299" fmla="*/ 236335 w 1090712"/>
              <a:gd name="connsiteY299" fmla="*/ 658603 h 895572"/>
              <a:gd name="connsiteX300" fmla="*/ 245838 w 1090712"/>
              <a:gd name="connsiteY300" fmla="*/ 655514 h 895572"/>
              <a:gd name="connsiteX301" fmla="*/ 255580 w 1090712"/>
              <a:gd name="connsiteY301" fmla="*/ 652425 h 895572"/>
              <a:gd name="connsiteX302" fmla="*/ 265321 w 1090712"/>
              <a:gd name="connsiteY302" fmla="*/ 647911 h 895572"/>
              <a:gd name="connsiteX303" fmla="*/ 276013 w 1090712"/>
              <a:gd name="connsiteY303" fmla="*/ 642922 h 895572"/>
              <a:gd name="connsiteX304" fmla="*/ 288367 w 1090712"/>
              <a:gd name="connsiteY304" fmla="*/ 635081 h 895572"/>
              <a:gd name="connsiteX305" fmla="*/ 301910 w 1090712"/>
              <a:gd name="connsiteY305" fmla="*/ 627478 h 895572"/>
              <a:gd name="connsiteX306" fmla="*/ 315215 w 1090712"/>
              <a:gd name="connsiteY306" fmla="*/ 620350 h 895572"/>
              <a:gd name="connsiteX307" fmla="*/ 329471 w 1090712"/>
              <a:gd name="connsiteY307" fmla="*/ 613698 h 895572"/>
              <a:gd name="connsiteX308" fmla="*/ 343726 w 1090712"/>
              <a:gd name="connsiteY308" fmla="*/ 607283 h 895572"/>
              <a:gd name="connsiteX309" fmla="*/ 357981 w 1090712"/>
              <a:gd name="connsiteY309" fmla="*/ 602056 h 895572"/>
              <a:gd name="connsiteX310" fmla="*/ 371999 w 1090712"/>
              <a:gd name="connsiteY310" fmla="*/ 597066 h 895572"/>
              <a:gd name="connsiteX311" fmla="*/ 386730 w 1090712"/>
              <a:gd name="connsiteY311" fmla="*/ 592790 h 895572"/>
              <a:gd name="connsiteX312" fmla="*/ 394808 w 1090712"/>
              <a:gd name="connsiteY312" fmla="*/ 590414 h 895572"/>
              <a:gd name="connsiteX313" fmla="*/ 402411 w 1090712"/>
              <a:gd name="connsiteY313" fmla="*/ 587325 h 895572"/>
              <a:gd name="connsiteX314" fmla="*/ 409064 w 1090712"/>
              <a:gd name="connsiteY314" fmla="*/ 583761 h 895572"/>
              <a:gd name="connsiteX315" fmla="*/ 411677 w 1090712"/>
              <a:gd name="connsiteY315" fmla="*/ 581623 h 895572"/>
              <a:gd name="connsiteX316" fmla="*/ 414766 w 1090712"/>
              <a:gd name="connsiteY316" fmla="*/ 579247 h 895572"/>
              <a:gd name="connsiteX317" fmla="*/ 417142 w 1090712"/>
              <a:gd name="connsiteY317" fmla="*/ 577109 h 895572"/>
              <a:gd name="connsiteX318" fmla="*/ 419280 w 1090712"/>
              <a:gd name="connsiteY318" fmla="*/ 574495 h 895572"/>
              <a:gd name="connsiteX319" fmla="*/ 420943 w 1090712"/>
              <a:gd name="connsiteY319" fmla="*/ 571407 h 895572"/>
              <a:gd name="connsiteX320" fmla="*/ 422844 w 1090712"/>
              <a:gd name="connsiteY320" fmla="*/ 568318 h 895572"/>
              <a:gd name="connsiteX321" fmla="*/ 424269 w 1090712"/>
              <a:gd name="connsiteY321" fmla="*/ 565229 h 895572"/>
              <a:gd name="connsiteX322" fmla="*/ 424982 w 1090712"/>
              <a:gd name="connsiteY322" fmla="*/ 561665 h 895572"/>
              <a:gd name="connsiteX323" fmla="*/ 425457 w 1090712"/>
              <a:gd name="connsiteY323" fmla="*/ 557626 h 895572"/>
              <a:gd name="connsiteX324" fmla="*/ 425932 w 1090712"/>
              <a:gd name="connsiteY324" fmla="*/ 553587 h 895572"/>
              <a:gd name="connsiteX325" fmla="*/ 425932 w 1090712"/>
              <a:gd name="connsiteY325" fmla="*/ 413884 h 895572"/>
              <a:gd name="connsiteX326" fmla="*/ 425932 w 1090712"/>
              <a:gd name="connsiteY326" fmla="*/ 285347 h 895572"/>
              <a:gd name="connsiteX327" fmla="*/ 429496 w 1090712"/>
              <a:gd name="connsiteY327" fmla="*/ 300078 h 895572"/>
              <a:gd name="connsiteX328" fmla="*/ 433060 w 1090712"/>
              <a:gd name="connsiteY328" fmla="*/ 314096 h 895572"/>
              <a:gd name="connsiteX329" fmla="*/ 436149 w 1090712"/>
              <a:gd name="connsiteY329" fmla="*/ 328826 h 895572"/>
              <a:gd name="connsiteX330" fmla="*/ 438762 w 1090712"/>
              <a:gd name="connsiteY330" fmla="*/ 343082 h 895572"/>
              <a:gd name="connsiteX331" fmla="*/ 443752 w 1090712"/>
              <a:gd name="connsiteY331" fmla="*/ 370642 h 895572"/>
              <a:gd name="connsiteX332" fmla="*/ 447791 w 1090712"/>
              <a:gd name="connsiteY332" fmla="*/ 397015 h 895572"/>
              <a:gd name="connsiteX333" fmla="*/ 451830 w 1090712"/>
              <a:gd name="connsiteY333" fmla="*/ 421962 h 895572"/>
              <a:gd name="connsiteX334" fmla="*/ 454919 w 1090712"/>
              <a:gd name="connsiteY334" fmla="*/ 446434 h 895572"/>
              <a:gd name="connsiteX335" fmla="*/ 456106 w 1090712"/>
              <a:gd name="connsiteY335" fmla="*/ 458313 h 895572"/>
              <a:gd name="connsiteX336" fmla="*/ 457057 w 1090712"/>
              <a:gd name="connsiteY336" fmla="*/ 470430 h 895572"/>
              <a:gd name="connsiteX337" fmla="*/ 457532 w 1090712"/>
              <a:gd name="connsiteY337" fmla="*/ 482310 h 895572"/>
              <a:gd name="connsiteX338" fmla="*/ 457532 w 1090712"/>
              <a:gd name="connsiteY338" fmla="*/ 493952 h 895572"/>
              <a:gd name="connsiteX339" fmla="*/ 457532 w 1090712"/>
              <a:gd name="connsiteY339" fmla="*/ 506069 h 895572"/>
              <a:gd name="connsiteX340" fmla="*/ 456582 w 1090712"/>
              <a:gd name="connsiteY340" fmla="*/ 517473 h 895572"/>
              <a:gd name="connsiteX341" fmla="*/ 455869 w 1090712"/>
              <a:gd name="connsiteY341" fmla="*/ 529116 h 895572"/>
              <a:gd name="connsiteX342" fmla="*/ 453968 w 1090712"/>
              <a:gd name="connsiteY342" fmla="*/ 540757 h 895572"/>
              <a:gd name="connsiteX343" fmla="*/ 452305 w 1090712"/>
              <a:gd name="connsiteY343" fmla="*/ 552162 h 895572"/>
              <a:gd name="connsiteX344" fmla="*/ 449454 w 1090712"/>
              <a:gd name="connsiteY344" fmla="*/ 563804 h 895572"/>
              <a:gd name="connsiteX345" fmla="*/ 446365 w 1090712"/>
              <a:gd name="connsiteY345" fmla="*/ 575446 h 895572"/>
              <a:gd name="connsiteX346" fmla="*/ 442326 w 1090712"/>
              <a:gd name="connsiteY346" fmla="*/ 586850 h 895572"/>
              <a:gd name="connsiteX347" fmla="*/ 440188 w 1090712"/>
              <a:gd name="connsiteY347" fmla="*/ 591364 h 895572"/>
              <a:gd name="connsiteX348" fmla="*/ 437574 w 1090712"/>
              <a:gd name="connsiteY348" fmla="*/ 595403 h 895572"/>
              <a:gd name="connsiteX349" fmla="*/ 434486 w 1090712"/>
              <a:gd name="connsiteY349" fmla="*/ 598967 h 895572"/>
              <a:gd name="connsiteX350" fmla="*/ 431397 w 1090712"/>
              <a:gd name="connsiteY350" fmla="*/ 602531 h 895572"/>
              <a:gd name="connsiteX351" fmla="*/ 428071 w 1090712"/>
              <a:gd name="connsiteY351" fmla="*/ 605145 h 895572"/>
              <a:gd name="connsiteX352" fmla="*/ 424982 w 1090712"/>
              <a:gd name="connsiteY352" fmla="*/ 607283 h 895572"/>
              <a:gd name="connsiteX353" fmla="*/ 422369 w 1090712"/>
              <a:gd name="connsiteY353" fmla="*/ 608708 h 895572"/>
              <a:gd name="connsiteX354" fmla="*/ 420230 w 1090712"/>
              <a:gd name="connsiteY354" fmla="*/ 609659 h 895572"/>
              <a:gd name="connsiteX355" fmla="*/ 410727 w 1090712"/>
              <a:gd name="connsiteY355" fmla="*/ 610847 h 895572"/>
              <a:gd name="connsiteX356" fmla="*/ 401461 w 1090712"/>
              <a:gd name="connsiteY356" fmla="*/ 612748 h 895572"/>
              <a:gd name="connsiteX357" fmla="*/ 392670 w 1090712"/>
              <a:gd name="connsiteY357" fmla="*/ 614886 h 895572"/>
              <a:gd name="connsiteX358" fmla="*/ 383641 w 1090712"/>
              <a:gd name="connsiteY358" fmla="*/ 617262 h 895572"/>
              <a:gd name="connsiteX359" fmla="*/ 374850 w 1090712"/>
              <a:gd name="connsiteY359" fmla="*/ 620350 h 895572"/>
              <a:gd name="connsiteX360" fmla="*/ 365822 w 1090712"/>
              <a:gd name="connsiteY360" fmla="*/ 623914 h 895572"/>
              <a:gd name="connsiteX361" fmla="*/ 348478 w 1090712"/>
              <a:gd name="connsiteY361" fmla="*/ 631042 h 895572"/>
              <a:gd name="connsiteX362" fmla="*/ 331609 w 1090712"/>
              <a:gd name="connsiteY362" fmla="*/ 639358 h 895572"/>
              <a:gd name="connsiteX363" fmla="*/ 314740 w 1090712"/>
              <a:gd name="connsiteY363" fmla="*/ 647911 h 895572"/>
              <a:gd name="connsiteX364" fmla="*/ 281240 w 1090712"/>
              <a:gd name="connsiteY364" fmla="*/ 665255 h 895572"/>
              <a:gd name="connsiteX365" fmla="*/ 274587 w 1090712"/>
              <a:gd name="connsiteY365" fmla="*/ 669294 h 895572"/>
              <a:gd name="connsiteX366" fmla="*/ 267935 w 1090712"/>
              <a:gd name="connsiteY366" fmla="*/ 672858 h 895572"/>
              <a:gd name="connsiteX367" fmla="*/ 261757 w 1090712"/>
              <a:gd name="connsiteY367" fmla="*/ 675947 h 895572"/>
              <a:gd name="connsiteX368" fmla="*/ 255105 w 1090712"/>
              <a:gd name="connsiteY368" fmla="*/ 679035 h 895572"/>
              <a:gd name="connsiteX369" fmla="*/ 248927 w 1090712"/>
              <a:gd name="connsiteY369" fmla="*/ 681174 h 895572"/>
              <a:gd name="connsiteX370" fmla="*/ 242987 w 1090712"/>
              <a:gd name="connsiteY370" fmla="*/ 683075 h 895572"/>
              <a:gd name="connsiteX371" fmla="*/ 236810 w 1090712"/>
              <a:gd name="connsiteY371" fmla="*/ 684738 h 895572"/>
              <a:gd name="connsiteX372" fmla="*/ 231108 w 1090712"/>
              <a:gd name="connsiteY372" fmla="*/ 686163 h 895572"/>
              <a:gd name="connsiteX373" fmla="*/ 225406 w 1090712"/>
              <a:gd name="connsiteY373" fmla="*/ 687114 h 895572"/>
              <a:gd name="connsiteX374" fmla="*/ 219466 w 1090712"/>
              <a:gd name="connsiteY374" fmla="*/ 687589 h 895572"/>
              <a:gd name="connsiteX375" fmla="*/ 213764 w 1090712"/>
              <a:gd name="connsiteY375" fmla="*/ 687589 h 895572"/>
              <a:gd name="connsiteX376" fmla="*/ 208299 w 1090712"/>
              <a:gd name="connsiteY376" fmla="*/ 687589 h 895572"/>
              <a:gd name="connsiteX377" fmla="*/ 203072 w 1090712"/>
              <a:gd name="connsiteY377" fmla="*/ 687114 h 895572"/>
              <a:gd name="connsiteX378" fmla="*/ 197607 w 1090712"/>
              <a:gd name="connsiteY378" fmla="*/ 686163 h 895572"/>
              <a:gd name="connsiteX379" fmla="*/ 192380 w 1090712"/>
              <a:gd name="connsiteY379" fmla="*/ 684738 h 895572"/>
              <a:gd name="connsiteX380" fmla="*/ 186916 w 1090712"/>
              <a:gd name="connsiteY380" fmla="*/ 683550 h 895572"/>
              <a:gd name="connsiteX381" fmla="*/ 181689 w 1090712"/>
              <a:gd name="connsiteY381" fmla="*/ 681649 h 895572"/>
              <a:gd name="connsiteX382" fmla="*/ 176699 w 1090712"/>
              <a:gd name="connsiteY382" fmla="*/ 679986 h 895572"/>
              <a:gd name="connsiteX383" fmla="*/ 171472 w 1090712"/>
              <a:gd name="connsiteY383" fmla="*/ 677610 h 895572"/>
              <a:gd name="connsiteX384" fmla="*/ 166483 w 1090712"/>
              <a:gd name="connsiteY384" fmla="*/ 674996 h 895572"/>
              <a:gd name="connsiteX385" fmla="*/ 156742 w 1090712"/>
              <a:gd name="connsiteY385" fmla="*/ 669294 h 895572"/>
              <a:gd name="connsiteX386" fmla="*/ 147001 w 1090712"/>
              <a:gd name="connsiteY386" fmla="*/ 662167 h 895572"/>
              <a:gd name="connsiteX387" fmla="*/ 137735 w 1090712"/>
              <a:gd name="connsiteY387" fmla="*/ 654564 h 895572"/>
              <a:gd name="connsiteX388" fmla="*/ 127756 w 1090712"/>
              <a:gd name="connsiteY388" fmla="*/ 645535 h 895572"/>
              <a:gd name="connsiteX389" fmla="*/ 118490 w 1090712"/>
              <a:gd name="connsiteY389" fmla="*/ 636269 h 895572"/>
              <a:gd name="connsiteX390" fmla="*/ 109224 w 1090712"/>
              <a:gd name="connsiteY390" fmla="*/ 626053 h 895572"/>
              <a:gd name="connsiteX391" fmla="*/ 107323 w 1090712"/>
              <a:gd name="connsiteY391" fmla="*/ 623914 h 895572"/>
              <a:gd name="connsiteX392" fmla="*/ 106135 w 1090712"/>
              <a:gd name="connsiteY392" fmla="*/ 620350 h 895572"/>
              <a:gd name="connsiteX393" fmla="*/ 105185 w 1090712"/>
              <a:gd name="connsiteY393" fmla="*/ 616311 h 895572"/>
              <a:gd name="connsiteX394" fmla="*/ 105185 w 1090712"/>
              <a:gd name="connsiteY394" fmla="*/ 612272 h 895572"/>
              <a:gd name="connsiteX395" fmla="*/ 105185 w 1090712"/>
              <a:gd name="connsiteY395" fmla="*/ 608233 h 895572"/>
              <a:gd name="connsiteX396" fmla="*/ 106135 w 1090712"/>
              <a:gd name="connsiteY396" fmla="*/ 604194 h 895572"/>
              <a:gd name="connsiteX397" fmla="*/ 107323 w 1090712"/>
              <a:gd name="connsiteY397" fmla="*/ 600630 h 895572"/>
              <a:gd name="connsiteX398" fmla="*/ 109224 w 1090712"/>
              <a:gd name="connsiteY398" fmla="*/ 598017 h 895572"/>
              <a:gd name="connsiteX399" fmla="*/ 111837 w 1090712"/>
              <a:gd name="connsiteY399" fmla="*/ 591840 h 895572"/>
              <a:gd name="connsiteX400" fmla="*/ 113975 w 1090712"/>
              <a:gd name="connsiteY400" fmla="*/ 586137 h 895572"/>
              <a:gd name="connsiteX401" fmla="*/ 115401 w 1090712"/>
              <a:gd name="connsiteY401" fmla="*/ 579722 h 895572"/>
              <a:gd name="connsiteX402" fmla="*/ 115876 w 1090712"/>
              <a:gd name="connsiteY402" fmla="*/ 574020 h 895572"/>
              <a:gd name="connsiteX403" fmla="*/ 115876 w 1090712"/>
              <a:gd name="connsiteY403" fmla="*/ 568318 h 895572"/>
              <a:gd name="connsiteX404" fmla="*/ 115401 w 1090712"/>
              <a:gd name="connsiteY404" fmla="*/ 562378 h 895572"/>
              <a:gd name="connsiteX405" fmla="*/ 114451 w 1090712"/>
              <a:gd name="connsiteY405" fmla="*/ 557151 h 895572"/>
              <a:gd name="connsiteX406" fmla="*/ 112788 w 1090712"/>
              <a:gd name="connsiteY406" fmla="*/ 551449 h 895572"/>
              <a:gd name="connsiteX407" fmla="*/ 110412 w 1090712"/>
              <a:gd name="connsiteY407" fmla="*/ 545984 h 895572"/>
              <a:gd name="connsiteX408" fmla="*/ 108273 w 1090712"/>
              <a:gd name="connsiteY408" fmla="*/ 540757 h 895572"/>
              <a:gd name="connsiteX409" fmla="*/ 105185 w 1090712"/>
              <a:gd name="connsiteY409" fmla="*/ 535293 h 895572"/>
              <a:gd name="connsiteX410" fmla="*/ 102096 w 1090712"/>
              <a:gd name="connsiteY410" fmla="*/ 530066 h 895572"/>
              <a:gd name="connsiteX411" fmla="*/ 94968 w 1090712"/>
              <a:gd name="connsiteY411" fmla="*/ 519374 h 895572"/>
              <a:gd name="connsiteX412" fmla="*/ 86890 w 1090712"/>
              <a:gd name="connsiteY412" fmla="*/ 508683 h 895572"/>
              <a:gd name="connsiteX413" fmla="*/ 78812 w 1090712"/>
              <a:gd name="connsiteY413" fmla="*/ 497991 h 895572"/>
              <a:gd name="connsiteX414" fmla="*/ 70972 w 1090712"/>
              <a:gd name="connsiteY414" fmla="*/ 486824 h 895572"/>
              <a:gd name="connsiteX415" fmla="*/ 67408 w 1090712"/>
              <a:gd name="connsiteY415" fmla="*/ 481122 h 895572"/>
              <a:gd name="connsiteX416" fmla="*/ 64319 w 1090712"/>
              <a:gd name="connsiteY416" fmla="*/ 474707 h 895572"/>
              <a:gd name="connsiteX417" fmla="*/ 61230 w 1090712"/>
              <a:gd name="connsiteY417" fmla="*/ 469005 h 895572"/>
              <a:gd name="connsiteX418" fmla="*/ 58379 w 1090712"/>
              <a:gd name="connsiteY418" fmla="*/ 462828 h 895572"/>
              <a:gd name="connsiteX419" fmla="*/ 56716 w 1090712"/>
              <a:gd name="connsiteY419" fmla="*/ 456175 h 895572"/>
              <a:gd name="connsiteX420" fmla="*/ 54815 w 1090712"/>
              <a:gd name="connsiteY420" fmla="*/ 449998 h 895572"/>
              <a:gd name="connsiteX421" fmla="*/ 54103 w 1090712"/>
              <a:gd name="connsiteY421" fmla="*/ 443345 h 895572"/>
              <a:gd name="connsiteX422" fmla="*/ 53627 w 1090712"/>
              <a:gd name="connsiteY422" fmla="*/ 436455 h 895572"/>
              <a:gd name="connsiteX423" fmla="*/ 53627 w 1090712"/>
              <a:gd name="connsiteY423" fmla="*/ 429327 h 895572"/>
              <a:gd name="connsiteX424" fmla="*/ 54815 w 1090712"/>
              <a:gd name="connsiteY424" fmla="*/ 422675 h 895572"/>
              <a:gd name="connsiteX425" fmla="*/ 56716 w 1090712"/>
              <a:gd name="connsiteY425" fmla="*/ 415547 h 895572"/>
              <a:gd name="connsiteX426" fmla="*/ 59330 w 1090712"/>
              <a:gd name="connsiteY426" fmla="*/ 408182 h 895572"/>
              <a:gd name="connsiteX427" fmla="*/ 60280 w 1090712"/>
              <a:gd name="connsiteY427" fmla="*/ 403192 h 895572"/>
              <a:gd name="connsiteX428" fmla="*/ 61943 w 1090712"/>
              <a:gd name="connsiteY428" fmla="*/ 397965 h 895572"/>
              <a:gd name="connsiteX429" fmla="*/ 65507 w 1090712"/>
              <a:gd name="connsiteY429" fmla="*/ 387986 h 895572"/>
              <a:gd name="connsiteX430" fmla="*/ 69546 w 1090712"/>
              <a:gd name="connsiteY430" fmla="*/ 378720 h 895572"/>
              <a:gd name="connsiteX431" fmla="*/ 74535 w 1090712"/>
              <a:gd name="connsiteY431" fmla="*/ 369929 h 895572"/>
              <a:gd name="connsiteX432" fmla="*/ 79762 w 1090712"/>
              <a:gd name="connsiteY432" fmla="*/ 360901 h 895572"/>
              <a:gd name="connsiteX433" fmla="*/ 85940 w 1090712"/>
              <a:gd name="connsiteY433" fmla="*/ 352585 h 895572"/>
              <a:gd name="connsiteX434" fmla="*/ 98057 w 1090712"/>
              <a:gd name="connsiteY434" fmla="*/ 335479 h 895572"/>
              <a:gd name="connsiteX435" fmla="*/ 102571 w 1090712"/>
              <a:gd name="connsiteY435" fmla="*/ 328113 h 895572"/>
              <a:gd name="connsiteX436" fmla="*/ 106848 w 1090712"/>
              <a:gd name="connsiteY436" fmla="*/ 320986 h 895572"/>
              <a:gd name="connsiteX437" fmla="*/ 116827 w 1090712"/>
              <a:gd name="connsiteY437" fmla="*/ 307205 h 895572"/>
              <a:gd name="connsiteX438" fmla="*/ 127043 w 1090712"/>
              <a:gd name="connsiteY438" fmla="*/ 293188 h 895572"/>
              <a:gd name="connsiteX439" fmla="*/ 137735 w 1090712"/>
              <a:gd name="connsiteY439" fmla="*/ 279407 h 895572"/>
              <a:gd name="connsiteX440" fmla="*/ 159831 w 1090712"/>
              <a:gd name="connsiteY440" fmla="*/ 251847 h 895572"/>
              <a:gd name="connsiteX441" fmla="*/ 170522 w 1090712"/>
              <a:gd name="connsiteY441" fmla="*/ 238066 h 895572"/>
              <a:gd name="connsiteX442" fmla="*/ 181214 w 1090712"/>
              <a:gd name="connsiteY442" fmla="*/ 223336 h 895572"/>
              <a:gd name="connsiteX443" fmla="*/ 164820 w 1090712"/>
              <a:gd name="connsiteY443" fmla="*/ 223336 h 895572"/>
              <a:gd name="connsiteX444" fmla="*/ 137972 w 1090712"/>
              <a:gd name="connsiteY444" fmla="*/ 230226 h 895572"/>
              <a:gd name="connsiteX445" fmla="*/ 125142 w 1090712"/>
              <a:gd name="connsiteY445" fmla="*/ 233790 h 895572"/>
              <a:gd name="connsiteX446" fmla="*/ 112788 w 1090712"/>
              <a:gd name="connsiteY446" fmla="*/ 237591 h 895572"/>
              <a:gd name="connsiteX447" fmla="*/ 100195 w 1090712"/>
              <a:gd name="connsiteY447" fmla="*/ 241630 h 895572"/>
              <a:gd name="connsiteX448" fmla="*/ 87840 w 1090712"/>
              <a:gd name="connsiteY448" fmla="*/ 245669 h 895572"/>
              <a:gd name="connsiteX449" fmla="*/ 75723 w 1090712"/>
              <a:gd name="connsiteY449" fmla="*/ 250183 h 895572"/>
              <a:gd name="connsiteX450" fmla="*/ 64319 w 1090712"/>
              <a:gd name="connsiteY450" fmla="*/ 254935 h 895572"/>
              <a:gd name="connsiteX451" fmla="*/ 52677 w 1090712"/>
              <a:gd name="connsiteY451" fmla="*/ 260400 h 895572"/>
              <a:gd name="connsiteX452" fmla="*/ 41035 w 1090712"/>
              <a:gd name="connsiteY452" fmla="*/ 265627 h 895572"/>
              <a:gd name="connsiteX453" fmla="*/ 29868 w 1090712"/>
              <a:gd name="connsiteY453" fmla="*/ 271567 h 895572"/>
              <a:gd name="connsiteX454" fmla="*/ 18939 w 1090712"/>
              <a:gd name="connsiteY454" fmla="*/ 277744 h 895572"/>
              <a:gd name="connsiteX455" fmla="*/ 7772 w 1090712"/>
              <a:gd name="connsiteY455" fmla="*/ 284397 h 895572"/>
              <a:gd name="connsiteX456" fmla="*/ 0 w 1090712"/>
              <a:gd name="connsiteY456" fmla="*/ 289924 h 895572"/>
              <a:gd name="connsiteX457" fmla="*/ 0 w 1090712"/>
              <a:gd name="connsiteY457" fmla="*/ 895572 h 895572"/>
              <a:gd name="connsiteX458" fmla="*/ 125653 w 1090712"/>
              <a:gd name="connsiteY458" fmla="*/ 895572 h 895572"/>
              <a:gd name="connsiteX459" fmla="*/ 127756 w 1090712"/>
              <a:gd name="connsiteY459" fmla="*/ 892155 h 895572"/>
              <a:gd name="connsiteX460" fmla="*/ 131082 w 1090712"/>
              <a:gd name="connsiteY460" fmla="*/ 885502 h 895572"/>
              <a:gd name="connsiteX461" fmla="*/ 133696 w 1090712"/>
              <a:gd name="connsiteY461" fmla="*/ 878374 h 895572"/>
              <a:gd name="connsiteX462" fmla="*/ 135834 w 1090712"/>
              <a:gd name="connsiteY462" fmla="*/ 871722 h 895572"/>
              <a:gd name="connsiteX463" fmla="*/ 137735 w 1090712"/>
              <a:gd name="connsiteY463" fmla="*/ 864594 h 895572"/>
              <a:gd name="connsiteX464" fmla="*/ 138923 w 1090712"/>
              <a:gd name="connsiteY464" fmla="*/ 857466 h 895572"/>
              <a:gd name="connsiteX465" fmla="*/ 140348 w 1090712"/>
              <a:gd name="connsiteY465" fmla="*/ 850339 h 895572"/>
              <a:gd name="connsiteX466" fmla="*/ 141298 w 1090712"/>
              <a:gd name="connsiteY466" fmla="*/ 843211 h 895572"/>
              <a:gd name="connsiteX467" fmla="*/ 142011 w 1090712"/>
              <a:gd name="connsiteY467" fmla="*/ 828955 h 895572"/>
              <a:gd name="connsiteX468" fmla="*/ 142486 w 1090712"/>
              <a:gd name="connsiteY468" fmla="*/ 814225 h 895572"/>
              <a:gd name="connsiteX469" fmla="*/ 142486 w 1090712"/>
              <a:gd name="connsiteY469" fmla="*/ 799494 h 895572"/>
              <a:gd name="connsiteX470" fmla="*/ 142486 w 1090712"/>
              <a:gd name="connsiteY470" fmla="*/ 782625 h 895572"/>
              <a:gd name="connsiteX471" fmla="*/ 142486 w 1090712"/>
              <a:gd name="connsiteY471" fmla="*/ 771458 h 895572"/>
              <a:gd name="connsiteX472" fmla="*/ 143912 w 1090712"/>
              <a:gd name="connsiteY472" fmla="*/ 778586 h 895572"/>
              <a:gd name="connsiteX473" fmla="*/ 145100 w 1090712"/>
              <a:gd name="connsiteY473" fmla="*/ 784526 h 895572"/>
              <a:gd name="connsiteX474" fmla="*/ 147476 w 1090712"/>
              <a:gd name="connsiteY474" fmla="*/ 789753 h 895572"/>
              <a:gd name="connsiteX475" fmla="*/ 149614 w 1090712"/>
              <a:gd name="connsiteY475" fmla="*/ 794267 h 895572"/>
              <a:gd name="connsiteX476" fmla="*/ 152228 w 1090712"/>
              <a:gd name="connsiteY476" fmla="*/ 797831 h 895572"/>
              <a:gd name="connsiteX477" fmla="*/ 155554 w 1090712"/>
              <a:gd name="connsiteY477" fmla="*/ 801395 h 895572"/>
              <a:gd name="connsiteX478" fmla="*/ 158643 w 1090712"/>
              <a:gd name="connsiteY478" fmla="*/ 803533 h 895572"/>
              <a:gd name="connsiteX479" fmla="*/ 162206 w 1090712"/>
              <a:gd name="connsiteY479" fmla="*/ 805909 h 895572"/>
              <a:gd name="connsiteX480" fmla="*/ 165770 w 1090712"/>
              <a:gd name="connsiteY480" fmla="*/ 807572 h 895572"/>
              <a:gd name="connsiteX481" fmla="*/ 169572 w 1090712"/>
              <a:gd name="connsiteY481" fmla="*/ 808523 h 895572"/>
              <a:gd name="connsiteX482" fmla="*/ 174086 w 1090712"/>
              <a:gd name="connsiteY482" fmla="*/ 809473 h 895572"/>
              <a:gd name="connsiteX483" fmla="*/ 178600 w 1090712"/>
              <a:gd name="connsiteY483" fmla="*/ 810186 h 895572"/>
              <a:gd name="connsiteX484" fmla="*/ 187866 w 1090712"/>
              <a:gd name="connsiteY484" fmla="*/ 810661 h 895572"/>
              <a:gd name="connsiteX485" fmla="*/ 198083 w 1090712"/>
              <a:gd name="connsiteY485" fmla="*/ 810661 h 895572"/>
              <a:gd name="connsiteX486" fmla="*/ 236810 w 1090712"/>
              <a:gd name="connsiteY486" fmla="*/ 810661 h 895572"/>
              <a:gd name="connsiteX487" fmla="*/ 249640 w 1090712"/>
              <a:gd name="connsiteY487" fmla="*/ 811136 h 895572"/>
              <a:gd name="connsiteX488" fmla="*/ 263183 w 1090712"/>
              <a:gd name="connsiteY488" fmla="*/ 811611 h 895572"/>
              <a:gd name="connsiteX489" fmla="*/ 270310 w 1090712"/>
              <a:gd name="connsiteY489" fmla="*/ 811611 h 895572"/>
              <a:gd name="connsiteX490" fmla="*/ 276963 w 1090712"/>
              <a:gd name="connsiteY490" fmla="*/ 811136 h 895572"/>
              <a:gd name="connsiteX491" fmla="*/ 283140 w 1090712"/>
              <a:gd name="connsiteY491" fmla="*/ 810186 h 895572"/>
              <a:gd name="connsiteX492" fmla="*/ 289793 w 1090712"/>
              <a:gd name="connsiteY492" fmla="*/ 808523 h 895572"/>
              <a:gd name="connsiteX493" fmla="*/ 295495 w 1090712"/>
              <a:gd name="connsiteY493" fmla="*/ 806147 h 895572"/>
              <a:gd name="connsiteX494" fmla="*/ 301435 w 1090712"/>
              <a:gd name="connsiteY494" fmla="*/ 803058 h 895572"/>
              <a:gd name="connsiteX495" fmla="*/ 304524 w 1090712"/>
              <a:gd name="connsiteY495" fmla="*/ 801395 h 895572"/>
              <a:gd name="connsiteX496" fmla="*/ 307137 w 1090712"/>
              <a:gd name="connsiteY496" fmla="*/ 799256 h 895572"/>
              <a:gd name="connsiteX497" fmla="*/ 309275 w 1090712"/>
              <a:gd name="connsiteY497" fmla="*/ 796881 h 895572"/>
              <a:gd name="connsiteX498" fmla="*/ 312126 w 1090712"/>
              <a:gd name="connsiteY498" fmla="*/ 794267 h 895572"/>
              <a:gd name="connsiteX499" fmla="*/ 314265 w 1090712"/>
              <a:gd name="connsiteY499" fmla="*/ 791178 h 895572"/>
              <a:gd name="connsiteX500" fmla="*/ 316403 w 1090712"/>
              <a:gd name="connsiteY500" fmla="*/ 788090 h 895572"/>
              <a:gd name="connsiteX501" fmla="*/ 318304 w 1090712"/>
              <a:gd name="connsiteY501" fmla="*/ 784051 h 895572"/>
              <a:gd name="connsiteX502" fmla="*/ 319967 w 1090712"/>
              <a:gd name="connsiteY502" fmla="*/ 780012 h 895572"/>
              <a:gd name="connsiteX503" fmla="*/ 321868 w 1090712"/>
              <a:gd name="connsiteY503" fmla="*/ 775973 h 895572"/>
              <a:gd name="connsiteX504" fmla="*/ 323056 w 1090712"/>
              <a:gd name="connsiteY504" fmla="*/ 771221 h 895572"/>
              <a:gd name="connsiteX505" fmla="*/ 324481 w 1090712"/>
              <a:gd name="connsiteY505" fmla="*/ 765756 h 895572"/>
              <a:gd name="connsiteX506" fmla="*/ 325907 w 1090712"/>
              <a:gd name="connsiteY506" fmla="*/ 760529 h 895572"/>
              <a:gd name="connsiteX507" fmla="*/ 325907 w 1090712"/>
              <a:gd name="connsiteY507" fmla="*/ 827530 h 895572"/>
              <a:gd name="connsiteX508" fmla="*/ 310226 w 1090712"/>
              <a:gd name="connsiteY508" fmla="*/ 835608 h 895572"/>
              <a:gd name="connsiteX509" fmla="*/ 295970 w 1090712"/>
              <a:gd name="connsiteY509" fmla="*/ 843686 h 895572"/>
              <a:gd name="connsiteX510" fmla="*/ 282665 w 1090712"/>
              <a:gd name="connsiteY510" fmla="*/ 850339 h 895572"/>
              <a:gd name="connsiteX511" fmla="*/ 276488 w 1090712"/>
              <a:gd name="connsiteY511" fmla="*/ 852952 h 895572"/>
              <a:gd name="connsiteX512" fmla="*/ 270310 w 1090712"/>
              <a:gd name="connsiteY512" fmla="*/ 855565 h 895572"/>
              <a:gd name="connsiteX513" fmla="*/ 266271 w 1090712"/>
              <a:gd name="connsiteY513" fmla="*/ 857942 h 895572"/>
              <a:gd name="connsiteX514" fmla="*/ 262708 w 1090712"/>
              <a:gd name="connsiteY514" fmla="*/ 860080 h 895572"/>
              <a:gd name="connsiteX515" fmla="*/ 259619 w 1090712"/>
              <a:gd name="connsiteY515" fmla="*/ 862693 h 895572"/>
              <a:gd name="connsiteX516" fmla="*/ 256768 w 1090712"/>
              <a:gd name="connsiteY516" fmla="*/ 865544 h 895572"/>
              <a:gd name="connsiteX517" fmla="*/ 254154 w 1090712"/>
              <a:gd name="connsiteY517" fmla="*/ 868633 h 895572"/>
              <a:gd name="connsiteX518" fmla="*/ 252491 w 1090712"/>
              <a:gd name="connsiteY518" fmla="*/ 871722 h 895572"/>
              <a:gd name="connsiteX519" fmla="*/ 250590 w 1090712"/>
              <a:gd name="connsiteY519" fmla="*/ 874810 h 895572"/>
              <a:gd name="connsiteX520" fmla="*/ 249402 w 1090712"/>
              <a:gd name="connsiteY520" fmla="*/ 877899 h 895572"/>
              <a:gd name="connsiteX521" fmla="*/ 248452 w 1090712"/>
              <a:gd name="connsiteY521" fmla="*/ 880988 h 895572"/>
              <a:gd name="connsiteX522" fmla="*/ 247977 w 1090712"/>
              <a:gd name="connsiteY522" fmla="*/ 884076 h 895572"/>
              <a:gd name="connsiteX523" fmla="*/ 247977 w 1090712"/>
              <a:gd name="connsiteY523" fmla="*/ 887165 h 895572"/>
              <a:gd name="connsiteX524" fmla="*/ 248452 w 1090712"/>
              <a:gd name="connsiteY524" fmla="*/ 890016 h 895572"/>
              <a:gd name="connsiteX525" fmla="*/ 249402 w 1090712"/>
              <a:gd name="connsiteY525" fmla="*/ 893105 h 895572"/>
              <a:gd name="connsiteX526" fmla="*/ 250075 w 1090712"/>
              <a:gd name="connsiteY526" fmla="*/ 895572 h 895572"/>
              <a:gd name="connsiteX527" fmla="*/ 474750 w 1090712"/>
              <a:gd name="connsiteY527" fmla="*/ 895572 h 895572"/>
              <a:gd name="connsiteX528" fmla="*/ 475827 w 1090712"/>
              <a:gd name="connsiteY528" fmla="*/ 894768 h 895572"/>
              <a:gd name="connsiteX529" fmla="*/ 486993 w 1090712"/>
              <a:gd name="connsiteY529" fmla="*/ 882889 h 895572"/>
              <a:gd name="connsiteX530" fmla="*/ 497210 w 1090712"/>
              <a:gd name="connsiteY530" fmla="*/ 870296 h 895572"/>
              <a:gd name="connsiteX531" fmla="*/ 506951 w 1090712"/>
              <a:gd name="connsiteY531" fmla="*/ 857942 h 895572"/>
              <a:gd name="connsiteX532" fmla="*/ 515742 w 1090712"/>
              <a:gd name="connsiteY532" fmla="*/ 844636 h 895572"/>
              <a:gd name="connsiteX533" fmla="*/ 523820 w 1090712"/>
              <a:gd name="connsiteY533" fmla="*/ 831094 h 895572"/>
              <a:gd name="connsiteX534" fmla="*/ 531898 w 1090712"/>
              <a:gd name="connsiteY534" fmla="*/ 816838 h 895572"/>
              <a:gd name="connsiteX535" fmla="*/ 539026 w 1090712"/>
              <a:gd name="connsiteY535" fmla="*/ 802583 h 895572"/>
              <a:gd name="connsiteX536" fmla="*/ 545678 w 1090712"/>
              <a:gd name="connsiteY536" fmla="*/ 788565 h 895572"/>
              <a:gd name="connsiteX537" fmla="*/ 552331 w 1090712"/>
              <a:gd name="connsiteY537" fmla="*/ 773359 h 895572"/>
              <a:gd name="connsiteX538" fmla="*/ 558033 w 1090712"/>
              <a:gd name="connsiteY538" fmla="*/ 758628 h 895572"/>
              <a:gd name="connsiteX539" fmla="*/ 563498 w 1090712"/>
              <a:gd name="connsiteY539" fmla="*/ 743185 h 895572"/>
              <a:gd name="connsiteX540" fmla="*/ 568725 w 1090712"/>
              <a:gd name="connsiteY540" fmla="*/ 727979 h 895572"/>
              <a:gd name="connsiteX541" fmla="*/ 573714 w 1090712"/>
              <a:gd name="connsiteY541" fmla="*/ 712298 h 895572"/>
              <a:gd name="connsiteX542" fmla="*/ 577991 w 1090712"/>
              <a:gd name="connsiteY542" fmla="*/ 696855 h 895572"/>
              <a:gd name="connsiteX543" fmla="*/ 586544 w 1090712"/>
              <a:gd name="connsiteY543" fmla="*/ 665255 h 895572"/>
              <a:gd name="connsiteX544" fmla="*/ 586069 w 1090712"/>
              <a:gd name="connsiteY544" fmla="*/ 663117 h 895572"/>
              <a:gd name="connsiteX545" fmla="*/ 584881 w 1090712"/>
              <a:gd name="connsiteY545" fmla="*/ 660266 h 895572"/>
              <a:gd name="connsiteX546" fmla="*/ 582980 w 1090712"/>
              <a:gd name="connsiteY546" fmla="*/ 657177 h 895572"/>
              <a:gd name="connsiteX547" fmla="*/ 580367 w 1090712"/>
              <a:gd name="connsiteY547" fmla="*/ 654088 h 895572"/>
              <a:gd name="connsiteX548" fmla="*/ 574902 w 1090712"/>
              <a:gd name="connsiteY548" fmla="*/ 647911 h 895572"/>
              <a:gd name="connsiteX549" fmla="*/ 570150 w 1090712"/>
              <a:gd name="connsiteY549" fmla="*/ 642922 h 895572"/>
              <a:gd name="connsiteX550" fmla="*/ 565636 w 1090712"/>
              <a:gd name="connsiteY550" fmla="*/ 636744 h 895572"/>
              <a:gd name="connsiteX551" fmla="*/ 560647 w 1090712"/>
              <a:gd name="connsiteY551" fmla="*/ 631517 h 895572"/>
              <a:gd name="connsiteX552" fmla="*/ 555420 w 1090712"/>
              <a:gd name="connsiteY552" fmla="*/ 626053 h 895572"/>
              <a:gd name="connsiteX553" fmla="*/ 550193 w 1090712"/>
              <a:gd name="connsiteY553" fmla="*/ 621301 h 895572"/>
              <a:gd name="connsiteX554" fmla="*/ 544253 w 1090712"/>
              <a:gd name="connsiteY554" fmla="*/ 616787 h 895572"/>
              <a:gd name="connsiteX555" fmla="*/ 538075 w 1090712"/>
              <a:gd name="connsiteY555" fmla="*/ 612272 h 895572"/>
              <a:gd name="connsiteX556" fmla="*/ 525721 w 1090712"/>
              <a:gd name="connsiteY556" fmla="*/ 603719 h 895572"/>
              <a:gd name="connsiteX557" fmla="*/ 563023 w 1090712"/>
              <a:gd name="connsiteY557" fmla="*/ 619875 h 895572"/>
              <a:gd name="connsiteX558" fmla="*/ 581317 w 1090712"/>
              <a:gd name="connsiteY558" fmla="*/ 628191 h 895572"/>
              <a:gd name="connsiteX559" fmla="*/ 599374 w 1090712"/>
              <a:gd name="connsiteY559" fmla="*/ 636744 h 895572"/>
              <a:gd name="connsiteX560" fmla="*/ 607927 w 1090712"/>
              <a:gd name="connsiteY560" fmla="*/ 641259 h 895572"/>
              <a:gd name="connsiteX561" fmla="*/ 616718 w 1090712"/>
              <a:gd name="connsiteY561" fmla="*/ 646010 h 895572"/>
              <a:gd name="connsiteX562" fmla="*/ 625271 w 1090712"/>
              <a:gd name="connsiteY562" fmla="*/ 651000 h 895572"/>
              <a:gd name="connsiteX563" fmla="*/ 633349 w 1090712"/>
              <a:gd name="connsiteY563" fmla="*/ 656227 h 895572"/>
              <a:gd name="connsiteX564" fmla="*/ 641665 w 1090712"/>
              <a:gd name="connsiteY564" fmla="*/ 662167 h 895572"/>
              <a:gd name="connsiteX565" fmla="*/ 649268 w 1090712"/>
              <a:gd name="connsiteY565" fmla="*/ 668344 h 895572"/>
              <a:gd name="connsiteX566" fmla="*/ 656871 w 1090712"/>
              <a:gd name="connsiteY566" fmla="*/ 674996 h 895572"/>
              <a:gd name="connsiteX567" fmla="*/ 664474 w 1090712"/>
              <a:gd name="connsiteY567" fmla="*/ 682124 h 895572"/>
              <a:gd name="connsiteX568" fmla="*/ 668988 w 1090712"/>
              <a:gd name="connsiteY568" fmla="*/ 686163 h 895572"/>
              <a:gd name="connsiteX569" fmla="*/ 672790 w 1090712"/>
              <a:gd name="connsiteY569" fmla="*/ 690202 h 895572"/>
              <a:gd name="connsiteX570" fmla="*/ 677304 w 1090712"/>
              <a:gd name="connsiteY570" fmla="*/ 693291 h 895572"/>
              <a:gd name="connsiteX571" fmla="*/ 682293 w 1090712"/>
              <a:gd name="connsiteY571" fmla="*/ 696855 h 895572"/>
              <a:gd name="connsiteX572" fmla="*/ 686570 w 1090712"/>
              <a:gd name="connsiteY572" fmla="*/ 699468 h 895572"/>
              <a:gd name="connsiteX573" fmla="*/ 691559 w 1090712"/>
              <a:gd name="connsiteY573" fmla="*/ 702082 h 895572"/>
              <a:gd name="connsiteX574" fmla="*/ 696549 w 1090712"/>
              <a:gd name="connsiteY574" fmla="*/ 703983 h 895572"/>
              <a:gd name="connsiteX575" fmla="*/ 701300 w 1090712"/>
              <a:gd name="connsiteY575" fmla="*/ 705646 h 895572"/>
              <a:gd name="connsiteX576" fmla="*/ 706290 w 1090712"/>
              <a:gd name="connsiteY576" fmla="*/ 707071 h 895572"/>
              <a:gd name="connsiteX577" fmla="*/ 711042 w 1090712"/>
              <a:gd name="connsiteY577" fmla="*/ 708497 h 895572"/>
              <a:gd name="connsiteX578" fmla="*/ 716506 w 1090712"/>
              <a:gd name="connsiteY578" fmla="*/ 708734 h 895572"/>
              <a:gd name="connsiteX579" fmla="*/ 721258 w 1090712"/>
              <a:gd name="connsiteY579" fmla="*/ 708734 h 895572"/>
              <a:gd name="connsiteX580" fmla="*/ 726723 w 1090712"/>
              <a:gd name="connsiteY580" fmla="*/ 708497 h 895572"/>
              <a:gd name="connsiteX581" fmla="*/ 731712 w 1090712"/>
              <a:gd name="connsiteY581" fmla="*/ 707546 h 895572"/>
              <a:gd name="connsiteX582" fmla="*/ 736939 w 1090712"/>
              <a:gd name="connsiteY582" fmla="*/ 706121 h 895572"/>
              <a:gd name="connsiteX583" fmla="*/ 742166 w 1090712"/>
              <a:gd name="connsiteY583" fmla="*/ 704458 h 895572"/>
              <a:gd name="connsiteX584" fmla="*/ 749294 w 1090712"/>
              <a:gd name="connsiteY584" fmla="*/ 702082 h 895572"/>
              <a:gd name="connsiteX585" fmla="*/ 756184 w 1090712"/>
              <a:gd name="connsiteY585" fmla="*/ 699468 h 895572"/>
              <a:gd name="connsiteX586" fmla="*/ 762361 w 1090712"/>
              <a:gd name="connsiteY586" fmla="*/ 696380 h 895572"/>
              <a:gd name="connsiteX587" fmla="*/ 768063 w 1090712"/>
              <a:gd name="connsiteY587" fmla="*/ 692816 h 895572"/>
              <a:gd name="connsiteX588" fmla="*/ 773528 w 1090712"/>
              <a:gd name="connsiteY588" fmla="*/ 689252 h 895572"/>
              <a:gd name="connsiteX589" fmla="*/ 778755 w 1090712"/>
              <a:gd name="connsiteY589" fmla="*/ 684738 h 895572"/>
              <a:gd name="connsiteX590" fmla="*/ 783269 w 1090712"/>
              <a:gd name="connsiteY590" fmla="*/ 680461 h 895572"/>
              <a:gd name="connsiteX591" fmla="*/ 787308 w 1090712"/>
              <a:gd name="connsiteY591" fmla="*/ 674996 h 895572"/>
              <a:gd name="connsiteX592" fmla="*/ 791110 w 1090712"/>
              <a:gd name="connsiteY592" fmla="*/ 669769 h 895572"/>
              <a:gd name="connsiteX593" fmla="*/ 794436 w 1090712"/>
              <a:gd name="connsiteY593" fmla="*/ 663830 h 895572"/>
              <a:gd name="connsiteX594" fmla="*/ 797050 w 1090712"/>
              <a:gd name="connsiteY594" fmla="*/ 657652 h 895572"/>
              <a:gd name="connsiteX595" fmla="*/ 799188 w 1090712"/>
              <a:gd name="connsiteY595" fmla="*/ 651000 h 895572"/>
              <a:gd name="connsiteX596" fmla="*/ 801089 w 1090712"/>
              <a:gd name="connsiteY596" fmla="*/ 643872 h 895572"/>
              <a:gd name="connsiteX597" fmla="*/ 802277 w 1090712"/>
              <a:gd name="connsiteY597" fmla="*/ 636744 h 895572"/>
              <a:gd name="connsiteX598" fmla="*/ 803227 w 1090712"/>
              <a:gd name="connsiteY598" fmla="*/ 628666 h 895572"/>
              <a:gd name="connsiteX599" fmla="*/ 803227 w 1090712"/>
              <a:gd name="connsiteY599" fmla="*/ 620826 h 895572"/>
              <a:gd name="connsiteX600" fmla="*/ 801089 w 1090712"/>
              <a:gd name="connsiteY600" fmla="*/ 622489 h 895572"/>
              <a:gd name="connsiteX601" fmla="*/ 798238 w 1090712"/>
              <a:gd name="connsiteY601" fmla="*/ 623914 h 895572"/>
              <a:gd name="connsiteX602" fmla="*/ 793011 w 1090712"/>
              <a:gd name="connsiteY602" fmla="*/ 626053 h 895572"/>
              <a:gd name="connsiteX603" fmla="*/ 790397 w 1090712"/>
              <a:gd name="connsiteY603" fmla="*/ 627478 h 895572"/>
              <a:gd name="connsiteX604" fmla="*/ 788496 w 1090712"/>
              <a:gd name="connsiteY604" fmla="*/ 628191 h 895572"/>
              <a:gd name="connsiteX605" fmla="*/ 787308 w 1090712"/>
              <a:gd name="connsiteY605" fmla="*/ 630092 h 895572"/>
              <a:gd name="connsiteX606" fmla="*/ 786833 w 1090712"/>
              <a:gd name="connsiteY606" fmla="*/ 631755 h 895572"/>
              <a:gd name="connsiteX607" fmla="*/ 785408 w 1090712"/>
              <a:gd name="connsiteY607" fmla="*/ 635794 h 895572"/>
              <a:gd name="connsiteX608" fmla="*/ 784220 w 1090712"/>
              <a:gd name="connsiteY608" fmla="*/ 639833 h 895572"/>
              <a:gd name="connsiteX609" fmla="*/ 780656 w 1090712"/>
              <a:gd name="connsiteY609" fmla="*/ 646485 h 895572"/>
              <a:gd name="connsiteX610" fmla="*/ 776617 w 1090712"/>
              <a:gd name="connsiteY610" fmla="*/ 653138 h 895572"/>
              <a:gd name="connsiteX611" fmla="*/ 772103 w 1090712"/>
              <a:gd name="connsiteY611" fmla="*/ 659078 h 895572"/>
              <a:gd name="connsiteX612" fmla="*/ 762361 w 1090712"/>
              <a:gd name="connsiteY612" fmla="*/ 670007 h 895572"/>
              <a:gd name="connsiteX613" fmla="*/ 757847 w 1090712"/>
              <a:gd name="connsiteY613" fmla="*/ 675947 h 895572"/>
              <a:gd name="connsiteX614" fmla="*/ 753333 w 1090712"/>
              <a:gd name="connsiteY614" fmla="*/ 682124 h 895572"/>
              <a:gd name="connsiteX615" fmla="*/ 750244 w 1090712"/>
              <a:gd name="connsiteY615" fmla="*/ 684738 h 895572"/>
              <a:gd name="connsiteX616" fmla="*/ 747155 w 1090712"/>
              <a:gd name="connsiteY616" fmla="*/ 687589 h 895572"/>
              <a:gd name="connsiteX617" fmla="*/ 744067 w 1090712"/>
              <a:gd name="connsiteY617" fmla="*/ 689252 h 895572"/>
              <a:gd name="connsiteX618" fmla="*/ 740978 w 1090712"/>
              <a:gd name="connsiteY618" fmla="*/ 690915 h 895572"/>
              <a:gd name="connsiteX619" fmla="*/ 737890 w 1090712"/>
              <a:gd name="connsiteY619" fmla="*/ 691865 h 895572"/>
              <a:gd name="connsiteX620" fmla="*/ 734801 w 1090712"/>
              <a:gd name="connsiteY620" fmla="*/ 692816 h 895572"/>
              <a:gd name="connsiteX621" fmla="*/ 731950 w 1090712"/>
              <a:gd name="connsiteY621" fmla="*/ 693291 h 895572"/>
              <a:gd name="connsiteX622" fmla="*/ 728861 w 1090712"/>
              <a:gd name="connsiteY622" fmla="*/ 693291 h 895572"/>
              <a:gd name="connsiteX623" fmla="*/ 723634 w 1090712"/>
              <a:gd name="connsiteY623" fmla="*/ 692816 h 895572"/>
              <a:gd name="connsiteX624" fmla="*/ 718169 w 1090712"/>
              <a:gd name="connsiteY624" fmla="*/ 691390 h 895572"/>
              <a:gd name="connsiteX625" fmla="*/ 713418 w 1090712"/>
              <a:gd name="connsiteY625" fmla="*/ 689727 h 895572"/>
              <a:gd name="connsiteX626" fmla="*/ 708903 w 1090712"/>
              <a:gd name="connsiteY626" fmla="*/ 687826 h 895572"/>
              <a:gd name="connsiteX627" fmla="*/ 706765 w 1090712"/>
              <a:gd name="connsiteY627" fmla="*/ 687589 h 895572"/>
              <a:gd name="connsiteX628" fmla="*/ 704864 w 1090712"/>
              <a:gd name="connsiteY628" fmla="*/ 687114 h 895572"/>
              <a:gd name="connsiteX629" fmla="*/ 703201 w 1090712"/>
              <a:gd name="connsiteY629" fmla="*/ 686163 h 895572"/>
              <a:gd name="connsiteX630" fmla="*/ 701776 w 1090712"/>
              <a:gd name="connsiteY630" fmla="*/ 684738 h 895572"/>
              <a:gd name="connsiteX631" fmla="*/ 698687 w 1090712"/>
              <a:gd name="connsiteY631" fmla="*/ 681649 h 895572"/>
              <a:gd name="connsiteX632" fmla="*/ 696549 w 1090712"/>
              <a:gd name="connsiteY632" fmla="*/ 678085 h 895572"/>
              <a:gd name="connsiteX633" fmla="*/ 694648 w 1090712"/>
              <a:gd name="connsiteY633" fmla="*/ 673571 h 895572"/>
              <a:gd name="connsiteX634" fmla="*/ 693460 w 1090712"/>
              <a:gd name="connsiteY634" fmla="*/ 668819 h 895572"/>
              <a:gd name="connsiteX635" fmla="*/ 692510 w 1090712"/>
              <a:gd name="connsiteY635" fmla="*/ 664305 h 895572"/>
              <a:gd name="connsiteX636" fmla="*/ 692510 w 1090712"/>
              <a:gd name="connsiteY636" fmla="*/ 659790 h 895572"/>
              <a:gd name="connsiteX637" fmla="*/ 692510 w 1090712"/>
              <a:gd name="connsiteY637" fmla="*/ 647436 h 895572"/>
              <a:gd name="connsiteX638" fmla="*/ 693460 w 1090712"/>
              <a:gd name="connsiteY638" fmla="*/ 635319 h 895572"/>
              <a:gd name="connsiteX639" fmla="*/ 694173 w 1090712"/>
              <a:gd name="connsiteY639" fmla="*/ 624389 h 895572"/>
              <a:gd name="connsiteX640" fmla="*/ 695598 w 1090712"/>
              <a:gd name="connsiteY640" fmla="*/ 612748 h 895572"/>
              <a:gd name="connsiteX641" fmla="*/ 699162 w 1090712"/>
              <a:gd name="connsiteY641" fmla="*/ 591364 h 895572"/>
              <a:gd name="connsiteX642" fmla="*/ 703676 w 1090712"/>
              <a:gd name="connsiteY642" fmla="*/ 570456 h 895572"/>
              <a:gd name="connsiteX643" fmla="*/ 720070 w 1090712"/>
              <a:gd name="connsiteY643" fmla="*/ 574971 h 895572"/>
              <a:gd name="connsiteX644" fmla="*/ 736939 w 1090712"/>
              <a:gd name="connsiteY644" fmla="*/ 579247 h 895572"/>
              <a:gd name="connsiteX645" fmla="*/ 770677 w 1090712"/>
              <a:gd name="connsiteY645" fmla="*/ 589226 h 895572"/>
              <a:gd name="connsiteX646" fmla="*/ 788021 w 1090712"/>
              <a:gd name="connsiteY646" fmla="*/ 593503 h 895572"/>
              <a:gd name="connsiteX647" fmla="*/ 805365 w 1090712"/>
              <a:gd name="connsiteY647" fmla="*/ 597542 h 895572"/>
              <a:gd name="connsiteX648" fmla="*/ 823660 w 1090712"/>
              <a:gd name="connsiteY648" fmla="*/ 601106 h 895572"/>
              <a:gd name="connsiteX649" fmla="*/ 841954 w 1090712"/>
              <a:gd name="connsiteY649" fmla="*/ 603719 h 895572"/>
              <a:gd name="connsiteX650" fmla="*/ 861437 w 1090712"/>
              <a:gd name="connsiteY650" fmla="*/ 606570 h 895572"/>
              <a:gd name="connsiteX651" fmla="*/ 880682 w 1090712"/>
              <a:gd name="connsiteY651" fmla="*/ 608233 h 895572"/>
              <a:gd name="connsiteX652" fmla="*/ 889948 w 1090712"/>
              <a:gd name="connsiteY652" fmla="*/ 608708 h 895572"/>
              <a:gd name="connsiteX653" fmla="*/ 898976 w 1090712"/>
              <a:gd name="connsiteY653" fmla="*/ 608708 h 895572"/>
              <a:gd name="connsiteX654" fmla="*/ 908242 w 1090712"/>
              <a:gd name="connsiteY654" fmla="*/ 608708 h 895572"/>
              <a:gd name="connsiteX655" fmla="*/ 916795 w 1090712"/>
              <a:gd name="connsiteY655" fmla="*/ 608233 h 895572"/>
              <a:gd name="connsiteX656" fmla="*/ 925586 w 1090712"/>
              <a:gd name="connsiteY656" fmla="*/ 607283 h 895572"/>
              <a:gd name="connsiteX657" fmla="*/ 934140 w 1090712"/>
              <a:gd name="connsiteY657" fmla="*/ 606095 h 895572"/>
              <a:gd name="connsiteX658" fmla="*/ 942455 w 1090712"/>
              <a:gd name="connsiteY658" fmla="*/ 604669 h 895572"/>
              <a:gd name="connsiteX659" fmla="*/ 950533 w 1090712"/>
              <a:gd name="connsiteY659" fmla="*/ 603006 h 895572"/>
              <a:gd name="connsiteX660" fmla="*/ 958611 w 1090712"/>
              <a:gd name="connsiteY660" fmla="*/ 600630 h 895572"/>
              <a:gd name="connsiteX661" fmla="*/ 966452 w 1090712"/>
              <a:gd name="connsiteY661" fmla="*/ 598017 h 895572"/>
              <a:gd name="connsiteX662" fmla="*/ 974055 w 1090712"/>
              <a:gd name="connsiteY662" fmla="*/ 595403 h 895572"/>
              <a:gd name="connsiteX663" fmla="*/ 981658 w 1090712"/>
              <a:gd name="connsiteY663" fmla="*/ 591840 h 895572"/>
              <a:gd name="connsiteX664" fmla="*/ 989261 w 1090712"/>
              <a:gd name="connsiteY664" fmla="*/ 588276 h 895572"/>
              <a:gd name="connsiteX665" fmla="*/ 996388 w 1090712"/>
              <a:gd name="connsiteY665" fmla="*/ 584237 h 895572"/>
              <a:gd name="connsiteX666" fmla="*/ 1003041 w 1090712"/>
              <a:gd name="connsiteY666" fmla="*/ 579247 h 895572"/>
              <a:gd name="connsiteX667" fmla="*/ 1009694 w 1090712"/>
              <a:gd name="connsiteY667" fmla="*/ 574495 h 895572"/>
              <a:gd name="connsiteX668" fmla="*/ 1016346 w 1090712"/>
              <a:gd name="connsiteY668" fmla="*/ 569031 h 895572"/>
              <a:gd name="connsiteX669" fmla="*/ 1022998 w 1090712"/>
              <a:gd name="connsiteY669" fmla="*/ 562853 h 895572"/>
              <a:gd name="connsiteX670" fmla="*/ 1029176 w 1090712"/>
              <a:gd name="connsiteY670" fmla="*/ 556676 h 895572"/>
              <a:gd name="connsiteX671" fmla="*/ 1035116 w 1090712"/>
              <a:gd name="connsiteY671" fmla="*/ 549548 h 895572"/>
              <a:gd name="connsiteX672" fmla="*/ 1040818 w 1090712"/>
              <a:gd name="connsiteY672" fmla="*/ 541945 h 895572"/>
              <a:gd name="connsiteX673" fmla="*/ 1046520 w 1090712"/>
              <a:gd name="connsiteY673" fmla="*/ 534342 h 895572"/>
              <a:gd name="connsiteX674" fmla="*/ 1051985 w 1090712"/>
              <a:gd name="connsiteY674" fmla="*/ 526027 h 895572"/>
              <a:gd name="connsiteX675" fmla="*/ 1056737 w 1090712"/>
              <a:gd name="connsiteY675" fmla="*/ 516523 h 895572"/>
              <a:gd name="connsiteX676" fmla="*/ 1061726 w 1090712"/>
              <a:gd name="connsiteY676" fmla="*/ 507257 h 895572"/>
              <a:gd name="connsiteX677" fmla="*/ 1066715 w 1090712"/>
              <a:gd name="connsiteY677" fmla="*/ 497041 h 895572"/>
              <a:gd name="connsiteX678" fmla="*/ 1070992 w 1090712"/>
              <a:gd name="connsiteY678" fmla="*/ 486349 h 895572"/>
              <a:gd name="connsiteX679" fmla="*/ 1075506 w 1090712"/>
              <a:gd name="connsiteY679" fmla="*/ 475182 h 895572"/>
              <a:gd name="connsiteX680" fmla="*/ 1079070 w 1090712"/>
              <a:gd name="connsiteY680" fmla="*/ 462828 h 895572"/>
              <a:gd name="connsiteX681" fmla="*/ 1082634 w 1090712"/>
              <a:gd name="connsiteY681" fmla="*/ 449998 h 895572"/>
              <a:gd name="connsiteX682" fmla="*/ 1084772 w 1090712"/>
              <a:gd name="connsiteY682" fmla="*/ 437405 h 895572"/>
              <a:gd name="connsiteX683" fmla="*/ 1087148 w 1090712"/>
              <a:gd name="connsiteY683" fmla="*/ 425050 h 895572"/>
              <a:gd name="connsiteX684" fmla="*/ 1088811 w 1090712"/>
              <a:gd name="connsiteY684" fmla="*/ 411983 h 895572"/>
              <a:gd name="connsiteX685" fmla="*/ 1089762 w 1090712"/>
              <a:gd name="connsiteY685" fmla="*/ 399628 h 895572"/>
              <a:gd name="connsiteX686" fmla="*/ 1090712 w 1090712"/>
              <a:gd name="connsiteY686" fmla="*/ 386798 h 895572"/>
              <a:gd name="connsiteX687" fmla="*/ 1090712 w 1090712"/>
              <a:gd name="connsiteY687" fmla="*/ 373731 h 895572"/>
              <a:gd name="connsiteX688" fmla="*/ 1090712 w 1090712"/>
              <a:gd name="connsiteY688" fmla="*/ 360901 h 895572"/>
              <a:gd name="connsiteX689" fmla="*/ 1089762 w 1090712"/>
              <a:gd name="connsiteY689" fmla="*/ 348071 h 895572"/>
              <a:gd name="connsiteX690" fmla="*/ 1088811 w 1090712"/>
              <a:gd name="connsiteY690" fmla="*/ 335004 h 895572"/>
              <a:gd name="connsiteX691" fmla="*/ 1088099 w 1090712"/>
              <a:gd name="connsiteY691" fmla="*/ 321698 h 895572"/>
              <a:gd name="connsiteX692" fmla="*/ 1084772 w 1090712"/>
              <a:gd name="connsiteY692" fmla="*/ 295563 h 895572"/>
              <a:gd name="connsiteX693" fmla="*/ 1080971 w 1090712"/>
              <a:gd name="connsiteY693" fmla="*/ 268478 h 895572"/>
              <a:gd name="connsiteX694" fmla="*/ 1078595 w 1090712"/>
              <a:gd name="connsiteY694" fmla="*/ 258262 h 895572"/>
              <a:gd name="connsiteX695" fmla="*/ 1075981 w 1090712"/>
              <a:gd name="connsiteY695" fmla="*/ 248283 h 895572"/>
              <a:gd name="connsiteX696" fmla="*/ 1072417 w 1090712"/>
              <a:gd name="connsiteY696" fmla="*/ 238542 h 895572"/>
              <a:gd name="connsiteX697" fmla="*/ 1069329 w 1090712"/>
              <a:gd name="connsiteY697" fmla="*/ 229275 h 895572"/>
              <a:gd name="connsiteX698" fmla="*/ 1061251 w 1090712"/>
              <a:gd name="connsiteY698" fmla="*/ 210031 h 895572"/>
              <a:gd name="connsiteX699" fmla="*/ 1053173 w 1090712"/>
              <a:gd name="connsiteY699" fmla="*/ 190073 h 895572"/>
              <a:gd name="connsiteX700" fmla="*/ 1051034 w 1090712"/>
              <a:gd name="connsiteY700" fmla="*/ 186034 h 895572"/>
              <a:gd name="connsiteX701" fmla="*/ 1048896 w 1090712"/>
              <a:gd name="connsiteY701" fmla="*/ 182470 h 895572"/>
              <a:gd name="connsiteX702" fmla="*/ 1046045 w 1090712"/>
              <a:gd name="connsiteY702" fmla="*/ 179381 h 895572"/>
              <a:gd name="connsiteX703" fmla="*/ 1043906 w 1090712"/>
              <a:gd name="connsiteY703" fmla="*/ 176768 h 895572"/>
              <a:gd name="connsiteX704" fmla="*/ 1041293 w 1090712"/>
              <a:gd name="connsiteY704" fmla="*/ 174630 h 895572"/>
              <a:gd name="connsiteX705" fmla="*/ 1038680 w 1090712"/>
              <a:gd name="connsiteY705" fmla="*/ 172729 h 895572"/>
              <a:gd name="connsiteX706" fmla="*/ 1035828 w 1090712"/>
              <a:gd name="connsiteY706" fmla="*/ 171303 h 895572"/>
              <a:gd name="connsiteX707" fmla="*/ 1032740 w 1090712"/>
              <a:gd name="connsiteY707" fmla="*/ 170591 h 895572"/>
              <a:gd name="connsiteX708" fmla="*/ 1030126 w 1090712"/>
              <a:gd name="connsiteY708" fmla="*/ 170591 h 895572"/>
              <a:gd name="connsiteX709" fmla="*/ 1027038 w 1090712"/>
              <a:gd name="connsiteY709" fmla="*/ 170591 h 895572"/>
              <a:gd name="connsiteX710" fmla="*/ 1024424 w 1090712"/>
              <a:gd name="connsiteY710" fmla="*/ 171303 h 895572"/>
              <a:gd name="connsiteX711" fmla="*/ 1021335 w 1090712"/>
              <a:gd name="connsiteY711" fmla="*/ 172729 h 895572"/>
              <a:gd name="connsiteX712" fmla="*/ 1018247 w 1090712"/>
              <a:gd name="connsiteY712" fmla="*/ 174867 h 895572"/>
              <a:gd name="connsiteX713" fmla="*/ 1014920 w 1090712"/>
              <a:gd name="connsiteY713" fmla="*/ 177718 h 895572"/>
              <a:gd name="connsiteX714" fmla="*/ 1011832 w 1090712"/>
              <a:gd name="connsiteY714" fmla="*/ 180807 h 895572"/>
              <a:gd name="connsiteX715" fmla="*/ 1008743 w 1090712"/>
              <a:gd name="connsiteY715" fmla="*/ 184846 h 895572"/>
              <a:gd name="connsiteX716" fmla="*/ 991874 w 1090712"/>
              <a:gd name="connsiteY716" fmla="*/ 201240 h 895572"/>
              <a:gd name="connsiteX717" fmla="*/ 983321 w 1090712"/>
              <a:gd name="connsiteY717" fmla="*/ 209318 h 895572"/>
              <a:gd name="connsiteX718" fmla="*/ 974530 w 1090712"/>
              <a:gd name="connsiteY718" fmla="*/ 216683 h 895572"/>
              <a:gd name="connsiteX719" fmla="*/ 965739 w 1090712"/>
              <a:gd name="connsiteY719" fmla="*/ 223811 h 895572"/>
              <a:gd name="connsiteX720" fmla="*/ 956236 w 1090712"/>
              <a:gd name="connsiteY720" fmla="*/ 230226 h 895572"/>
              <a:gd name="connsiteX721" fmla="*/ 946494 w 1090712"/>
              <a:gd name="connsiteY721" fmla="*/ 235928 h 895572"/>
              <a:gd name="connsiteX722" fmla="*/ 941505 w 1090712"/>
              <a:gd name="connsiteY722" fmla="*/ 238066 h 895572"/>
              <a:gd name="connsiteX723" fmla="*/ 936753 w 1090712"/>
              <a:gd name="connsiteY723" fmla="*/ 240442 h 895572"/>
              <a:gd name="connsiteX724" fmla="*/ 932239 w 1090712"/>
              <a:gd name="connsiteY724" fmla="*/ 242581 h 895572"/>
              <a:gd name="connsiteX725" fmla="*/ 928675 w 1090712"/>
              <a:gd name="connsiteY725" fmla="*/ 245669 h 895572"/>
              <a:gd name="connsiteX726" fmla="*/ 925111 w 1090712"/>
              <a:gd name="connsiteY726" fmla="*/ 249233 h 895572"/>
              <a:gd name="connsiteX727" fmla="*/ 922022 w 1090712"/>
              <a:gd name="connsiteY727" fmla="*/ 252797 h 895572"/>
              <a:gd name="connsiteX728" fmla="*/ 919884 w 1090712"/>
              <a:gd name="connsiteY728" fmla="*/ 257311 h 895572"/>
              <a:gd name="connsiteX729" fmla="*/ 918934 w 1090712"/>
              <a:gd name="connsiteY729" fmla="*/ 259925 h 895572"/>
              <a:gd name="connsiteX730" fmla="*/ 918459 w 1090712"/>
              <a:gd name="connsiteY730" fmla="*/ 262538 h 895572"/>
              <a:gd name="connsiteX731" fmla="*/ 918459 w 1090712"/>
              <a:gd name="connsiteY731" fmla="*/ 265389 h 895572"/>
              <a:gd name="connsiteX732" fmla="*/ 918459 w 1090712"/>
              <a:gd name="connsiteY732" fmla="*/ 268003 h 895572"/>
              <a:gd name="connsiteX733" fmla="*/ 918934 w 1090712"/>
              <a:gd name="connsiteY733" fmla="*/ 271091 h 895572"/>
              <a:gd name="connsiteX734" fmla="*/ 919884 w 1090712"/>
              <a:gd name="connsiteY734" fmla="*/ 274180 h 895572"/>
              <a:gd name="connsiteX735" fmla="*/ 921547 w 1090712"/>
              <a:gd name="connsiteY735" fmla="*/ 282258 h 895572"/>
              <a:gd name="connsiteX736" fmla="*/ 922973 w 1090712"/>
              <a:gd name="connsiteY736" fmla="*/ 290574 h 895572"/>
              <a:gd name="connsiteX737" fmla="*/ 923923 w 1090712"/>
              <a:gd name="connsiteY737" fmla="*/ 299127 h 895572"/>
              <a:gd name="connsiteX738" fmla="*/ 924161 w 1090712"/>
              <a:gd name="connsiteY738" fmla="*/ 307443 h 895572"/>
              <a:gd name="connsiteX739" fmla="*/ 924161 w 1090712"/>
              <a:gd name="connsiteY739" fmla="*/ 315996 h 895572"/>
              <a:gd name="connsiteX740" fmla="*/ 923923 w 1090712"/>
              <a:gd name="connsiteY740" fmla="*/ 324550 h 895572"/>
              <a:gd name="connsiteX741" fmla="*/ 922973 w 1090712"/>
              <a:gd name="connsiteY741" fmla="*/ 332865 h 895572"/>
              <a:gd name="connsiteX742" fmla="*/ 922022 w 1090712"/>
              <a:gd name="connsiteY742" fmla="*/ 340943 h 895572"/>
              <a:gd name="connsiteX743" fmla="*/ 920597 w 1090712"/>
              <a:gd name="connsiteY743" fmla="*/ 349259 h 895572"/>
              <a:gd name="connsiteX744" fmla="*/ 918934 w 1090712"/>
              <a:gd name="connsiteY744" fmla="*/ 357812 h 895572"/>
              <a:gd name="connsiteX745" fmla="*/ 914420 w 1090712"/>
              <a:gd name="connsiteY745" fmla="*/ 374681 h 895572"/>
              <a:gd name="connsiteX746" fmla="*/ 909192 w 1090712"/>
              <a:gd name="connsiteY746" fmla="*/ 391075 h 895572"/>
              <a:gd name="connsiteX747" fmla="*/ 903253 w 1090712"/>
              <a:gd name="connsiteY747" fmla="*/ 408182 h 895572"/>
              <a:gd name="connsiteX748" fmla="*/ 903253 w 1090712"/>
              <a:gd name="connsiteY748" fmla="*/ 397965 h 895572"/>
              <a:gd name="connsiteX749" fmla="*/ 904203 w 1090712"/>
              <a:gd name="connsiteY749" fmla="*/ 387274 h 895572"/>
              <a:gd name="connsiteX750" fmla="*/ 906104 w 1090712"/>
              <a:gd name="connsiteY750" fmla="*/ 367078 h 895572"/>
              <a:gd name="connsiteX751" fmla="*/ 907767 w 1090712"/>
              <a:gd name="connsiteY751" fmla="*/ 347596 h 895572"/>
              <a:gd name="connsiteX752" fmla="*/ 908717 w 1090712"/>
              <a:gd name="connsiteY752" fmla="*/ 338567 h 895572"/>
              <a:gd name="connsiteX753" fmla="*/ 908717 w 1090712"/>
              <a:gd name="connsiteY753" fmla="*/ 329777 h 895572"/>
              <a:gd name="connsiteX754" fmla="*/ 908717 w 1090712"/>
              <a:gd name="connsiteY754" fmla="*/ 325738 h 895572"/>
              <a:gd name="connsiteX755" fmla="*/ 907767 w 1090712"/>
              <a:gd name="connsiteY755" fmla="*/ 322649 h 895572"/>
              <a:gd name="connsiteX756" fmla="*/ 906817 w 1090712"/>
              <a:gd name="connsiteY756" fmla="*/ 319560 h 895572"/>
              <a:gd name="connsiteX757" fmla="*/ 905154 w 1090712"/>
              <a:gd name="connsiteY757" fmla="*/ 316471 h 895572"/>
              <a:gd name="connsiteX758" fmla="*/ 903728 w 1090712"/>
              <a:gd name="connsiteY758" fmla="*/ 314096 h 895572"/>
              <a:gd name="connsiteX759" fmla="*/ 901590 w 1090712"/>
              <a:gd name="connsiteY759" fmla="*/ 311957 h 895572"/>
              <a:gd name="connsiteX760" fmla="*/ 897551 w 1090712"/>
              <a:gd name="connsiteY760" fmla="*/ 307443 h 895572"/>
              <a:gd name="connsiteX761" fmla="*/ 895412 w 1090712"/>
              <a:gd name="connsiteY761" fmla="*/ 309344 h 895572"/>
              <a:gd name="connsiteX762" fmla="*/ 892561 w 1090712"/>
              <a:gd name="connsiteY762" fmla="*/ 310769 h 895572"/>
              <a:gd name="connsiteX763" fmla="*/ 887334 w 1090712"/>
              <a:gd name="connsiteY763" fmla="*/ 313383 h 895572"/>
              <a:gd name="connsiteX764" fmla="*/ 884721 w 1090712"/>
              <a:gd name="connsiteY764" fmla="*/ 314096 h 895572"/>
              <a:gd name="connsiteX765" fmla="*/ 882820 w 1090712"/>
              <a:gd name="connsiteY765" fmla="*/ 315521 h 895572"/>
              <a:gd name="connsiteX766" fmla="*/ 881632 w 1090712"/>
              <a:gd name="connsiteY766" fmla="*/ 316947 h 895572"/>
              <a:gd name="connsiteX767" fmla="*/ 881157 w 1090712"/>
              <a:gd name="connsiteY767" fmla="*/ 318610 h 895572"/>
              <a:gd name="connsiteX768" fmla="*/ 872604 w 1090712"/>
              <a:gd name="connsiteY768" fmla="*/ 331915 h 895572"/>
              <a:gd name="connsiteX769" fmla="*/ 864288 w 1090712"/>
              <a:gd name="connsiteY769" fmla="*/ 346646 h 895572"/>
              <a:gd name="connsiteX770" fmla="*/ 856210 w 1090712"/>
              <a:gd name="connsiteY770" fmla="*/ 361376 h 895572"/>
              <a:gd name="connsiteX771" fmla="*/ 847656 w 1090712"/>
              <a:gd name="connsiteY771" fmla="*/ 374681 h 895572"/>
              <a:gd name="connsiteX772" fmla="*/ 841954 w 1090712"/>
              <a:gd name="connsiteY772" fmla="*/ 374681 h 895572"/>
              <a:gd name="connsiteX773" fmla="*/ 846468 w 1090712"/>
              <a:gd name="connsiteY773" fmla="*/ 357812 h 895572"/>
              <a:gd name="connsiteX774" fmla="*/ 850508 w 1090712"/>
              <a:gd name="connsiteY774" fmla="*/ 339518 h 895572"/>
              <a:gd name="connsiteX775" fmla="*/ 854784 w 1090712"/>
              <a:gd name="connsiteY775" fmla="*/ 319560 h 895572"/>
              <a:gd name="connsiteX776" fmla="*/ 858823 w 1090712"/>
              <a:gd name="connsiteY776" fmla="*/ 296514 h 895572"/>
              <a:gd name="connsiteX777" fmla="*/ 848132 w 1090712"/>
              <a:gd name="connsiteY777" fmla="*/ 303879 h 895572"/>
              <a:gd name="connsiteX778" fmla="*/ 840054 w 1090712"/>
              <a:gd name="connsiteY778" fmla="*/ 310294 h 895572"/>
              <a:gd name="connsiteX779" fmla="*/ 833163 w 1090712"/>
              <a:gd name="connsiteY779" fmla="*/ 316947 h 895572"/>
              <a:gd name="connsiteX780" fmla="*/ 825560 w 1090712"/>
              <a:gd name="connsiteY780" fmla="*/ 324550 h 895572"/>
              <a:gd name="connsiteX781" fmla="*/ 823185 w 1090712"/>
              <a:gd name="connsiteY781" fmla="*/ 326688 h 895572"/>
              <a:gd name="connsiteX782" fmla="*/ 821522 w 1090712"/>
              <a:gd name="connsiteY782" fmla="*/ 329301 h 895572"/>
              <a:gd name="connsiteX783" fmla="*/ 817007 w 1090712"/>
              <a:gd name="connsiteY783" fmla="*/ 335954 h 895572"/>
              <a:gd name="connsiteX784" fmla="*/ 812968 w 1090712"/>
              <a:gd name="connsiteY784" fmla="*/ 344032 h 895572"/>
              <a:gd name="connsiteX785" fmla="*/ 808929 w 1090712"/>
              <a:gd name="connsiteY785" fmla="*/ 352585 h 895572"/>
              <a:gd name="connsiteX786" fmla="*/ 809880 w 1090712"/>
              <a:gd name="connsiteY786" fmla="*/ 343557 h 895572"/>
              <a:gd name="connsiteX787" fmla="*/ 811305 w 1090712"/>
              <a:gd name="connsiteY787" fmla="*/ 335479 h 895572"/>
              <a:gd name="connsiteX788" fmla="*/ 812493 w 1090712"/>
              <a:gd name="connsiteY788" fmla="*/ 328826 h 895572"/>
              <a:gd name="connsiteX789" fmla="*/ 814394 w 1090712"/>
              <a:gd name="connsiteY789" fmla="*/ 323124 h 895572"/>
              <a:gd name="connsiteX790" fmla="*/ 816532 w 1090712"/>
              <a:gd name="connsiteY790" fmla="*/ 317659 h 895572"/>
              <a:gd name="connsiteX791" fmla="*/ 819146 w 1090712"/>
              <a:gd name="connsiteY791" fmla="*/ 313383 h 895572"/>
              <a:gd name="connsiteX792" fmla="*/ 822709 w 1090712"/>
              <a:gd name="connsiteY792" fmla="*/ 309344 h 895572"/>
              <a:gd name="connsiteX793" fmla="*/ 826748 w 1090712"/>
              <a:gd name="connsiteY793" fmla="*/ 306255 h 895572"/>
              <a:gd name="connsiteX794" fmla="*/ 832213 w 1090712"/>
              <a:gd name="connsiteY794" fmla="*/ 303166 h 895572"/>
              <a:gd name="connsiteX795" fmla="*/ 838390 w 1090712"/>
              <a:gd name="connsiteY795" fmla="*/ 300315 h 895572"/>
              <a:gd name="connsiteX796" fmla="*/ 845518 w 1090712"/>
              <a:gd name="connsiteY796" fmla="*/ 298177 h 895572"/>
              <a:gd name="connsiteX797" fmla="*/ 854071 w 1090712"/>
              <a:gd name="connsiteY797" fmla="*/ 295563 h 895572"/>
              <a:gd name="connsiteX798" fmla="*/ 875217 w 1090712"/>
              <a:gd name="connsiteY798" fmla="*/ 290574 h 895572"/>
              <a:gd name="connsiteX799" fmla="*/ 903253 w 1090712"/>
              <a:gd name="connsiteY799" fmla="*/ 285347 h 895572"/>
              <a:gd name="connsiteX800" fmla="*/ 886384 w 1090712"/>
              <a:gd name="connsiteY800" fmla="*/ 268478 h 895572"/>
              <a:gd name="connsiteX801" fmla="*/ 879731 w 1090712"/>
              <a:gd name="connsiteY801" fmla="*/ 270141 h 895572"/>
              <a:gd name="connsiteX802" fmla="*/ 873079 w 1090712"/>
              <a:gd name="connsiteY802" fmla="*/ 271091 h 895572"/>
              <a:gd name="connsiteX803" fmla="*/ 867376 w 1090712"/>
              <a:gd name="connsiteY803" fmla="*/ 271567 h 895572"/>
              <a:gd name="connsiteX804" fmla="*/ 862387 w 1090712"/>
              <a:gd name="connsiteY804" fmla="*/ 271091 h 895572"/>
              <a:gd name="connsiteX805" fmla="*/ 857398 w 1090712"/>
              <a:gd name="connsiteY805" fmla="*/ 269666 h 895572"/>
              <a:gd name="connsiteX806" fmla="*/ 853596 w 1090712"/>
              <a:gd name="connsiteY806" fmla="*/ 268003 h 895572"/>
              <a:gd name="connsiteX807" fmla="*/ 849557 w 1090712"/>
              <a:gd name="connsiteY807" fmla="*/ 265627 h 895572"/>
              <a:gd name="connsiteX808" fmla="*/ 846468 w 1090712"/>
              <a:gd name="connsiteY808" fmla="*/ 262538 h 895572"/>
              <a:gd name="connsiteX809" fmla="*/ 843380 w 1090712"/>
              <a:gd name="connsiteY809" fmla="*/ 259450 h 895572"/>
              <a:gd name="connsiteX810" fmla="*/ 840529 w 1090712"/>
              <a:gd name="connsiteY810" fmla="*/ 255411 h 895572"/>
              <a:gd name="connsiteX811" fmla="*/ 838390 w 1090712"/>
              <a:gd name="connsiteY811" fmla="*/ 251134 h 895572"/>
              <a:gd name="connsiteX812" fmla="*/ 836490 w 1090712"/>
              <a:gd name="connsiteY812" fmla="*/ 246620 h 895572"/>
              <a:gd name="connsiteX813" fmla="*/ 834827 w 1090712"/>
              <a:gd name="connsiteY813" fmla="*/ 241155 h 895572"/>
              <a:gd name="connsiteX814" fmla="*/ 833401 w 1090712"/>
              <a:gd name="connsiteY814" fmla="*/ 235453 h 895572"/>
              <a:gd name="connsiteX815" fmla="*/ 831263 w 1090712"/>
              <a:gd name="connsiteY815" fmla="*/ 223336 h 895572"/>
              <a:gd name="connsiteX816" fmla="*/ 897551 w 1090712"/>
              <a:gd name="connsiteY816" fmla="*/ 206942 h 895572"/>
              <a:gd name="connsiteX817" fmla="*/ 888997 w 1090712"/>
              <a:gd name="connsiteY817" fmla="*/ 194112 h 895572"/>
              <a:gd name="connsiteX818" fmla="*/ 880682 w 1090712"/>
              <a:gd name="connsiteY818" fmla="*/ 181282 h 895572"/>
              <a:gd name="connsiteX819" fmla="*/ 871416 w 1090712"/>
              <a:gd name="connsiteY819" fmla="*/ 168690 h 895572"/>
              <a:gd name="connsiteX820" fmla="*/ 866901 w 1090712"/>
              <a:gd name="connsiteY820" fmla="*/ 162988 h 895572"/>
              <a:gd name="connsiteX821" fmla="*/ 861437 w 1090712"/>
              <a:gd name="connsiteY821" fmla="*/ 157048 h 895572"/>
              <a:gd name="connsiteX822" fmla="*/ 856210 w 1090712"/>
              <a:gd name="connsiteY822" fmla="*/ 151821 h 895572"/>
              <a:gd name="connsiteX823" fmla="*/ 850745 w 1090712"/>
              <a:gd name="connsiteY823" fmla="*/ 146831 h 895572"/>
              <a:gd name="connsiteX824" fmla="*/ 844568 w 1090712"/>
              <a:gd name="connsiteY824" fmla="*/ 142555 h 895572"/>
              <a:gd name="connsiteX825" fmla="*/ 838390 w 1090712"/>
              <a:gd name="connsiteY825" fmla="*/ 138516 h 895572"/>
              <a:gd name="connsiteX826" fmla="*/ 831738 w 1090712"/>
              <a:gd name="connsiteY826" fmla="*/ 134952 h 895572"/>
              <a:gd name="connsiteX827" fmla="*/ 824610 w 1090712"/>
              <a:gd name="connsiteY827" fmla="*/ 132338 h 895572"/>
              <a:gd name="connsiteX828" fmla="*/ 817007 w 1090712"/>
              <a:gd name="connsiteY828" fmla="*/ 129963 h 895572"/>
              <a:gd name="connsiteX829" fmla="*/ 808929 w 1090712"/>
              <a:gd name="connsiteY829" fmla="*/ 128774 h 895572"/>
              <a:gd name="connsiteX830" fmla="*/ 806791 w 1090712"/>
              <a:gd name="connsiteY830" fmla="*/ 128299 h 895572"/>
              <a:gd name="connsiteX831" fmla="*/ 804652 w 1090712"/>
              <a:gd name="connsiteY831" fmla="*/ 127824 h 895572"/>
              <a:gd name="connsiteX832" fmla="*/ 802752 w 1090712"/>
              <a:gd name="connsiteY832" fmla="*/ 126399 h 895572"/>
              <a:gd name="connsiteX833" fmla="*/ 801089 w 1090712"/>
              <a:gd name="connsiteY833" fmla="*/ 125211 h 895572"/>
              <a:gd name="connsiteX834" fmla="*/ 799663 w 1090712"/>
              <a:gd name="connsiteY834" fmla="*/ 123310 h 895572"/>
              <a:gd name="connsiteX835" fmla="*/ 798713 w 1090712"/>
              <a:gd name="connsiteY835" fmla="*/ 121647 h 895572"/>
              <a:gd name="connsiteX836" fmla="*/ 798000 w 1090712"/>
              <a:gd name="connsiteY836" fmla="*/ 119271 h 895572"/>
              <a:gd name="connsiteX837" fmla="*/ 798000 w 1090712"/>
              <a:gd name="connsiteY837" fmla="*/ 117608 h 895572"/>
              <a:gd name="connsiteX838" fmla="*/ 785408 w 1090712"/>
              <a:gd name="connsiteY838" fmla="*/ 106916 h 895572"/>
              <a:gd name="connsiteX839" fmla="*/ 772578 w 1090712"/>
              <a:gd name="connsiteY839" fmla="*/ 95749 h 895572"/>
              <a:gd name="connsiteX840" fmla="*/ 747155 w 1090712"/>
              <a:gd name="connsiteY840" fmla="*/ 72703 h 895572"/>
              <a:gd name="connsiteX841" fmla="*/ 733850 w 1090712"/>
              <a:gd name="connsiteY841" fmla="*/ 61061 h 895572"/>
              <a:gd name="connsiteX842" fmla="*/ 720545 w 1090712"/>
              <a:gd name="connsiteY842" fmla="*/ 49894 h 895572"/>
              <a:gd name="connsiteX843" fmla="*/ 706765 w 1090712"/>
              <a:gd name="connsiteY843" fmla="*/ 38728 h 895572"/>
              <a:gd name="connsiteX844" fmla="*/ 692510 w 1090712"/>
              <a:gd name="connsiteY844" fmla="*/ 28036 h 895572"/>
              <a:gd name="connsiteX845" fmla="*/ 679442 w 1090712"/>
              <a:gd name="connsiteY845" fmla="*/ 21859 h 895572"/>
              <a:gd name="connsiteX846" fmla="*/ 666137 w 1090712"/>
              <a:gd name="connsiteY846" fmla="*/ 16632 h 895572"/>
              <a:gd name="connsiteX847" fmla="*/ 652832 w 1090712"/>
              <a:gd name="connsiteY847" fmla="*/ 11642 h 895572"/>
              <a:gd name="connsiteX848" fmla="*/ 639527 w 1090712"/>
              <a:gd name="connsiteY848" fmla="*/ 7603 h 895572"/>
              <a:gd name="connsiteX849" fmla="*/ 626222 w 1090712"/>
              <a:gd name="connsiteY849" fmla="*/ 4514 h 895572"/>
              <a:gd name="connsiteX850" fmla="*/ 612917 w 1090712"/>
              <a:gd name="connsiteY850" fmla="*/ 1901 h 895572"/>
              <a:gd name="connsiteX851" fmla="*/ 599374 w 1090712"/>
              <a:gd name="connsiteY851" fmla="*/ 475 h 89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Lst>
            <a:rect l="l" t="t" r="r" b="b"/>
            <a:pathLst>
              <a:path w="1090712" h="895572">
                <a:moveTo>
                  <a:pt x="603413" y="721327"/>
                </a:moveTo>
                <a:lnTo>
                  <a:pt x="578466" y="770746"/>
                </a:lnTo>
                <a:lnTo>
                  <a:pt x="553519" y="818264"/>
                </a:lnTo>
                <a:lnTo>
                  <a:pt x="528334" y="865069"/>
                </a:lnTo>
                <a:lnTo>
                  <a:pt x="511825" y="895572"/>
                </a:lnTo>
                <a:lnTo>
                  <a:pt x="624528" y="895572"/>
                </a:lnTo>
                <a:lnTo>
                  <a:pt x="624796" y="894768"/>
                </a:lnTo>
                <a:lnTo>
                  <a:pt x="625271" y="891679"/>
                </a:lnTo>
                <a:lnTo>
                  <a:pt x="625747" y="889066"/>
                </a:lnTo>
                <a:lnTo>
                  <a:pt x="625747" y="860555"/>
                </a:lnTo>
                <a:lnTo>
                  <a:pt x="624796" y="833945"/>
                </a:lnTo>
                <a:lnTo>
                  <a:pt x="624321" y="820877"/>
                </a:lnTo>
                <a:lnTo>
                  <a:pt x="623608" y="808047"/>
                </a:lnTo>
                <a:lnTo>
                  <a:pt x="621708" y="795218"/>
                </a:lnTo>
                <a:lnTo>
                  <a:pt x="620044" y="782625"/>
                </a:lnTo>
                <a:lnTo>
                  <a:pt x="616005" y="766707"/>
                </a:lnTo>
                <a:lnTo>
                  <a:pt x="611966" y="751976"/>
                </a:lnTo>
                <a:lnTo>
                  <a:pt x="607452" y="737245"/>
                </a:lnTo>
                <a:close/>
                <a:moveTo>
                  <a:pt x="698212" y="530778"/>
                </a:moveTo>
                <a:lnTo>
                  <a:pt x="693460" y="534818"/>
                </a:lnTo>
                <a:lnTo>
                  <a:pt x="688471" y="538857"/>
                </a:lnTo>
                <a:lnTo>
                  <a:pt x="678254" y="546935"/>
                </a:lnTo>
                <a:lnTo>
                  <a:pt x="669226" y="553587"/>
                </a:lnTo>
                <a:lnTo>
                  <a:pt x="663048" y="558814"/>
                </a:lnTo>
                <a:lnTo>
                  <a:pt x="663048" y="556676"/>
                </a:lnTo>
                <a:lnTo>
                  <a:pt x="663523" y="554538"/>
                </a:lnTo>
                <a:lnTo>
                  <a:pt x="665424" y="550498"/>
                </a:lnTo>
                <a:lnTo>
                  <a:pt x="668038" y="546459"/>
                </a:lnTo>
                <a:lnTo>
                  <a:pt x="671602" y="542420"/>
                </a:lnTo>
                <a:lnTo>
                  <a:pt x="676829" y="538857"/>
                </a:lnTo>
                <a:lnTo>
                  <a:pt x="682768" y="535768"/>
                </a:lnTo>
                <a:lnTo>
                  <a:pt x="689896" y="533154"/>
                </a:lnTo>
                <a:close/>
                <a:moveTo>
                  <a:pt x="654257" y="302216"/>
                </a:moveTo>
                <a:lnTo>
                  <a:pt x="651882" y="302691"/>
                </a:lnTo>
                <a:lnTo>
                  <a:pt x="649268" y="303166"/>
                </a:lnTo>
                <a:lnTo>
                  <a:pt x="647130" y="304354"/>
                </a:lnTo>
                <a:lnTo>
                  <a:pt x="644516" y="306255"/>
                </a:lnTo>
                <a:lnTo>
                  <a:pt x="642140" y="307918"/>
                </a:lnTo>
                <a:lnTo>
                  <a:pt x="640002" y="310294"/>
                </a:lnTo>
                <a:lnTo>
                  <a:pt x="638101" y="312432"/>
                </a:lnTo>
                <a:lnTo>
                  <a:pt x="636913" y="314571"/>
                </a:lnTo>
                <a:lnTo>
                  <a:pt x="635963" y="316946"/>
                </a:lnTo>
                <a:lnTo>
                  <a:pt x="635963" y="319085"/>
                </a:lnTo>
                <a:lnTo>
                  <a:pt x="636913" y="321223"/>
                </a:lnTo>
                <a:lnTo>
                  <a:pt x="637626" y="324074"/>
                </a:lnTo>
                <a:lnTo>
                  <a:pt x="639527" y="326688"/>
                </a:lnTo>
                <a:lnTo>
                  <a:pt x="643091" y="331677"/>
                </a:lnTo>
                <a:lnTo>
                  <a:pt x="647130" y="335954"/>
                </a:lnTo>
                <a:lnTo>
                  <a:pt x="655920" y="330727"/>
                </a:lnTo>
                <a:lnTo>
                  <a:pt x="663999" y="324787"/>
                </a:lnTo>
                <a:lnTo>
                  <a:pt x="679917" y="313383"/>
                </a:lnTo>
                <a:lnTo>
                  <a:pt x="676354" y="311007"/>
                </a:lnTo>
                <a:lnTo>
                  <a:pt x="672790" y="308393"/>
                </a:lnTo>
                <a:lnTo>
                  <a:pt x="668988" y="306730"/>
                </a:lnTo>
                <a:lnTo>
                  <a:pt x="664949" y="304829"/>
                </a:lnTo>
                <a:lnTo>
                  <a:pt x="660910" y="303641"/>
                </a:lnTo>
                <a:lnTo>
                  <a:pt x="657346" y="302691"/>
                </a:lnTo>
                <a:close/>
                <a:moveTo>
                  <a:pt x="696549" y="252322"/>
                </a:moveTo>
                <a:lnTo>
                  <a:pt x="696786" y="259925"/>
                </a:lnTo>
                <a:lnTo>
                  <a:pt x="698212" y="266102"/>
                </a:lnTo>
                <a:lnTo>
                  <a:pt x="700113" y="272042"/>
                </a:lnTo>
                <a:lnTo>
                  <a:pt x="701776" y="276794"/>
                </a:lnTo>
                <a:lnTo>
                  <a:pt x="704389" y="280833"/>
                </a:lnTo>
                <a:lnTo>
                  <a:pt x="707240" y="284397"/>
                </a:lnTo>
                <a:lnTo>
                  <a:pt x="710329" y="287010"/>
                </a:lnTo>
                <a:lnTo>
                  <a:pt x="713418" y="289624"/>
                </a:lnTo>
                <a:lnTo>
                  <a:pt x="716506" y="291524"/>
                </a:lnTo>
                <a:lnTo>
                  <a:pt x="719595" y="293187"/>
                </a:lnTo>
                <a:lnTo>
                  <a:pt x="725772" y="295088"/>
                </a:lnTo>
                <a:lnTo>
                  <a:pt x="731237" y="296514"/>
                </a:lnTo>
                <a:lnTo>
                  <a:pt x="734801" y="296751"/>
                </a:lnTo>
                <a:lnTo>
                  <a:pt x="722209" y="303879"/>
                </a:lnTo>
                <a:lnTo>
                  <a:pt x="710804" y="311007"/>
                </a:lnTo>
                <a:lnTo>
                  <a:pt x="688471" y="324787"/>
                </a:lnTo>
                <a:lnTo>
                  <a:pt x="667563" y="339043"/>
                </a:lnTo>
                <a:lnTo>
                  <a:pt x="646179" y="352823"/>
                </a:lnTo>
                <a:lnTo>
                  <a:pt x="620044" y="313383"/>
                </a:lnTo>
                <a:lnTo>
                  <a:pt x="617668" y="312432"/>
                </a:lnTo>
                <a:lnTo>
                  <a:pt x="615055" y="312432"/>
                </a:lnTo>
                <a:lnTo>
                  <a:pt x="612441" y="313383"/>
                </a:lnTo>
                <a:lnTo>
                  <a:pt x="609353" y="314095"/>
                </a:lnTo>
                <a:lnTo>
                  <a:pt x="602938" y="316946"/>
                </a:lnTo>
                <a:lnTo>
                  <a:pt x="599849" y="317659"/>
                </a:lnTo>
                <a:lnTo>
                  <a:pt x="596760" y="318610"/>
                </a:lnTo>
                <a:lnTo>
                  <a:pt x="607927" y="307205"/>
                </a:lnTo>
                <a:lnTo>
                  <a:pt x="618619" y="295088"/>
                </a:lnTo>
                <a:lnTo>
                  <a:pt x="623846" y="289386"/>
                </a:lnTo>
                <a:lnTo>
                  <a:pt x="629786" y="283921"/>
                </a:lnTo>
                <a:lnTo>
                  <a:pt x="635963" y="278694"/>
                </a:lnTo>
                <a:lnTo>
                  <a:pt x="642140" y="273705"/>
                </a:lnTo>
                <a:lnTo>
                  <a:pt x="648793" y="269191"/>
                </a:lnTo>
                <a:lnTo>
                  <a:pt x="655446" y="265627"/>
                </a:lnTo>
                <a:lnTo>
                  <a:pt x="662098" y="263013"/>
                </a:lnTo>
                <a:lnTo>
                  <a:pt x="668988" y="260400"/>
                </a:lnTo>
                <a:lnTo>
                  <a:pt x="682768" y="256361"/>
                </a:lnTo>
                <a:close/>
                <a:moveTo>
                  <a:pt x="1030602" y="200289"/>
                </a:moveTo>
                <a:lnTo>
                  <a:pt x="1027513" y="207892"/>
                </a:lnTo>
                <a:lnTo>
                  <a:pt x="1023949" y="214545"/>
                </a:lnTo>
                <a:lnTo>
                  <a:pt x="1019910" y="221197"/>
                </a:lnTo>
                <a:lnTo>
                  <a:pt x="1015396" y="226899"/>
                </a:lnTo>
                <a:lnTo>
                  <a:pt x="1011119" y="232839"/>
                </a:lnTo>
                <a:lnTo>
                  <a:pt x="1006130" y="237591"/>
                </a:lnTo>
                <a:lnTo>
                  <a:pt x="1001140" y="242105"/>
                </a:lnTo>
                <a:lnTo>
                  <a:pt x="996388" y="246144"/>
                </a:lnTo>
                <a:lnTo>
                  <a:pt x="990924" y="249708"/>
                </a:lnTo>
                <a:lnTo>
                  <a:pt x="985697" y="252797"/>
                </a:lnTo>
                <a:lnTo>
                  <a:pt x="980232" y="254935"/>
                </a:lnTo>
                <a:lnTo>
                  <a:pt x="975005" y="256836"/>
                </a:lnTo>
                <a:lnTo>
                  <a:pt x="969541" y="258262"/>
                </a:lnTo>
                <a:lnTo>
                  <a:pt x="963839" y="258499"/>
                </a:lnTo>
                <a:lnTo>
                  <a:pt x="958612" y="258499"/>
                </a:lnTo>
                <a:lnTo>
                  <a:pt x="953622" y="257786"/>
                </a:lnTo>
                <a:lnTo>
                  <a:pt x="970966" y="244006"/>
                </a:lnTo>
                <a:lnTo>
                  <a:pt x="990211" y="229275"/>
                </a:lnTo>
                <a:lnTo>
                  <a:pt x="1010169" y="214069"/>
                </a:lnTo>
                <a:lnTo>
                  <a:pt x="1020385" y="206942"/>
                </a:lnTo>
                <a:close/>
                <a:moveTo>
                  <a:pt x="389581" y="176768"/>
                </a:moveTo>
                <a:lnTo>
                  <a:pt x="397422" y="177243"/>
                </a:lnTo>
                <a:lnTo>
                  <a:pt x="414766" y="178906"/>
                </a:lnTo>
                <a:lnTo>
                  <a:pt x="405500" y="179856"/>
                </a:lnTo>
                <a:lnTo>
                  <a:pt x="396946" y="181995"/>
                </a:lnTo>
                <a:lnTo>
                  <a:pt x="389581" y="184371"/>
                </a:lnTo>
                <a:lnTo>
                  <a:pt x="381978" y="186984"/>
                </a:lnTo>
                <a:lnTo>
                  <a:pt x="375326" y="190548"/>
                </a:lnTo>
                <a:lnTo>
                  <a:pt x="368911" y="194112"/>
                </a:lnTo>
                <a:lnTo>
                  <a:pt x="363208" y="198626"/>
                </a:lnTo>
                <a:lnTo>
                  <a:pt x="357981" y="202903"/>
                </a:lnTo>
                <a:lnTo>
                  <a:pt x="352517" y="208367"/>
                </a:lnTo>
                <a:lnTo>
                  <a:pt x="348003" y="214070"/>
                </a:lnTo>
                <a:lnTo>
                  <a:pt x="343726" y="220247"/>
                </a:lnTo>
                <a:lnTo>
                  <a:pt x="339687" y="226662"/>
                </a:lnTo>
                <a:lnTo>
                  <a:pt x="335648" y="233790"/>
                </a:lnTo>
                <a:lnTo>
                  <a:pt x="332559" y="240917"/>
                </a:lnTo>
                <a:lnTo>
                  <a:pt x="328995" y="248758"/>
                </a:lnTo>
                <a:lnTo>
                  <a:pt x="325907" y="256836"/>
                </a:lnTo>
                <a:lnTo>
                  <a:pt x="325432" y="252797"/>
                </a:lnTo>
                <a:lnTo>
                  <a:pt x="324956" y="248283"/>
                </a:lnTo>
                <a:lnTo>
                  <a:pt x="323056" y="239492"/>
                </a:lnTo>
                <a:lnTo>
                  <a:pt x="320917" y="229275"/>
                </a:lnTo>
                <a:lnTo>
                  <a:pt x="320442" y="223811"/>
                </a:lnTo>
                <a:lnTo>
                  <a:pt x="319967" y="217633"/>
                </a:lnTo>
                <a:lnTo>
                  <a:pt x="314740" y="217633"/>
                </a:lnTo>
                <a:lnTo>
                  <a:pt x="302148" y="243056"/>
                </a:lnTo>
                <a:lnTo>
                  <a:pt x="289793" y="267528"/>
                </a:lnTo>
                <a:lnTo>
                  <a:pt x="277438" y="291049"/>
                </a:lnTo>
                <a:lnTo>
                  <a:pt x="264371" y="312907"/>
                </a:lnTo>
                <a:lnTo>
                  <a:pt x="267459" y="295088"/>
                </a:lnTo>
                <a:lnTo>
                  <a:pt x="271023" y="279170"/>
                </a:lnTo>
                <a:lnTo>
                  <a:pt x="274587" y="263964"/>
                </a:lnTo>
                <a:lnTo>
                  <a:pt x="279101" y="250183"/>
                </a:lnTo>
                <a:lnTo>
                  <a:pt x="284091" y="238066"/>
                </a:lnTo>
                <a:lnTo>
                  <a:pt x="289318" y="226900"/>
                </a:lnTo>
                <a:lnTo>
                  <a:pt x="292406" y="221673"/>
                </a:lnTo>
                <a:lnTo>
                  <a:pt x="295495" y="217158"/>
                </a:lnTo>
                <a:lnTo>
                  <a:pt x="298584" y="212406"/>
                </a:lnTo>
                <a:lnTo>
                  <a:pt x="302148" y="208367"/>
                </a:lnTo>
                <a:lnTo>
                  <a:pt x="305711" y="204328"/>
                </a:lnTo>
                <a:lnTo>
                  <a:pt x="309275" y="200765"/>
                </a:lnTo>
                <a:lnTo>
                  <a:pt x="313314" y="197201"/>
                </a:lnTo>
                <a:lnTo>
                  <a:pt x="317354" y="194112"/>
                </a:lnTo>
                <a:lnTo>
                  <a:pt x="321868" y="191498"/>
                </a:lnTo>
                <a:lnTo>
                  <a:pt x="326382" y="188647"/>
                </a:lnTo>
                <a:lnTo>
                  <a:pt x="330659" y="186509"/>
                </a:lnTo>
                <a:lnTo>
                  <a:pt x="335648" y="184371"/>
                </a:lnTo>
                <a:lnTo>
                  <a:pt x="340637" y="182470"/>
                </a:lnTo>
                <a:lnTo>
                  <a:pt x="345864" y="181282"/>
                </a:lnTo>
                <a:lnTo>
                  <a:pt x="351091" y="179856"/>
                </a:lnTo>
                <a:lnTo>
                  <a:pt x="357031" y="178431"/>
                </a:lnTo>
                <a:lnTo>
                  <a:pt x="368911" y="177243"/>
                </a:lnTo>
                <a:lnTo>
                  <a:pt x="381978" y="176768"/>
                </a:lnTo>
                <a:close/>
                <a:moveTo>
                  <a:pt x="609353" y="174629"/>
                </a:moveTo>
                <a:lnTo>
                  <a:pt x="602463" y="180807"/>
                </a:lnTo>
                <a:lnTo>
                  <a:pt x="596285" y="187459"/>
                </a:lnTo>
                <a:lnTo>
                  <a:pt x="583931" y="201715"/>
                </a:lnTo>
                <a:lnTo>
                  <a:pt x="571101" y="215495"/>
                </a:lnTo>
                <a:lnTo>
                  <a:pt x="564686" y="222148"/>
                </a:lnTo>
                <a:lnTo>
                  <a:pt x="558508" y="228325"/>
                </a:lnTo>
                <a:lnTo>
                  <a:pt x="557558" y="223335"/>
                </a:lnTo>
                <a:lnTo>
                  <a:pt x="557083" y="219059"/>
                </a:lnTo>
                <a:lnTo>
                  <a:pt x="557083" y="215020"/>
                </a:lnTo>
                <a:lnTo>
                  <a:pt x="557558" y="210981"/>
                </a:lnTo>
                <a:lnTo>
                  <a:pt x="558508" y="207417"/>
                </a:lnTo>
                <a:lnTo>
                  <a:pt x="560409" y="203853"/>
                </a:lnTo>
                <a:lnTo>
                  <a:pt x="562072" y="200764"/>
                </a:lnTo>
                <a:lnTo>
                  <a:pt x="564686" y="197676"/>
                </a:lnTo>
                <a:lnTo>
                  <a:pt x="567774" y="194587"/>
                </a:lnTo>
                <a:lnTo>
                  <a:pt x="571813" y="191973"/>
                </a:lnTo>
                <a:lnTo>
                  <a:pt x="576328" y="188647"/>
                </a:lnTo>
                <a:lnTo>
                  <a:pt x="581317" y="186034"/>
                </a:lnTo>
                <a:lnTo>
                  <a:pt x="587019" y="183420"/>
                </a:lnTo>
                <a:lnTo>
                  <a:pt x="593672" y="180332"/>
                </a:lnTo>
                <a:close/>
                <a:moveTo>
                  <a:pt x="586544" y="0"/>
                </a:moveTo>
                <a:lnTo>
                  <a:pt x="570150" y="2851"/>
                </a:lnTo>
                <a:lnTo>
                  <a:pt x="553519" y="5940"/>
                </a:lnTo>
                <a:lnTo>
                  <a:pt x="536650" y="10454"/>
                </a:lnTo>
                <a:lnTo>
                  <a:pt x="520256" y="14731"/>
                </a:lnTo>
                <a:lnTo>
                  <a:pt x="486993" y="24472"/>
                </a:lnTo>
                <a:lnTo>
                  <a:pt x="469887" y="28986"/>
                </a:lnTo>
                <a:lnTo>
                  <a:pt x="453493" y="33500"/>
                </a:lnTo>
                <a:lnTo>
                  <a:pt x="438762" y="40153"/>
                </a:lnTo>
                <a:lnTo>
                  <a:pt x="424507" y="47281"/>
                </a:lnTo>
                <a:lnTo>
                  <a:pt x="417379" y="51320"/>
                </a:lnTo>
                <a:lnTo>
                  <a:pt x="410727" y="55834"/>
                </a:lnTo>
                <a:lnTo>
                  <a:pt x="403599" y="60111"/>
                </a:lnTo>
                <a:lnTo>
                  <a:pt x="397422" y="65100"/>
                </a:lnTo>
                <a:lnTo>
                  <a:pt x="390769" y="69852"/>
                </a:lnTo>
                <a:lnTo>
                  <a:pt x="384592" y="75792"/>
                </a:lnTo>
                <a:lnTo>
                  <a:pt x="378889" y="81494"/>
                </a:lnTo>
                <a:lnTo>
                  <a:pt x="372950" y="87671"/>
                </a:lnTo>
                <a:lnTo>
                  <a:pt x="367723" y="94324"/>
                </a:lnTo>
                <a:lnTo>
                  <a:pt x="362733" y="101452"/>
                </a:lnTo>
                <a:lnTo>
                  <a:pt x="357981" y="109055"/>
                </a:lnTo>
                <a:lnTo>
                  <a:pt x="353467" y="117608"/>
                </a:lnTo>
                <a:lnTo>
                  <a:pt x="409064" y="117608"/>
                </a:lnTo>
                <a:lnTo>
                  <a:pt x="406925" y="119271"/>
                </a:lnTo>
                <a:lnTo>
                  <a:pt x="404074" y="121647"/>
                </a:lnTo>
                <a:lnTo>
                  <a:pt x="400510" y="123310"/>
                </a:lnTo>
                <a:lnTo>
                  <a:pt x="397422" y="125211"/>
                </a:lnTo>
                <a:lnTo>
                  <a:pt x="393383" y="126399"/>
                </a:lnTo>
                <a:lnTo>
                  <a:pt x="389581" y="127824"/>
                </a:lnTo>
                <a:lnTo>
                  <a:pt x="385542" y="128299"/>
                </a:lnTo>
                <a:lnTo>
                  <a:pt x="381503" y="128774"/>
                </a:lnTo>
                <a:lnTo>
                  <a:pt x="375326" y="130438"/>
                </a:lnTo>
                <a:lnTo>
                  <a:pt x="368435" y="131863"/>
                </a:lnTo>
                <a:lnTo>
                  <a:pt x="361783" y="133051"/>
                </a:lnTo>
                <a:lnTo>
                  <a:pt x="355606" y="134001"/>
                </a:lnTo>
                <a:lnTo>
                  <a:pt x="342300" y="135427"/>
                </a:lnTo>
                <a:lnTo>
                  <a:pt x="329471" y="137090"/>
                </a:lnTo>
                <a:lnTo>
                  <a:pt x="322818" y="138040"/>
                </a:lnTo>
                <a:lnTo>
                  <a:pt x="316403" y="139704"/>
                </a:lnTo>
                <a:lnTo>
                  <a:pt x="310226" y="141604"/>
                </a:lnTo>
                <a:lnTo>
                  <a:pt x="304048" y="144218"/>
                </a:lnTo>
                <a:lnTo>
                  <a:pt x="298346" y="147307"/>
                </a:lnTo>
                <a:lnTo>
                  <a:pt x="292406" y="151346"/>
                </a:lnTo>
                <a:lnTo>
                  <a:pt x="286704" y="156335"/>
                </a:lnTo>
                <a:lnTo>
                  <a:pt x="281240" y="162037"/>
                </a:lnTo>
                <a:lnTo>
                  <a:pt x="262232" y="182945"/>
                </a:lnTo>
                <a:lnTo>
                  <a:pt x="242987" y="203378"/>
                </a:lnTo>
                <a:lnTo>
                  <a:pt x="203547" y="244006"/>
                </a:lnTo>
                <a:lnTo>
                  <a:pt x="183827" y="264439"/>
                </a:lnTo>
                <a:lnTo>
                  <a:pt x="164345" y="285822"/>
                </a:lnTo>
                <a:lnTo>
                  <a:pt x="144862" y="307443"/>
                </a:lnTo>
                <a:lnTo>
                  <a:pt x="126093" y="329777"/>
                </a:lnTo>
                <a:lnTo>
                  <a:pt x="122054" y="335004"/>
                </a:lnTo>
                <a:lnTo>
                  <a:pt x="118015" y="340468"/>
                </a:lnTo>
                <a:lnTo>
                  <a:pt x="110887" y="352110"/>
                </a:lnTo>
                <a:lnTo>
                  <a:pt x="104709" y="363514"/>
                </a:lnTo>
                <a:lnTo>
                  <a:pt x="99007" y="375156"/>
                </a:lnTo>
                <a:lnTo>
                  <a:pt x="87840" y="400103"/>
                </a:lnTo>
                <a:lnTo>
                  <a:pt x="82138" y="412458"/>
                </a:lnTo>
                <a:lnTo>
                  <a:pt x="75723" y="425050"/>
                </a:lnTo>
                <a:lnTo>
                  <a:pt x="75723" y="429802"/>
                </a:lnTo>
                <a:lnTo>
                  <a:pt x="76674" y="436217"/>
                </a:lnTo>
                <a:lnTo>
                  <a:pt x="77149" y="439306"/>
                </a:lnTo>
                <a:lnTo>
                  <a:pt x="78574" y="442395"/>
                </a:lnTo>
                <a:lnTo>
                  <a:pt x="79762" y="445008"/>
                </a:lnTo>
                <a:lnTo>
                  <a:pt x="81663" y="447147"/>
                </a:lnTo>
                <a:lnTo>
                  <a:pt x="94018" y="468055"/>
                </a:lnTo>
                <a:lnTo>
                  <a:pt x="106848" y="488963"/>
                </a:lnTo>
                <a:lnTo>
                  <a:pt x="113975" y="499654"/>
                </a:lnTo>
                <a:lnTo>
                  <a:pt x="121103" y="510346"/>
                </a:lnTo>
                <a:lnTo>
                  <a:pt x="128706" y="520562"/>
                </a:lnTo>
                <a:lnTo>
                  <a:pt x="137259" y="531254"/>
                </a:lnTo>
                <a:lnTo>
                  <a:pt x="149614" y="514385"/>
                </a:lnTo>
                <a:lnTo>
                  <a:pt x="162206" y="498466"/>
                </a:lnTo>
                <a:lnTo>
                  <a:pt x="174561" y="483260"/>
                </a:lnTo>
                <a:lnTo>
                  <a:pt x="180739" y="476133"/>
                </a:lnTo>
                <a:lnTo>
                  <a:pt x="186916" y="469480"/>
                </a:lnTo>
                <a:lnTo>
                  <a:pt x="182639" y="482310"/>
                </a:lnTo>
                <a:lnTo>
                  <a:pt x="178125" y="495615"/>
                </a:lnTo>
                <a:lnTo>
                  <a:pt x="172423" y="509871"/>
                </a:lnTo>
                <a:lnTo>
                  <a:pt x="164820" y="525552"/>
                </a:lnTo>
                <a:lnTo>
                  <a:pt x="156267" y="538381"/>
                </a:lnTo>
                <a:lnTo>
                  <a:pt x="152703" y="544559"/>
                </a:lnTo>
                <a:lnTo>
                  <a:pt x="148664" y="551449"/>
                </a:lnTo>
                <a:lnTo>
                  <a:pt x="145100" y="558339"/>
                </a:lnTo>
                <a:lnTo>
                  <a:pt x="142011" y="565467"/>
                </a:lnTo>
                <a:lnTo>
                  <a:pt x="139398" y="573070"/>
                </a:lnTo>
                <a:lnTo>
                  <a:pt x="137259" y="581623"/>
                </a:lnTo>
                <a:lnTo>
                  <a:pt x="136309" y="583761"/>
                </a:lnTo>
                <a:lnTo>
                  <a:pt x="135359" y="586137"/>
                </a:lnTo>
                <a:lnTo>
                  <a:pt x="134883" y="590889"/>
                </a:lnTo>
                <a:lnTo>
                  <a:pt x="134883" y="595879"/>
                </a:lnTo>
                <a:lnTo>
                  <a:pt x="135359" y="601106"/>
                </a:lnTo>
                <a:lnTo>
                  <a:pt x="136784" y="606095"/>
                </a:lnTo>
                <a:lnTo>
                  <a:pt x="138447" y="611322"/>
                </a:lnTo>
                <a:lnTo>
                  <a:pt x="140348" y="616311"/>
                </a:lnTo>
                <a:lnTo>
                  <a:pt x="142486" y="620826"/>
                </a:lnTo>
                <a:lnTo>
                  <a:pt x="148664" y="629616"/>
                </a:lnTo>
                <a:lnTo>
                  <a:pt x="155554" y="637219"/>
                </a:lnTo>
                <a:lnTo>
                  <a:pt x="162444" y="643872"/>
                </a:lnTo>
                <a:lnTo>
                  <a:pt x="169572" y="649099"/>
                </a:lnTo>
                <a:lnTo>
                  <a:pt x="177175" y="653613"/>
                </a:lnTo>
                <a:lnTo>
                  <a:pt x="184778" y="657177"/>
                </a:lnTo>
                <a:lnTo>
                  <a:pt x="192856" y="659553"/>
                </a:lnTo>
                <a:lnTo>
                  <a:pt x="200934" y="661216"/>
                </a:lnTo>
                <a:lnTo>
                  <a:pt x="209250" y="661691"/>
                </a:lnTo>
                <a:lnTo>
                  <a:pt x="218278" y="661691"/>
                </a:lnTo>
                <a:lnTo>
                  <a:pt x="227069" y="660266"/>
                </a:lnTo>
                <a:lnTo>
                  <a:pt x="236335" y="658603"/>
                </a:lnTo>
                <a:lnTo>
                  <a:pt x="245838" y="655514"/>
                </a:lnTo>
                <a:lnTo>
                  <a:pt x="255580" y="652425"/>
                </a:lnTo>
                <a:lnTo>
                  <a:pt x="265321" y="647911"/>
                </a:lnTo>
                <a:lnTo>
                  <a:pt x="276013" y="642922"/>
                </a:lnTo>
                <a:lnTo>
                  <a:pt x="288367" y="635081"/>
                </a:lnTo>
                <a:lnTo>
                  <a:pt x="301910" y="627478"/>
                </a:lnTo>
                <a:lnTo>
                  <a:pt x="315215" y="620350"/>
                </a:lnTo>
                <a:lnTo>
                  <a:pt x="329471" y="613698"/>
                </a:lnTo>
                <a:lnTo>
                  <a:pt x="343726" y="607283"/>
                </a:lnTo>
                <a:lnTo>
                  <a:pt x="357981" y="602056"/>
                </a:lnTo>
                <a:lnTo>
                  <a:pt x="371999" y="597066"/>
                </a:lnTo>
                <a:lnTo>
                  <a:pt x="386730" y="592790"/>
                </a:lnTo>
                <a:lnTo>
                  <a:pt x="394808" y="590414"/>
                </a:lnTo>
                <a:lnTo>
                  <a:pt x="402411" y="587325"/>
                </a:lnTo>
                <a:lnTo>
                  <a:pt x="409064" y="583761"/>
                </a:lnTo>
                <a:lnTo>
                  <a:pt x="411677" y="581623"/>
                </a:lnTo>
                <a:lnTo>
                  <a:pt x="414766" y="579247"/>
                </a:lnTo>
                <a:lnTo>
                  <a:pt x="417142" y="577109"/>
                </a:lnTo>
                <a:lnTo>
                  <a:pt x="419280" y="574495"/>
                </a:lnTo>
                <a:lnTo>
                  <a:pt x="420943" y="571407"/>
                </a:lnTo>
                <a:lnTo>
                  <a:pt x="422844" y="568318"/>
                </a:lnTo>
                <a:lnTo>
                  <a:pt x="424269" y="565229"/>
                </a:lnTo>
                <a:lnTo>
                  <a:pt x="424982" y="561665"/>
                </a:lnTo>
                <a:lnTo>
                  <a:pt x="425457" y="557626"/>
                </a:lnTo>
                <a:lnTo>
                  <a:pt x="425932" y="553587"/>
                </a:lnTo>
                <a:lnTo>
                  <a:pt x="425932" y="413884"/>
                </a:lnTo>
                <a:lnTo>
                  <a:pt x="425932" y="285347"/>
                </a:lnTo>
                <a:lnTo>
                  <a:pt x="429496" y="300078"/>
                </a:lnTo>
                <a:lnTo>
                  <a:pt x="433060" y="314096"/>
                </a:lnTo>
                <a:lnTo>
                  <a:pt x="436149" y="328826"/>
                </a:lnTo>
                <a:lnTo>
                  <a:pt x="438762" y="343082"/>
                </a:lnTo>
                <a:lnTo>
                  <a:pt x="443752" y="370642"/>
                </a:lnTo>
                <a:lnTo>
                  <a:pt x="447791" y="397015"/>
                </a:lnTo>
                <a:lnTo>
                  <a:pt x="451830" y="421962"/>
                </a:lnTo>
                <a:lnTo>
                  <a:pt x="454919" y="446434"/>
                </a:lnTo>
                <a:lnTo>
                  <a:pt x="456106" y="458313"/>
                </a:lnTo>
                <a:lnTo>
                  <a:pt x="457057" y="470430"/>
                </a:lnTo>
                <a:lnTo>
                  <a:pt x="457532" y="482310"/>
                </a:lnTo>
                <a:lnTo>
                  <a:pt x="457532" y="493952"/>
                </a:lnTo>
                <a:lnTo>
                  <a:pt x="457532" y="506069"/>
                </a:lnTo>
                <a:lnTo>
                  <a:pt x="456582" y="517473"/>
                </a:lnTo>
                <a:lnTo>
                  <a:pt x="455869" y="529116"/>
                </a:lnTo>
                <a:lnTo>
                  <a:pt x="453968" y="540757"/>
                </a:lnTo>
                <a:lnTo>
                  <a:pt x="452305" y="552162"/>
                </a:lnTo>
                <a:lnTo>
                  <a:pt x="449454" y="563804"/>
                </a:lnTo>
                <a:lnTo>
                  <a:pt x="446365" y="575446"/>
                </a:lnTo>
                <a:lnTo>
                  <a:pt x="442326" y="586850"/>
                </a:lnTo>
                <a:lnTo>
                  <a:pt x="440188" y="591364"/>
                </a:lnTo>
                <a:lnTo>
                  <a:pt x="437574" y="595403"/>
                </a:lnTo>
                <a:lnTo>
                  <a:pt x="434486" y="598967"/>
                </a:lnTo>
                <a:lnTo>
                  <a:pt x="431397" y="602531"/>
                </a:lnTo>
                <a:lnTo>
                  <a:pt x="428071" y="605145"/>
                </a:lnTo>
                <a:lnTo>
                  <a:pt x="424982" y="607283"/>
                </a:lnTo>
                <a:lnTo>
                  <a:pt x="422369" y="608708"/>
                </a:lnTo>
                <a:lnTo>
                  <a:pt x="420230" y="609659"/>
                </a:lnTo>
                <a:lnTo>
                  <a:pt x="410727" y="610847"/>
                </a:lnTo>
                <a:lnTo>
                  <a:pt x="401461" y="612748"/>
                </a:lnTo>
                <a:lnTo>
                  <a:pt x="392670" y="614886"/>
                </a:lnTo>
                <a:lnTo>
                  <a:pt x="383641" y="617262"/>
                </a:lnTo>
                <a:lnTo>
                  <a:pt x="374850" y="620350"/>
                </a:lnTo>
                <a:lnTo>
                  <a:pt x="365822" y="623914"/>
                </a:lnTo>
                <a:lnTo>
                  <a:pt x="348478" y="631042"/>
                </a:lnTo>
                <a:lnTo>
                  <a:pt x="331609" y="639358"/>
                </a:lnTo>
                <a:lnTo>
                  <a:pt x="314740" y="647911"/>
                </a:lnTo>
                <a:lnTo>
                  <a:pt x="281240" y="665255"/>
                </a:lnTo>
                <a:lnTo>
                  <a:pt x="274587" y="669294"/>
                </a:lnTo>
                <a:lnTo>
                  <a:pt x="267935" y="672858"/>
                </a:lnTo>
                <a:lnTo>
                  <a:pt x="261757" y="675947"/>
                </a:lnTo>
                <a:lnTo>
                  <a:pt x="255105" y="679035"/>
                </a:lnTo>
                <a:lnTo>
                  <a:pt x="248927" y="681174"/>
                </a:lnTo>
                <a:lnTo>
                  <a:pt x="242987" y="683075"/>
                </a:lnTo>
                <a:lnTo>
                  <a:pt x="236810" y="684738"/>
                </a:lnTo>
                <a:lnTo>
                  <a:pt x="231108" y="686163"/>
                </a:lnTo>
                <a:lnTo>
                  <a:pt x="225406" y="687114"/>
                </a:lnTo>
                <a:lnTo>
                  <a:pt x="219466" y="687589"/>
                </a:lnTo>
                <a:lnTo>
                  <a:pt x="213764" y="687589"/>
                </a:lnTo>
                <a:lnTo>
                  <a:pt x="208299" y="687589"/>
                </a:lnTo>
                <a:lnTo>
                  <a:pt x="203072" y="687114"/>
                </a:lnTo>
                <a:lnTo>
                  <a:pt x="197607" y="686163"/>
                </a:lnTo>
                <a:lnTo>
                  <a:pt x="192380" y="684738"/>
                </a:lnTo>
                <a:lnTo>
                  <a:pt x="186916" y="683550"/>
                </a:lnTo>
                <a:lnTo>
                  <a:pt x="181689" y="681649"/>
                </a:lnTo>
                <a:lnTo>
                  <a:pt x="176699" y="679986"/>
                </a:lnTo>
                <a:lnTo>
                  <a:pt x="171472" y="677610"/>
                </a:lnTo>
                <a:lnTo>
                  <a:pt x="166483" y="674996"/>
                </a:lnTo>
                <a:lnTo>
                  <a:pt x="156742" y="669294"/>
                </a:lnTo>
                <a:lnTo>
                  <a:pt x="147001" y="662167"/>
                </a:lnTo>
                <a:lnTo>
                  <a:pt x="137735" y="654564"/>
                </a:lnTo>
                <a:lnTo>
                  <a:pt x="127756" y="645535"/>
                </a:lnTo>
                <a:lnTo>
                  <a:pt x="118490" y="636269"/>
                </a:lnTo>
                <a:lnTo>
                  <a:pt x="109224" y="626053"/>
                </a:lnTo>
                <a:lnTo>
                  <a:pt x="107323" y="623914"/>
                </a:lnTo>
                <a:lnTo>
                  <a:pt x="106135" y="620350"/>
                </a:lnTo>
                <a:lnTo>
                  <a:pt x="105185" y="616311"/>
                </a:lnTo>
                <a:lnTo>
                  <a:pt x="105185" y="612272"/>
                </a:lnTo>
                <a:lnTo>
                  <a:pt x="105185" y="608233"/>
                </a:lnTo>
                <a:lnTo>
                  <a:pt x="106135" y="604194"/>
                </a:lnTo>
                <a:lnTo>
                  <a:pt x="107323" y="600630"/>
                </a:lnTo>
                <a:lnTo>
                  <a:pt x="109224" y="598017"/>
                </a:lnTo>
                <a:lnTo>
                  <a:pt x="111837" y="591840"/>
                </a:lnTo>
                <a:lnTo>
                  <a:pt x="113975" y="586137"/>
                </a:lnTo>
                <a:lnTo>
                  <a:pt x="115401" y="579722"/>
                </a:lnTo>
                <a:lnTo>
                  <a:pt x="115876" y="574020"/>
                </a:lnTo>
                <a:lnTo>
                  <a:pt x="115876" y="568318"/>
                </a:lnTo>
                <a:lnTo>
                  <a:pt x="115401" y="562378"/>
                </a:lnTo>
                <a:lnTo>
                  <a:pt x="114451" y="557151"/>
                </a:lnTo>
                <a:lnTo>
                  <a:pt x="112788" y="551449"/>
                </a:lnTo>
                <a:lnTo>
                  <a:pt x="110412" y="545984"/>
                </a:lnTo>
                <a:lnTo>
                  <a:pt x="108273" y="540757"/>
                </a:lnTo>
                <a:lnTo>
                  <a:pt x="105185" y="535293"/>
                </a:lnTo>
                <a:lnTo>
                  <a:pt x="102096" y="530066"/>
                </a:lnTo>
                <a:lnTo>
                  <a:pt x="94968" y="519374"/>
                </a:lnTo>
                <a:lnTo>
                  <a:pt x="86890" y="508683"/>
                </a:lnTo>
                <a:lnTo>
                  <a:pt x="78812" y="497991"/>
                </a:lnTo>
                <a:lnTo>
                  <a:pt x="70972" y="486824"/>
                </a:lnTo>
                <a:lnTo>
                  <a:pt x="67408" y="481122"/>
                </a:lnTo>
                <a:lnTo>
                  <a:pt x="64319" y="474707"/>
                </a:lnTo>
                <a:lnTo>
                  <a:pt x="61230" y="469005"/>
                </a:lnTo>
                <a:lnTo>
                  <a:pt x="58379" y="462828"/>
                </a:lnTo>
                <a:lnTo>
                  <a:pt x="56716" y="456175"/>
                </a:lnTo>
                <a:lnTo>
                  <a:pt x="54815" y="449998"/>
                </a:lnTo>
                <a:lnTo>
                  <a:pt x="54103" y="443345"/>
                </a:lnTo>
                <a:lnTo>
                  <a:pt x="53627" y="436455"/>
                </a:lnTo>
                <a:lnTo>
                  <a:pt x="53627" y="429327"/>
                </a:lnTo>
                <a:lnTo>
                  <a:pt x="54815" y="422675"/>
                </a:lnTo>
                <a:lnTo>
                  <a:pt x="56716" y="415547"/>
                </a:lnTo>
                <a:lnTo>
                  <a:pt x="59330" y="408182"/>
                </a:lnTo>
                <a:lnTo>
                  <a:pt x="60280" y="403192"/>
                </a:lnTo>
                <a:lnTo>
                  <a:pt x="61943" y="397965"/>
                </a:lnTo>
                <a:lnTo>
                  <a:pt x="65507" y="387986"/>
                </a:lnTo>
                <a:lnTo>
                  <a:pt x="69546" y="378720"/>
                </a:lnTo>
                <a:lnTo>
                  <a:pt x="74535" y="369929"/>
                </a:lnTo>
                <a:lnTo>
                  <a:pt x="79762" y="360901"/>
                </a:lnTo>
                <a:lnTo>
                  <a:pt x="85940" y="352585"/>
                </a:lnTo>
                <a:lnTo>
                  <a:pt x="98057" y="335479"/>
                </a:lnTo>
                <a:lnTo>
                  <a:pt x="102571" y="328113"/>
                </a:lnTo>
                <a:lnTo>
                  <a:pt x="106848" y="320986"/>
                </a:lnTo>
                <a:lnTo>
                  <a:pt x="116827" y="307205"/>
                </a:lnTo>
                <a:lnTo>
                  <a:pt x="127043" y="293188"/>
                </a:lnTo>
                <a:lnTo>
                  <a:pt x="137735" y="279407"/>
                </a:lnTo>
                <a:lnTo>
                  <a:pt x="159831" y="251847"/>
                </a:lnTo>
                <a:lnTo>
                  <a:pt x="170522" y="238066"/>
                </a:lnTo>
                <a:lnTo>
                  <a:pt x="181214" y="223336"/>
                </a:lnTo>
                <a:lnTo>
                  <a:pt x="164820" y="223336"/>
                </a:lnTo>
                <a:lnTo>
                  <a:pt x="137972" y="230226"/>
                </a:lnTo>
                <a:lnTo>
                  <a:pt x="125142" y="233790"/>
                </a:lnTo>
                <a:lnTo>
                  <a:pt x="112788" y="237591"/>
                </a:lnTo>
                <a:lnTo>
                  <a:pt x="100195" y="241630"/>
                </a:lnTo>
                <a:lnTo>
                  <a:pt x="87840" y="245669"/>
                </a:lnTo>
                <a:lnTo>
                  <a:pt x="75723" y="250183"/>
                </a:lnTo>
                <a:lnTo>
                  <a:pt x="64319" y="254935"/>
                </a:lnTo>
                <a:lnTo>
                  <a:pt x="52677" y="260400"/>
                </a:lnTo>
                <a:lnTo>
                  <a:pt x="41035" y="265627"/>
                </a:lnTo>
                <a:lnTo>
                  <a:pt x="29868" y="271567"/>
                </a:lnTo>
                <a:lnTo>
                  <a:pt x="18939" y="277744"/>
                </a:lnTo>
                <a:lnTo>
                  <a:pt x="7772" y="284397"/>
                </a:lnTo>
                <a:lnTo>
                  <a:pt x="0" y="289924"/>
                </a:lnTo>
                <a:lnTo>
                  <a:pt x="0" y="895572"/>
                </a:lnTo>
                <a:lnTo>
                  <a:pt x="125653" y="895572"/>
                </a:lnTo>
                <a:lnTo>
                  <a:pt x="127756" y="892155"/>
                </a:lnTo>
                <a:lnTo>
                  <a:pt x="131082" y="885502"/>
                </a:lnTo>
                <a:lnTo>
                  <a:pt x="133696" y="878374"/>
                </a:lnTo>
                <a:lnTo>
                  <a:pt x="135834" y="871722"/>
                </a:lnTo>
                <a:lnTo>
                  <a:pt x="137735" y="864594"/>
                </a:lnTo>
                <a:lnTo>
                  <a:pt x="138923" y="857466"/>
                </a:lnTo>
                <a:lnTo>
                  <a:pt x="140348" y="850339"/>
                </a:lnTo>
                <a:lnTo>
                  <a:pt x="141298" y="843211"/>
                </a:lnTo>
                <a:lnTo>
                  <a:pt x="142011" y="828955"/>
                </a:lnTo>
                <a:lnTo>
                  <a:pt x="142486" y="814225"/>
                </a:lnTo>
                <a:lnTo>
                  <a:pt x="142486" y="799494"/>
                </a:lnTo>
                <a:lnTo>
                  <a:pt x="142486" y="782625"/>
                </a:lnTo>
                <a:lnTo>
                  <a:pt x="142486" y="771458"/>
                </a:lnTo>
                <a:lnTo>
                  <a:pt x="143912" y="778586"/>
                </a:lnTo>
                <a:lnTo>
                  <a:pt x="145100" y="784526"/>
                </a:lnTo>
                <a:lnTo>
                  <a:pt x="147476" y="789753"/>
                </a:lnTo>
                <a:lnTo>
                  <a:pt x="149614" y="794267"/>
                </a:lnTo>
                <a:lnTo>
                  <a:pt x="152228" y="797831"/>
                </a:lnTo>
                <a:lnTo>
                  <a:pt x="155554" y="801395"/>
                </a:lnTo>
                <a:lnTo>
                  <a:pt x="158643" y="803533"/>
                </a:lnTo>
                <a:lnTo>
                  <a:pt x="162206" y="805909"/>
                </a:lnTo>
                <a:lnTo>
                  <a:pt x="165770" y="807572"/>
                </a:lnTo>
                <a:lnTo>
                  <a:pt x="169572" y="808523"/>
                </a:lnTo>
                <a:lnTo>
                  <a:pt x="174086" y="809473"/>
                </a:lnTo>
                <a:lnTo>
                  <a:pt x="178600" y="810186"/>
                </a:lnTo>
                <a:lnTo>
                  <a:pt x="187866" y="810661"/>
                </a:lnTo>
                <a:lnTo>
                  <a:pt x="198083" y="810661"/>
                </a:lnTo>
                <a:lnTo>
                  <a:pt x="236810" y="810661"/>
                </a:lnTo>
                <a:lnTo>
                  <a:pt x="249640" y="811136"/>
                </a:lnTo>
                <a:lnTo>
                  <a:pt x="263183" y="811611"/>
                </a:lnTo>
                <a:lnTo>
                  <a:pt x="270310" y="811611"/>
                </a:lnTo>
                <a:lnTo>
                  <a:pt x="276963" y="811136"/>
                </a:lnTo>
                <a:lnTo>
                  <a:pt x="283140" y="810186"/>
                </a:lnTo>
                <a:lnTo>
                  <a:pt x="289793" y="808523"/>
                </a:lnTo>
                <a:lnTo>
                  <a:pt x="295495" y="806147"/>
                </a:lnTo>
                <a:lnTo>
                  <a:pt x="301435" y="803058"/>
                </a:lnTo>
                <a:lnTo>
                  <a:pt x="304524" y="801395"/>
                </a:lnTo>
                <a:lnTo>
                  <a:pt x="307137" y="799256"/>
                </a:lnTo>
                <a:lnTo>
                  <a:pt x="309275" y="796881"/>
                </a:lnTo>
                <a:lnTo>
                  <a:pt x="312126" y="794267"/>
                </a:lnTo>
                <a:lnTo>
                  <a:pt x="314265" y="791178"/>
                </a:lnTo>
                <a:lnTo>
                  <a:pt x="316403" y="788090"/>
                </a:lnTo>
                <a:lnTo>
                  <a:pt x="318304" y="784051"/>
                </a:lnTo>
                <a:lnTo>
                  <a:pt x="319967" y="780012"/>
                </a:lnTo>
                <a:lnTo>
                  <a:pt x="321868" y="775973"/>
                </a:lnTo>
                <a:lnTo>
                  <a:pt x="323056" y="771221"/>
                </a:lnTo>
                <a:lnTo>
                  <a:pt x="324481" y="765756"/>
                </a:lnTo>
                <a:lnTo>
                  <a:pt x="325907" y="760529"/>
                </a:lnTo>
                <a:lnTo>
                  <a:pt x="325907" y="827530"/>
                </a:lnTo>
                <a:lnTo>
                  <a:pt x="310226" y="835608"/>
                </a:lnTo>
                <a:lnTo>
                  <a:pt x="295970" y="843686"/>
                </a:lnTo>
                <a:lnTo>
                  <a:pt x="282665" y="850339"/>
                </a:lnTo>
                <a:lnTo>
                  <a:pt x="276488" y="852952"/>
                </a:lnTo>
                <a:lnTo>
                  <a:pt x="270310" y="855565"/>
                </a:lnTo>
                <a:lnTo>
                  <a:pt x="266271" y="857942"/>
                </a:lnTo>
                <a:lnTo>
                  <a:pt x="262708" y="860080"/>
                </a:lnTo>
                <a:lnTo>
                  <a:pt x="259619" y="862693"/>
                </a:lnTo>
                <a:lnTo>
                  <a:pt x="256768" y="865544"/>
                </a:lnTo>
                <a:lnTo>
                  <a:pt x="254154" y="868633"/>
                </a:lnTo>
                <a:lnTo>
                  <a:pt x="252491" y="871722"/>
                </a:lnTo>
                <a:lnTo>
                  <a:pt x="250590" y="874810"/>
                </a:lnTo>
                <a:lnTo>
                  <a:pt x="249402" y="877899"/>
                </a:lnTo>
                <a:lnTo>
                  <a:pt x="248452" y="880988"/>
                </a:lnTo>
                <a:lnTo>
                  <a:pt x="247977" y="884076"/>
                </a:lnTo>
                <a:lnTo>
                  <a:pt x="247977" y="887165"/>
                </a:lnTo>
                <a:lnTo>
                  <a:pt x="248452" y="890016"/>
                </a:lnTo>
                <a:lnTo>
                  <a:pt x="249402" y="893105"/>
                </a:lnTo>
                <a:lnTo>
                  <a:pt x="250075" y="895572"/>
                </a:lnTo>
                <a:lnTo>
                  <a:pt x="474750" y="895572"/>
                </a:lnTo>
                <a:lnTo>
                  <a:pt x="475827" y="894768"/>
                </a:lnTo>
                <a:lnTo>
                  <a:pt x="486993" y="882889"/>
                </a:lnTo>
                <a:lnTo>
                  <a:pt x="497210" y="870296"/>
                </a:lnTo>
                <a:lnTo>
                  <a:pt x="506951" y="857942"/>
                </a:lnTo>
                <a:lnTo>
                  <a:pt x="515742" y="844636"/>
                </a:lnTo>
                <a:lnTo>
                  <a:pt x="523820" y="831094"/>
                </a:lnTo>
                <a:lnTo>
                  <a:pt x="531898" y="816838"/>
                </a:lnTo>
                <a:lnTo>
                  <a:pt x="539026" y="802583"/>
                </a:lnTo>
                <a:lnTo>
                  <a:pt x="545678" y="788565"/>
                </a:lnTo>
                <a:lnTo>
                  <a:pt x="552331" y="773359"/>
                </a:lnTo>
                <a:lnTo>
                  <a:pt x="558033" y="758628"/>
                </a:lnTo>
                <a:lnTo>
                  <a:pt x="563498" y="743185"/>
                </a:lnTo>
                <a:lnTo>
                  <a:pt x="568725" y="727979"/>
                </a:lnTo>
                <a:lnTo>
                  <a:pt x="573714" y="712298"/>
                </a:lnTo>
                <a:lnTo>
                  <a:pt x="577991" y="696855"/>
                </a:lnTo>
                <a:lnTo>
                  <a:pt x="586544" y="665255"/>
                </a:lnTo>
                <a:lnTo>
                  <a:pt x="586069" y="663117"/>
                </a:lnTo>
                <a:lnTo>
                  <a:pt x="584881" y="660266"/>
                </a:lnTo>
                <a:lnTo>
                  <a:pt x="582980" y="657177"/>
                </a:lnTo>
                <a:lnTo>
                  <a:pt x="580367" y="654088"/>
                </a:lnTo>
                <a:lnTo>
                  <a:pt x="574902" y="647911"/>
                </a:lnTo>
                <a:lnTo>
                  <a:pt x="570150" y="642922"/>
                </a:lnTo>
                <a:lnTo>
                  <a:pt x="565636" y="636744"/>
                </a:lnTo>
                <a:lnTo>
                  <a:pt x="560647" y="631517"/>
                </a:lnTo>
                <a:lnTo>
                  <a:pt x="555420" y="626053"/>
                </a:lnTo>
                <a:lnTo>
                  <a:pt x="550193" y="621301"/>
                </a:lnTo>
                <a:lnTo>
                  <a:pt x="544253" y="616787"/>
                </a:lnTo>
                <a:lnTo>
                  <a:pt x="538075" y="612272"/>
                </a:lnTo>
                <a:lnTo>
                  <a:pt x="525721" y="603719"/>
                </a:lnTo>
                <a:lnTo>
                  <a:pt x="563023" y="619875"/>
                </a:lnTo>
                <a:lnTo>
                  <a:pt x="581317" y="628191"/>
                </a:lnTo>
                <a:lnTo>
                  <a:pt x="599374" y="636744"/>
                </a:lnTo>
                <a:lnTo>
                  <a:pt x="607927" y="641259"/>
                </a:lnTo>
                <a:lnTo>
                  <a:pt x="616718" y="646010"/>
                </a:lnTo>
                <a:lnTo>
                  <a:pt x="625271" y="651000"/>
                </a:lnTo>
                <a:lnTo>
                  <a:pt x="633349" y="656227"/>
                </a:lnTo>
                <a:lnTo>
                  <a:pt x="641665" y="662167"/>
                </a:lnTo>
                <a:lnTo>
                  <a:pt x="649268" y="668344"/>
                </a:lnTo>
                <a:lnTo>
                  <a:pt x="656871" y="674996"/>
                </a:lnTo>
                <a:lnTo>
                  <a:pt x="664474" y="682124"/>
                </a:lnTo>
                <a:lnTo>
                  <a:pt x="668988" y="686163"/>
                </a:lnTo>
                <a:lnTo>
                  <a:pt x="672790" y="690202"/>
                </a:lnTo>
                <a:lnTo>
                  <a:pt x="677304" y="693291"/>
                </a:lnTo>
                <a:lnTo>
                  <a:pt x="682293" y="696855"/>
                </a:lnTo>
                <a:lnTo>
                  <a:pt x="686570" y="699468"/>
                </a:lnTo>
                <a:lnTo>
                  <a:pt x="691559" y="702082"/>
                </a:lnTo>
                <a:lnTo>
                  <a:pt x="696549" y="703983"/>
                </a:lnTo>
                <a:lnTo>
                  <a:pt x="701300" y="705646"/>
                </a:lnTo>
                <a:lnTo>
                  <a:pt x="706290" y="707071"/>
                </a:lnTo>
                <a:lnTo>
                  <a:pt x="711042" y="708497"/>
                </a:lnTo>
                <a:lnTo>
                  <a:pt x="716506" y="708734"/>
                </a:lnTo>
                <a:lnTo>
                  <a:pt x="721258" y="708734"/>
                </a:lnTo>
                <a:lnTo>
                  <a:pt x="726723" y="708497"/>
                </a:lnTo>
                <a:lnTo>
                  <a:pt x="731712" y="707546"/>
                </a:lnTo>
                <a:lnTo>
                  <a:pt x="736939" y="706121"/>
                </a:lnTo>
                <a:lnTo>
                  <a:pt x="742166" y="704458"/>
                </a:lnTo>
                <a:lnTo>
                  <a:pt x="749294" y="702082"/>
                </a:lnTo>
                <a:lnTo>
                  <a:pt x="756184" y="699468"/>
                </a:lnTo>
                <a:lnTo>
                  <a:pt x="762361" y="696380"/>
                </a:lnTo>
                <a:lnTo>
                  <a:pt x="768063" y="692816"/>
                </a:lnTo>
                <a:lnTo>
                  <a:pt x="773528" y="689252"/>
                </a:lnTo>
                <a:lnTo>
                  <a:pt x="778755" y="684738"/>
                </a:lnTo>
                <a:lnTo>
                  <a:pt x="783269" y="680461"/>
                </a:lnTo>
                <a:lnTo>
                  <a:pt x="787308" y="674996"/>
                </a:lnTo>
                <a:lnTo>
                  <a:pt x="791110" y="669769"/>
                </a:lnTo>
                <a:lnTo>
                  <a:pt x="794436" y="663830"/>
                </a:lnTo>
                <a:lnTo>
                  <a:pt x="797050" y="657652"/>
                </a:lnTo>
                <a:lnTo>
                  <a:pt x="799188" y="651000"/>
                </a:lnTo>
                <a:lnTo>
                  <a:pt x="801089" y="643872"/>
                </a:lnTo>
                <a:lnTo>
                  <a:pt x="802277" y="636744"/>
                </a:lnTo>
                <a:lnTo>
                  <a:pt x="803227" y="628666"/>
                </a:lnTo>
                <a:lnTo>
                  <a:pt x="803227" y="620826"/>
                </a:lnTo>
                <a:lnTo>
                  <a:pt x="801089" y="622489"/>
                </a:lnTo>
                <a:lnTo>
                  <a:pt x="798238" y="623914"/>
                </a:lnTo>
                <a:lnTo>
                  <a:pt x="793011" y="626053"/>
                </a:lnTo>
                <a:lnTo>
                  <a:pt x="790397" y="627478"/>
                </a:lnTo>
                <a:lnTo>
                  <a:pt x="788496" y="628191"/>
                </a:lnTo>
                <a:lnTo>
                  <a:pt x="787308" y="630092"/>
                </a:lnTo>
                <a:lnTo>
                  <a:pt x="786833" y="631755"/>
                </a:lnTo>
                <a:lnTo>
                  <a:pt x="785408" y="635794"/>
                </a:lnTo>
                <a:lnTo>
                  <a:pt x="784220" y="639833"/>
                </a:lnTo>
                <a:lnTo>
                  <a:pt x="780656" y="646485"/>
                </a:lnTo>
                <a:lnTo>
                  <a:pt x="776617" y="653138"/>
                </a:lnTo>
                <a:lnTo>
                  <a:pt x="772103" y="659078"/>
                </a:lnTo>
                <a:lnTo>
                  <a:pt x="762361" y="670007"/>
                </a:lnTo>
                <a:lnTo>
                  <a:pt x="757847" y="675947"/>
                </a:lnTo>
                <a:lnTo>
                  <a:pt x="753333" y="682124"/>
                </a:lnTo>
                <a:lnTo>
                  <a:pt x="750244" y="684738"/>
                </a:lnTo>
                <a:lnTo>
                  <a:pt x="747155" y="687589"/>
                </a:lnTo>
                <a:lnTo>
                  <a:pt x="744067" y="689252"/>
                </a:lnTo>
                <a:lnTo>
                  <a:pt x="740978" y="690915"/>
                </a:lnTo>
                <a:lnTo>
                  <a:pt x="737890" y="691865"/>
                </a:lnTo>
                <a:lnTo>
                  <a:pt x="734801" y="692816"/>
                </a:lnTo>
                <a:lnTo>
                  <a:pt x="731950" y="693291"/>
                </a:lnTo>
                <a:lnTo>
                  <a:pt x="728861" y="693291"/>
                </a:lnTo>
                <a:lnTo>
                  <a:pt x="723634" y="692816"/>
                </a:lnTo>
                <a:lnTo>
                  <a:pt x="718169" y="691390"/>
                </a:lnTo>
                <a:lnTo>
                  <a:pt x="713418" y="689727"/>
                </a:lnTo>
                <a:lnTo>
                  <a:pt x="708903" y="687826"/>
                </a:lnTo>
                <a:lnTo>
                  <a:pt x="706765" y="687589"/>
                </a:lnTo>
                <a:lnTo>
                  <a:pt x="704864" y="687114"/>
                </a:lnTo>
                <a:lnTo>
                  <a:pt x="703201" y="686163"/>
                </a:lnTo>
                <a:lnTo>
                  <a:pt x="701776" y="684738"/>
                </a:lnTo>
                <a:lnTo>
                  <a:pt x="698687" y="681649"/>
                </a:lnTo>
                <a:lnTo>
                  <a:pt x="696549" y="678085"/>
                </a:lnTo>
                <a:lnTo>
                  <a:pt x="694648" y="673571"/>
                </a:lnTo>
                <a:lnTo>
                  <a:pt x="693460" y="668819"/>
                </a:lnTo>
                <a:lnTo>
                  <a:pt x="692510" y="664305"/>
                </a:lnTo>
                <a:lnTo>
                  <a:pt x="692510" y="659790"/>
                </a:lnTo>
                <a:lnTo>
                  <a:pt x="692510" y="647436"/>
                </a:lnTo>
                <a:lnTo>
                  <a:pt x="693460" y="635319"/>
                </a:lnTo>
                <a:lnTo>
                  <a:pt x="694173" y="624389"/>
                </a:lnTo>
                <a:lnTo>
                  <a:pt x="695598" y="612748"/>
                </a:lnTo>
                <a:lnTo>
                  <a:pt x="699162" y="591364"/>
                </a:lnTo>
                <a:lnTo>
                  <a:pt x="703676" y="570456"/>
                </a:lnTo>
                <a:lnTo>
                  <a:pt x="720070" y="574971"/>
                </a:lnTo>
                <a:lnTo>
                  <a:pt x="736939" y="579247"/>
                </a:lnTo>
                <a:lnTo>
                  <a:pt x="770677" y="589226"/>
                </a:lnTo>
                <a:lnTo>
                  <a:pt x="788021" y="593503"/>
                </a:lnTo>
                <a:lnTo>
                  <a:pt x="805365" y="597542"/>
                </a:lnTo>
                <a:lnTo>
                  <a:pt x="823660" y="601106"/>
                </a:lnTo>
                <a:lnTo>
                  <a:pt x="841954" y="603719"/>
                </a:lnTo>
                <a:lnTo>
                  <a:pt x="861437" y="606570"/>
                </a:lnTo>
                <a:lnTo>
                  <a:pt x="880682" y="608233"/>
                </a:lnTo>
                <a:lnTo>
                  <a:pt x="889948" y="608708"/>
                </a:lnTo>
                <a:lnTo>
                  <a:pt x="898976" y="608708"/>
                </a:lnTo>
                <a:lnTo>
                  <a:pt x="908242" y="608708"/>
                </a:lnTo>
                <a:lnTo>
                  <a:pt x="916795" y="608233"/>
                </a:lnTo>
                <a:lnTo>
                  <a:pt x="925586" y="607283"/>
                </a:lnTo>
                <a:lnTo>
                  <a:pt x="934140" y="606095"/>
                </a:lnTo>
                <a:lnTo>
                  <a:pt x="942455" y="604669"/>
                </a:lnTo>
                <a:lnTo>
                  <a:pt x="950533" y="603006"/>
                </a:lnTo>
                <a:lnTo>
                  <a:pt x="958611" y="600630"/>
                </a:lnTo>
                <a:lnTo>
                  <a:pt x="966452" y="598017"/>
                </a:lnTo>
                <a:lnTo>
                  <a:pt x="974055" y="595403"/>
                </a:lnTo>
                <a:lnTo>
                  <a:pt x="981658" y="591840"/>
                </a:lnTo>
                <a:lnTo>
                  <a:pt x="989261" y="588276"/>
                </a:lnTo>
                <a:lnTo>
                  <a:pt x="996388" y="584237"/>
                </a:lnTo>
                <a:lnTo>
                  <a:pt x="1003041" y="579247"/>
                </a:lnTo>
                <a:lnTo>
                  <a:pt x="1009694" y="574495"/>
                </a:lnTo>
                <a:lnTo>
                  <a:pt x="1016346" y="569031"/>
                </a:lnTo>
                <a:lnTo>
                  <a:pt x="1022998" y="562853"/>
                </a:lnTo>
                <a:lnTo>
                  <a:pt x="1029176" y="556676"/>
                </a:lnTo>
                <a:lnTo>
                  <a:pt x="1035116" y="549548"/>
                </a:lnTo>
                <a:lnTo>
                  <a:pt x="1040818" y="541945"/>
                </a:lnTo>
                <a:lnTo>
                  <a:pt x="1046520" y="534342"/>
                </a:lnTo>
                <a:lnTo>
                  <a:pt x="1051985" y="526027"/>
                </a:lnTo>
                <a:lnTo>
                  <a:pt x="1056737" y="516523"/>
                </a:lnTo>
                <a:lnTo>
                  <a:pt x="1061726" y="507257"/>
                </a:lnTo>
                <a:lnTo>
                  <a:pt x="1066715" y="497041"/>
                </a:lnTo>
                <a:lnTo>
                  <a:pt x="1070992" y="486349"/>
                </a:lnTo>
                <a:lnTo>
                  <a:pt x="1075506" y="475182"/>
                </a:lnTo>
                <a:lnTo>
                  <a:pt x="1079070" y="462828"/>
                </a:lnTo>
                <a:lnTo>
                  <a:pt x="1082634" y="449998"/>
                </a:lnTo>
                <a:lnTo>
                  <a:pt x="1084772" y="437405"/>
                </a:lnTo>
                <a:lnTo>
                  <a:pt x="1087148" y="425050"/>
                </a:lnTo>
                <a:lnTo>
                  <a:pt x="1088811" y="411983"/>
                </a:lnTo>
                <a:lnTo>
                  <a:pt x="1089762" y="399628"/>
                </a:lnTo>
                <a:lnTo>
                  <a:pt x="1090712" y="386798"/>
                </a:lnTo>
                <a:lnTo>
                  <a:pt x="1090712" y="373731"/>
                </a:lnTo>
                <a:lnTo>
                  <a:pt x="1090712" y="360901"/>
                </a:lnTo>
                <a:lnTo>
                  <a:pt x="1089762" y="348071"/>
                </a:lnTo>
                <a:lnTo>
                  <a:pt x="1088811" y="335004"/>
                </a:lnTo>
                <a:lnTo>
                  <a:pt x="1088099" y="321698"/>
                </a:lnTo>
                <a:lnTo>
                  <a:pt x="1084772" y="295563"/>
                </a:lnTo>
                <a:lnTo>
                  <a:pt x="1080971" y="268478"/>
                </a:lnTo>
                <a:lnTo>
                  <a:pt x="1078595" y="258262"/>
                </a:lnTo>
                <a:lnTo>
                  <a:pt x="1075981" y="248283"/>
                </a:lnTo>
                <a:lnTo>
                  <a:pt x="1072417" y="238542"/>
                </a:lnTo>
                <a:lnTo>
                  <a:pt x="1069329" y="229275"/>
                </a:lnTo>
                <a:lnTo>
                  <a:pt x="1061251" y="210031"/>
                </a:lnTo>
                <a:lnTo>
                  <a:pt x="1053173" y="190073"/>
                </a:lnTo>
                <a:lnTo>
                  <a:pt x="1051034" y="186034"/>
                </a:lnTo>
                <a:lnTo>
                  <a:pt x="1048896" y="182470"/>
                </a:lnTo>
                <a:lnTo>
                  <a:pt x="1046045" y="179381"/>
                </a:lnTo>
                <a:lnTo>
                  <a:pt x="1043906" y="176768"/>
                </a:lnTo>
                <a:lnTo>
                  <a:pt x="1041293" y="174630"/>
                </a:lnTo>
                <a:lnTo>
                  <a:pt x="1038680" y="172729"/>
                </a:lnTo>
                <a:lnTo>
                  <a:pt x="1035828" y="171303"/>
                </a:lnTo>
                <a:lnTo>
                  <a:pt x="1032740" y="170591"/>
                </a:lnTo>
                <a:lnTo>
                  <a:pt x="1030126" y="170591"/>
                </a:lnTo>
                <a:lnTo>
                  <a:pt x="1027038" y="170591"/>
                </a:lnTo>
                <a:lnTo>
                  <a:pt x="1024424" y="171303"/>
                </a:lnTo>
                <a:lnTo>
                  <a:pt x="1021335" y="172729"/>
                </a:lnTo>
                <a:lnTo>
                  <a:pt x="1018247" y="174867"/>
                </a:lnTo>
                <a:lnTo>
                  <a:pt x="1014920" y="177718"/>
                </a:lnTo>
                <a:lnTo>
                  <a:pt x="1011832" y="180807"/>
                </a:lnTo>
                <a:lnTo>
                  <a:pt x="1008743" y="184846"/>
                </a:lnTo>
                <a:lnTo>
                  <a:pt x="991874" y="201240"/>
                </a:lnTo>
                <a:lnTo>
                  <a:pt x="983321" y="209318"/>
                </a:lnTo>
                <a:lnTo>
                  <a:pt x="974530" y="216683"/>
                </a:lnTo>
                <a:lnTo>
                  <a:pt x="965739" y="223811"/>
                </a:lnTo>
                <a:lnTo>
                  <a:pt x="956236" y="230226"/>
                </a:lnTo>
                <a:lnTo>
                  <a:pt x="946494" y="235928"/>
                </a:lnTo>
                <a:lnTo>
                  <a:pt x="941505" y="238066"/>
                </a:lnTo>
                <a:lnTo>
                  <a:pt x="936753" y="240442"/>
                </a:lnTo>
                <a:lnTo>
                  <a:pt x="932239" y="242581"/>
                </a:lnTo>
                <a:lnTo>
                  <a:pt x="928675" y="245669"/>
                </a:lnTo>
                <a:lnTo>
                  <a:pt x="925111" y="249233"/>
                </a:lnTo>
                <a:lnTo>
                  <a:pt x="922022" y="252797"/>
                </a:lnTo>
                <a:lnTo>
                  <a:pt x="919884" y="257311"/>
                </a:lnTo>
                <a:lnTo>
                  <a:pt x="918934" y="259925"/>
                </a:lnTo>
                <a:lnTo>
                  <a:pt x="918459" y="262538"/>
                </a:lnTo>
                <a:lnTo>
                  <a:pt x="918459" y="265389"/>
                </a:lnTo>
                <a:lnTo>
                  <a:pt x="918459" y="268003"/>
                </a:lnTo>
                <a:lnTo>
                  <a:pt x="918934" y="271091"/>
                </a:lnTo>
                <a:lnTo>
                  <a:pt x="919884" y="274180"/>
                </a:lnTo>
                <a:lnTo>
                  <a:pt x="921547" y="282258"/>
                </a:lnTo>
                <a:lnTo>
                  <a:pt x="922973" y="290574"/>
                </a:lnTo>
                <a:lnTo>
                  <a:pt x="923923" y="299127"/>
                </a:lnTo>
                <a:lnTo>
                  <a:pt x="924161" y="307443"/>
                </a:lnTo>
                <a:lnTo>
                  <a:pt x="924161" y="315996"/>
                </a:lnTo>
                <a:lnTo>
                  <a:pt x="923923" y="324550"/>
                </a:lnTo>
                <a:lnTo>
                  <a:pt x="922973" y="332865"/>
                </a:lnTo>
                <a:lnTo>
                  <a:pt x="922022" y="340943"/>
                </a:lnTo>
                <a:lnTo>
                  <a:pt x="920597" y="349259"/>
                </a:lnTo>
                <a:lnTo>
                  <a:pt x="918934" y="357812"/>
                </a:lnTo>
                <a:lnTo>
                  <a:pt x="914420" y="374681"/>
                </a:lnTo>
                <a:lnTo>
                  <a:pt x="909192" y="391075"/>
                </a:lnTo>
                <a:lnTo>
                  <a:pt x="903253" y="408182"/>
                </a:lnTo>
                <a:lnTo>
                  <a:pt x="903253" y="397965"/>
                </a:lnTo>
                <a:lnTo>
                  <a:pt x="904203" y="387274"/>
                </a:lnTo>
                <a:lnTo>
                  <a:pt x="906104" y="367078"/>
                </a:lnTo>
                <a:lnTo>
                  <a:pt x="907767" y="347596"/>
                </a:lnTo>
                <a:lnTo>
                  <a:pt x="908717" y="338567"/>
                </a:lnTo>
                <a:lnTo>
                  <a:pt x="908717" y="329777"/>
                </a:lnTo>
                <a:lnTo>
                  <a:pt x="908717" y="325738"/>
                </a:lnTo>
                <a:lnTo>
                  <a:pt x="907767" y="322649"/>
                </a:lnTo>
                <a:lnTo>
                  <a:pt x="906817" y="319560"/>
                </a:lnTo>
                <a:lnTo>
                  <a:pt x="905154" y="316471"/>
                </a:lnTo>
                <a:lnTo>
                  <a:pt x="903728" y="314096"/>
                </a:lnTo>
                <a:lnTo>
                  <a:pt x="901590" y="311957"/>
                </a:lnTo>
                <a:lnTo>
                  <a:pt x="897551" y="307443"/>
                </a:lnTo>
                <a:lnTo>
                  <a:pt x="895412" y="309344"/>
                </a:lnTo>
                <a:lnTo>
                  <a:pt x="892561" y="310769"/>
                </a:lnTo>
                <a:lnTo>
                  <a:pt x="887334" y="313383"/>
                </a:lnTo>
                <a:lnTo>
                  <a:pt x="884721" y="314096"/>
                </a:lnTo>
                <a:lnTo>
                  <a:pt x="882820" y="315521"/>
                </a:lnTo>
                <a:lnTo>
                  <a:pt x="881632" y="316947"/>
                </a:lnTo>
                <a:lnTo>
                  <a:pt x="881157" y="318610"/>
                </a:lnTo>
                <a:lnTo>
                  <a:pt x="872604" y="331915"/>
                </a:lnTo>
                <a:lnTo>
                  <a:pt x="864288" y="346646"/>
                </a:lnTo>
                <a:lnTo>
                  <a:pt x="856210" y="361376"/>
                </a:lnTo>
                <a:lnTo>
                  <a:pt x="847656" y="374681"/>
                </a:lnTo>
                <a:lnTo>
                  <a:pt x="841954" y="374681"/>
                </a:lnTo>
                <a:lnTo>
                  <a:pt x="846468" y="357812"/>
                </a:lnTo>
                <a:lnTo>
                  <a:pt x="850508" y="339518"/>
                </a:lnTo>
                <a:lnTo>
                  <a:pt x="854784" y="319560"/>
                </a:lnTo>
                <a:lnTo>
                  <a:pt x="858823" y="296514"/>
                </a:lnTo>
                <a:lnTo>
                  <a:pt x="848132" y="303879"/>
                </a:lnTo>
                <a:lnTo>
                  <a:pt x="840054" y="310294"/>
                </a:lnTo>
                <a:lnTo>
                  <a:pt x="833163" y="316947"/>
                </a:lnTo>
                <a:lnTo>
                  <a:pt x="825560" y="324550"/>
                </a:lnTo>
                <a:lnTo>
                  <a:pt x="823185" y="326688"/>
                </a:lnTo>
                <a:lnTo>
                  <a:pt x="821522" y="329301"/>
                </a:lnTo>
                <a:lnTo>
                  <a:pt x="817007" y="335954"/>
                </a:lnTo>
                <a:lnTo>
                  <a:pt x="812968" y="344032"/>
                </a:lnTo>
                <a:lnTo>
                  <a:pt x="808929" y="352585"/>
                </a:lnTo>
                <a:lnTo>
                  <a:pt x="809880" y="343557"/>
                </a:lnTo>
                <a:lnTo>
                  <a:pt x="811305" y="335479"/>
                </a:lnTo>
                <a:lnTo>
                  <a:pt x="812493" y="328826"/>
                </a:lnTo>
                <a:lnTo>
                  <a:pt x="814394" y="323124"/>
                </a:lnTo>
                <a:lnTo>
                  <a:pt x="816532" y="317659"/>
                </a:lnTo>
                <a:lnTo>
                  <a:pt x="819146" y="313383"/>
                </a:lnTo>
                <a:lnTo>
                  <a:pt x="822709" y="309344"/>
                </a:lnTo>
                <a:lnTo>
                  <a:pt x="826748" y="306255"/>
                </a:lnTo>
                <a:lnTo>
                  <a:pt x="832213" y="303166"/>
                </a:lnTo>
                <a:lnTo>
                  <a:pt x="838390" y="300315"/>
                </a:lnTo>
                <a:lnTo>
                  <a:pt x="845518" y="298177"/>
                </a:lnTo>
                <a:lnTo>
                  <a:pt x="854071" y="295563"/>
                </a:lnTo>
                <a:lnTo>
                  <a:pt x="875217" y="290574"/>
                </a:lnTo>
                <a:lnTo>
                  <a:pt x="903253" y="285347"/>
                </a:lnTo>
                <a:lnTo>
                  <a:pt x="886384" y="268478"/>
                </a:lnTo>
                <a:lnTo>
                  <a:pt x="879731" y="270141"/>
                </a:lnTo>
                <a:lnTo>
                  <a:pt x="873079" y="271091"/>
                </a:lnTo>
                <a:lnTo>
                  <a:pt x="867376" y="271567"/>
                </a:lnTo>
                <a:lnTo>
                  <a:pt x="862387" y="271091"/>
                </a:lnTo>
                <a:lnTo>
                  <a:pt x="857398" y="269666"/>
                </a:lnTo>
                <a:lnTo>
                  <a:pt x="853596" y="268003"/>
                </a:lnTo>
                <a:lnTo>
                  <a:pt x="849557" y="265627"/>
                </a:lnTo>
                <a:lnTo>
                  <a:pt x="846468" y="262538"/>
                </a:lnTo>
                <a:lnTo>
                  <a:pt x="843380" y="259450"/>
                </a:lnTo>
                <a:lnTo>
                  <a:pt x="840529" y="255411"/>
                </a:lnTo>
                <a:lnTo>
                  <a:pt x="838390" y="251134"/>
                </a:lnTo>
                <a:lnTo>
                  <a:pt x="836490" y="246620"/>
                </a:lnTo>
                <a:lnTo>
                  <a:pt x="834827" y="241155"/>
                </a:lnTo>
                <a:lnTo>
                  <a:pt x="833401" y="235453"/>
                </a:lnTo>
                <a:lnTo>
                  <a:pt x="831263" y="223336"/>
                </a:lnTo>
                <a:lnTo>
                  <a:pt x="897551" y="206942"/>
                </a:lnTo>
                <a:lnTo>
                  <a:pt x="888997" y="194112"/>
                </a:lnTo>
                <a:lnTo>
                  <a:pt x="880682" y="181282"/>
                </a:lnTo>
                <a:lnTo>
                  <a:pt x="871416" y="168690"/>
                </a:lnTo>
                <a:lnTo>
                  <a:pt x="866901" y="162988"/>
                </a:lnTo>
                <a:lnTo>
                  <a:pt x="861437" y="157048"/>
                </a:lnTo>
                <a:lnTo>
                  <a:pt x="856210" y="151821"/>
                </a:lnTo>
                <a:lnTo>
                  <a:pt x="850745" y="146831"/>
                </a:lnTo>
                <a:lnTo>
                  <a:pt x="844568" y="142555"/>
                </a:lnTo>
                <a:lnTo>
                  <a:pt x="838390" y="138516"/>
                </a:lnTo>
                <a:lnTo>
                  <a:pt x="831738" y="134952"/>
                </a:lnTo>
                <a:lnTo>
                  <a:pt x="824610" y="132338"/>
                </a:lnTo>
                <a:lnTo>
                  <a:pt x="817007" y="129963"/>
                </a:lnTo>
                <a:lnTo>
                  <a:pt x="808929" y="128774"/>
                </a:lnTo>
                <a:lnTo>
                  <a:pt x="806791" y="128299"/>
                </a:lnTo>
                <a:lnTo>
                  <a:pt x="804652" y="127824"/>
                </a:lnTo>
                <a:lnTo>
                  <a:pt x="802752" y="126399"/>
                </a:lnTo>
                <a:lnTo>
                  <a:pt x="801089" y="125211"/>
                </a:lnTo>
                <a:lnTo>
                  <a:pt x="799663" y="123310"/>
                </a:lnTo>
                <a:lnTo>
                  <a:pt x="798713" y="121647"/>
                </a:lnTo>
                <a:lnTo>
                  <a:pt x="798000" y="119271"/>
                </a:lnTo>
                <a:lnTo>
                  <a:pt x="798000" y="117608"/>
                </a:lnTo>
                <a:lnTo>
                  <a:pt x="785408" y="106916"/>
                </a:lnTo>
                <a:lnTo>
                  <a:pt x="772578" y="95749"/>
                </a:lnTo>
                <a:lnTo>
                  <a:pt x="747155" y="72703"/>
                </a:lnTo>
                <a:lnTo>
                  <a:pt x="733850" y="61061"/>
                </a:lnTo>
                <a:lnTo>
                  <a:pt x="720545" y="49894"/>
                </a:lnTo>
                <a:lnTo>
                  <a:pt x="706765" y="38728"/>
                </a:lnTo>
                <a:lnTo>
                  <a:pt x="692510" y="28036"/>
                </a:lnTo>
                <a:lnTo>
                  <a:pt x="679442" y="21859"/>
                </a:lnTo>
                <a:lnTo>
                  <a:pt x="666137" y="16632"/>
                </a:lnTo>
                <a:lnTo>
                  <a:pt x="652832" y="11642"/>
                </a:lnTo>
                <a:lnTo>
                  <a:pt x="639527" y="7603"/>
                </a:lnTo>
                <a:lnTo>
                  <a:pt x="626222" y="4514"/>
                </a:lnTo>
                <a:lnTo>
                  <a:pt x="612917" y="1901"/>
                </a:lnTo>
                <a:lnTo>
                  <a:pt x="599374" y="475"/>
                </a:lnTo>
                <a:close/>
              </a:path>
            </a:pathLst>
          </a:custGeom>
          <a:solidFill>
            <a:schemeClr val="bg1">
              <a:alpha val="25000"/>
            </a:schemeClr>
          </a:solidFill>
          <a:ln>
            <a:noFill/>
          </a:ln>
        </p:spPr>
        <p:txBody>
          <a:bodyPr vert="horz" wrap="square" lIns="91440" tIns="45720" rIns="91440" bIns="45720" numCol="1" anchor="t" anchorCtr="0" compatLnSpc="1">
            <a:prstTxWarp prst="textNoShape">
              <a:avLst/>
            </a:prstTxWarp>
            <a:noAutofit/>
          </a:bodyPr>
          <a:lstStyle/>
          <a:p>
            <a:endParaRPr lang="en-IN"/>
          </a:p>
        </p:txBody>
      </p:sp>
      <p:sp>
        <p:nvSpPr>
          <p:cNvPr id="7" name="Rectangle 6"/>
          <p:cNvSpPr/>
          <p:nvPr/>
        </p:nvSpPr>
        <p:spPr>
          <a:xfrm>
            <a:off x="9108" y="1237136"/>
            <a:ext cx="5325034" cy="1588127"/>
          </a:xfrm>
          <a:prstGeom prst="rect">
            <a:avLst/>
          </a:prstGeom>
        </p:spPr>
        <p:txBody>
          <a:bodyPr wrap="square" lIns="274320">
            <a:spAutoFit/>
          </a:bodyPr>
          <a:lstStyle/>
          <a:p>
            <a:pPr defTabSz="932472" fontAlgn="base">
              <a:lnSpc>
                <a:spcPct val="90000"/>
              </a:lnSpc>
              <a:spcBef>
                <a:spcPct val="0"/>
              </a:spcBef>
              <a:spcAft>
                <a:spcPct val="0"/>
              </a:spcAft>
            </a:pPr>
            <a:r>
              <a:rPr lang="en-US" sz="5400" dirty="0">
                <a:solidFill>
                  <a:schemeClr val="bg1"/>
                </a:solidFill>
                <a:latin typeface="+mj-lt"/>
                <a:ea typeface="Segoe UI" pitchFamily="34" charset="0"/>
                <a:cs typeface="Segoe UI" pitchFamily="34" charset="0"/>
              </a:rPr>
              <a:t>Collect and load big data</a:t>
            </a:r>
          </a:p>
        </p:txBody>
      </p:sp>
      <p:sp>
        <p:nvSpPr>
          <p:cNvPr id="2" name="Slide Number Placeholder 1"/>
          <p:cNvSpPr>
            <a:spLocks noGrp="1"/>
          </p:cNvSpPr>
          <p:nvPr>
            <p:ph type="sldNum" sz="quarter" idx="11"/>
          </p:nvPr>
        </p:nvSpPr>
        <p:spPr/>
        <p:txBody>
          <a:bodyPr/>
          <a:lstStyle/>
          <a:p>
            <a:pPr>
              <a:defRPr/>
            </a:pPr>
            <a:fld id="{F8A0AC42-AA1D-4944-8D96-660DE70C7E1B}" type="slidenum">
              <a:rPr lang="en-IN" smtClean="0"/>
              <a:pPr>
                <a:defRPr/>
              </a:pPr>
              <a:t>2</a:t>
            </a:fld>
            <a:endParaRPr lang="en-IN" dirty="0"/>
          </a:p>
        </p:txBody>
      </p:sp>
      <p:sp>
        <p:nvSpPr>
          <p:cNvPr id="10" name="TextBox 9"/>
          <p:cNvSpPr txBox="1"/>
          <p:nvPr/>
        </p:nvSpPr>
        <p:spPr>
          <a:xfrm>
            <a:off x="5325034" y="4591994"/>
            <a:ext cx="6684403" cy="1874520"/>
          </a:xfrm>
          <a:prstGeom prst="rect">
            <a:avLst/>
          </a:prstGeom>
          <a:noFill/>
        </p:spPr>
        <p:txBody>
          <a:bodyPr wrap="square" lIns="274320" tIns="146304" rIns="182880" bIns="146304" rtlCol="0">
            <a:noAutofit/>
          </a:bodyPr>
          <a:lstStyle/>
          <a:p>
            <a:pPr marL="53975" lvl="1" defTabSz="932133" fontAlgn="base">
              <a:spcBef>
                <a:spcPts val="1200"/>
              </a:spcBef>
              <a:buClr>
                <a:srgbClr val="68217A">
                  <a:lumMod val="50000"/>
                </a:srgbClr>
              </a:buClr>
            </a:pPr>
            <a:r>
              <a:rPr lang="en-US" sz="3200" dirty="0">
                <a:ln>
                  <a:solidFill>
                    <a:srgbClr val="FFFFFF">
                      <a:alpha val="0"/>
                    </a:srgbClr>
                  </a:solidFill>
                </a:ln>
                <a:solidFill>
                  <a:srgbClr val="68217A"/>
                </a:solidFill>
                <a:latin typeface="Segoe UI Light"/>
                <a:ea typeface="Segoe UI" pitchFamily="34" charset="0"/>
                <a:cs typeface="Segoe UI" pitchFamily="34" charset="0"/>
              </a:rPr>
              <a:t>Data processing</a:t>
            </a:r>
          </a:p>
          <a:p>
            <a:pPr marL="569913" lvl="1" indent="-457200" defTabSz="932133" fontAlgn="base">
              <a:buClr>
                <a:schemeClr val="accent3">
                  <a:lumMod val="50000"/>
                </a:schemeClr>
              </a:buClr>
              <a:buBlip>
                <a:blip r:embed="rId2"/>
              </a:buBlip>
            </a:pPr>
            <a:r>
              <a:rPr lang="en-US"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re-processing data</a:t>
            </a:r>
          </a:p>
          <a:p>
            <a:pPr marL="569913" lvl="1" indent="-457200" defTabSz="932133" fontAlgn="base">
              <a:buClr>
                <a:schemeClr val="accent3">
                  <a:lumMod val="50000"/>
                </a:schemeClr>
              </a:buClr>
              <a:buBlip>
                <a:blip r:embed="rId2"/>
              </a:buBlip>
            </a:pPr>
            <a:r>
              <a:rPr lang="en-US"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erialization and compression</a:t>
            </a:r>
          </a:p>
          <a:p>
            <a:pPr marL="569913" lvl="1" indent="-457200" defTabSz="932133" fontAlgn="base">
              <a:buClr>
                <a:schemeClr val="accent3">
                  <a:lumMod val="50000"/>
                </a:schemeClr>
              </a:buClr>
              <a:buBlip>
                <a:blip r:embed="rId2"/>
              </a:buBlip>
            </a:pPr>
            <a:r>
              <a:rPr lang="en-US"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hoosing tools and technologies</a:t>
            </a:r>
          </a:p>
        </p:txBody>
      </p:sp>
      <p:sp>
        <p:nvSpPr>
          <p:cNvPr id="11" name="TextBox 10"/>
          <p:cNvSpPr txBox="1"/>
          <p:nvPr/>
        </p:nvSpPr>
        <p:spPr>
          <a:xfrm>
            <a:off x="5325034" y="3178005"/>
            <a:ext cx="6684403" cy="1419040"/>
          </a:xfrm>
          <a:prstGeom prst="rect">
            <a:avLst/>
          </a:prstGeom>
          <a:noFill/>
        </p:spPr>
        <p:txBody>
          <a:bodyPr wrap="square" lIns="274320" tIns="146304" rIns="182880" bIns="146304" rtlCol="0">
            <a:noAutofit/>
          </a:bodyPr>
          <a:lstStyle/>
          <a:p>
            <a:pPr marL="53975" lvl="1" defTabSz="932133" fontAlgn="base">
              <a:spcBef>
                <a:spcPts val="1200"/>
              </a:spcBef>
              <a:buClr>
                <a:srgbClr val="68217A">
                  <a:lumMod val="50000"/>
                </a:srgbClr>
              </a:buClr>
            </a:pPr>
            <a:r>
              <a:rPr lang="en-US" sz="3200" dirty="0">
                <a:ln>
                  <a:solidFill>
                    <a:srgbClr val="FFFFFF">
                      <a:alpha val="0"/>
                    </a:srgbClr>
                  </a:solidFill>
                </a:ln>
                <a:solidFill>
                  <a:srgbClr val="68217A"/>
                </a:solidFill>
                <a:latin typeface="Segoe UI Light"/>
                <a:ea typeface="Segoe UI" pitchFamily="34" charset="0"/>
                <a:cs typeface="Segoe UI" pitchFamily="34" charset="0"/>
              </a:rPr>
              <a:t>Administration</a:t>
            </a:r>
          </a:p>
          <a:p>
            <a:pPr marL="569913" lvl="1" indent="-457200" defTabSz="932133" fontAlgn="base">
              <a:buClr>
                <a:srgbClr val="68217A">
                  <a:lumMod val="50000"/>
                </a:srgbClr>
              </a:buClr>
              <a:buBlip>
                <a:blip r:embed="rId2"/>
              </a:buBlip>
            </a:pPr>
            <a:r>
              <a:rPr lang="en-US"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liability</a:t>
            </a:r>
          </a:p>
          <a:p>
            <a:pPr marL="569913" lvl="1" indent="-457200" defTabSz="932133" fontAlgn="base">
              <a:buClr>
                <a:srgbClr val="68217A">
                  <a:lumMod val="50000"/>
                </a:srgbClr>
              </a:buClr>
              <a:buBlip>
                <a:blip r:embed="rId2"/>
              </a:buBlip>
            </a:pPr>
            <a:r>
              <a:rPr lang="en-US"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ecurity</a:t>
            </a:r>
          </a:p>
        </p:txBody>
      </p:sp>
    </p:spTree>
    <p:extLst>
      <p:ext uri="{BB962C8B-B14F-4D97-AF65-F5344CB8AC3E}">
        <p14:creationId xmlns:p14="http://schemas.microsoft.com/office/powerpoint/2010/main" val="1115133073"/>
      </p:ext>
    </p:extLst>
  </p:cSld>
  <p:clrMapOvr>
    <a:masterClrMapping/>
  </p:clrMapOvr>
  <p:transition spd="med">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sual Studio tooling</a:t>
            </a:r>
            <a:endParaRPr lang="en-US" dirty="0"/>
          </a:p>
        </p:txBody>
      </p:sp>
      <p:sp>
        <p:nvSpPr>
          <p:cNvPr id="7" name="Freeform 6"/>
          <p:cNvSpPr>
            <a:spLocks/>
          </p:cNvSpPr>
          <p:nvPr/>
        </p:nvSpPr>
        <p:spPr bwMode="auto">
          <a:xfrm>
            <a:off x="704681" y="1814747"/>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3" name="Freeform 12"/>
          <p:cNvSpPr>
            <a:spLocks/>
          </p:cNvSpPr>
          <p:nvPr/>
        </p:nvSpPr>
        <p:spPr bwMode="auto">
          <a:xfrm>
            <a:off x="700420" y="2714361"/>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7" name="Freeform 16"/>
          <p:cNvSpPr>
            <a:spLocks/>
          </p:cNvSpPr>
          <p:nvPr/>
        </p:nvSpPr>
        <p:spPr bwMode="auto">
          <a:xfrm>
            <a:off x="683860" y="3152814"/>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8" name="Freeform 17"/>
          <p:cNvSpPr>
            <a:spLocks/>
          </p:cNvSpPr>
          <p:nvPr/>
        </p:nvSpPr>
        <p:spPr bwMode="auto">
          <a:xfrm>
            <a:off x="683860" y="3595092"/>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9" name="Freeform 18"/>
          <p:cNvSpPr>
            <a:spLocks/>
          </p:cNvSpPr>
          <p:nvPr/>
        </p:nvSpPr>
        <p:spPr bwMode="auto">
          <a:xfrm>
            <a:off x="664654" y="4053499"/>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20" name="Freeform 19"/>
          <p:cNvSpPr>
            <a:spLocks/>
          </p:cNvSpPr>
          <p:nvPr/>
        </p:nvSpPr>
        <p:spPr bwMode="auto">
          <a:xfrm>
            <a:off x="683860" y="4489605"/>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21" name="Freeform 20"/>
          <p:cNvSpPr>
            <a:spLocks/>
          </p:cNvSpPr>
          <p:nvPr/>
        </p:nvSpPr>
        <p:spPr bwMode="auto">
          <a:xfrm>
            <a:off x="661980" y="4899183"/>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25155" y="1924381"/>
            <a:ext cx="3882048" cy="3905864"/>
          </a:xfrm>
          <a:prstGeom prst="rect">
            <a:avLst/>
          </a:prstGeom>
        </p:spPr>
      </p:pic>
      <p:sp>
        <p:nvSpPr>
          <p:cNvPr id="15" name="Rectangle 14"/>
          <p:cNvSpPr/>
          <p:nvPr/>
        </p:nvSpPr>
        <p:spPr bwMode="auto">
          <a:xfrm>
            <a:off x="7473462" y="1317554"/>
            <a:ext cx="4536830" cy="4779396"/>
          </a:xfrm>
          <a:prstGeom prst="rect">
            <a:avLst/>
          </a:prstGeom>
          <a:solidFill>
            <a:schemeClr val="bg1">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23" name="Content Placeholder 2"/>
          <p:cNvSpPr txBox="1">
            <a:spLocks/>
          </p:cNvSpPr>
          <p:nvPr/>
        </p:nvSpPr>
        <p:spPr bwMode="auto">
          <a:xfrm>
            <a:off x="465138" y="1304881"/>
            <a:ext cx="8503016" cy="5120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342900" indent="-342900" algn="l" defTabSz="931863" rtl="0" eaLnBrk="1" fontAlgn="base" hangingPunct="1">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nSpc>
                <a:spcPct val="100000"/>
              </a:lnSpc>
              <a:spcBef>
                <a:spcPts val="800"/>
              </a:spcBef>
              <a:buNone/>
            </a:pPr>
            <a:r>
              <a:rPr lang="en-US" sz="2400" dirty="0">
                <a:latin typeface="Segoe UI Semibold" panose="020B0702040204020203" pitchFamily="34" charset="0"/>
                <a:cs typeface="Segoe UI Semibold" panose="020B0702040204020203" pitchFamily="34" charset="0"/>
              </a:rPr>
              <a:t>Ships with the Azure SDK</a:t>
            </a:r>
          </a:p>
          <a:p>
            <a:pPr marL="558800" lvl="2" indent="0">
              <a:lnSpc>
                <a:spcPct val="100000"/>
              </a:lnSpc>
              <a:spcBef>
                <a:spcPts val="200"/>
              </a:spcBef>
              <a:spcAft>
                <a:spcPts val="400"/>
              </a:spcAft>
              <a:buNone/>
            </a:pPr>
            <a:r>
              <a:rPr lang="en-US" sz="2400" dirty="0"/>
              <a:t>Supported for VS 2012, 2013 and </a:t>
            </a:r>
            <a:r>
              <a:rPr lang="en-US" sz="2400" dirty="0" smtClean="0"/>
              <a:t>2015</a:t>
            </a:r>
            <a:endParaRPr lang="en-US" sz="2400" dirty="0"/>
          </a:p>
          <a:p>
            <a:pPr marL="0" lvl="0" indent="0">
              <a:lnSpc>
                <a:spcPct val="100000"/>
              </a:lnSpc>
              <a:spcBef>
                <a:spcPts val="1200"/>
              </a:spcBef>
              <a:buNone/>
            </a:pPr>
            <a:r>
              <a:rPr lang="en-US" sz="2400" dirty="0">
                <a:latin typeface="Segoe UI Semibold" panose="020B0702040204020203" pitchFamily="34" charset="0"/>
                <a:cs typeface="Segoe UI Semibold" panose="020B0702040204020203" pitchFamily="34" charset="0"/>
              </a:rPr>
              <a:t>Enables Hive query authoring, submission and debugging</a:t>
            </a:r>
          </a:p>
          <a:p>
            <a:pPr marL="558800" lvl="2" indent="0">
              <a:lnSpc>
                <a:spcPct val="100000"/>
              </a:lnSpc>
              <a:spcBef>
                <a:spcPts val="200"/>
              </a:spcBef>
              <a:spcAft>
                <a:spcPts val="400"/>
              </a:spcAft>
              <a:buNone/>
            </a:pPr>
            <a:r>
              <a:rPr lang="en-US" sz="2400" dirty="0"/>
              <a:t>Navigate Linked Resources</a:t>
            </a:r>
          </a:p>
          <a:p>
            <a:pPr marL="558800" lvl="2" indent="0">
              <a:lnSpc>
                <a:spcPct val="100000"/>
              </a:lnSpc>
              <a:spcBef>
                <a:spcPts val="200"/>
              </a:spcBef>
              <a:spcAft>
                <a:spcPts val="400"/>
              </a:spcAft>
              <a:buNone/>
            </a:pPr>
            <a:r>
              <a:rPr lang="en-US" sz="2400" dirty="0"/>
              <a:t>Create Hive Tables</a:t>
            </a:r>
          </a:p>
          <a:p>
            <a:pPr marL="558800" lvl="2" indent="0">
              <a:lnSpc>
                <a:spcPct val="100000"/>
              </a:lnSpc>
              <a:spcBef>
                <a:spcPts val="200"/>
              </a:spcBef>
              <a:spcAft>
                <a:spcPts val="400"/>
              </a:spcAft>
              <a:buNone/>
            </a:pPr>
            <a:r>
              <a:rPr lang="en-US" sz="2400" dirty="0"/>
              <a:t>Run Hive Queries</a:t>
            </a:r>
          </a:p>
          <a:p>
            <a:pPr marL="558800" lvl="2" indent="0">
              <a:lnSpc>
                <a:spcPct val="100000"/>
              </a:lnSpc>
              <a:spcBef>
                <a:spcPts val="200"/>
              </a:spcBef>
              <a:spcAft>
                <a:spcPts val="400"/>
              </a:spcAft>
              <a:buNone/>
            </a:pPr>
            <a:r>
              <a:rPr lang="en-US" sz="2400" dirty="0"/>
              <a:t>View Hive Jobs</a:t>
            </a:r>
          </a:p>
          <a:p>
            <a:pPr marL="558800" lvl="2" indent="0">
              <a:lnSpc>
                <a:spcPct val="100000"/>
              </a:lnSpc>
              <a:spcBef>
                <a:spcPts val="200"/>
              </a:spcBef>
              <a:spcAft>
                <a:spcPts val="400"/>
              </a:spcAft>
              <a:buNone/>
            </a:pPr>
            <a:r>
              <a:rPr lang="en-US" sz="2400" dirty="0"/>
              <a:t>Hive Script Local Validation</a:t>
            </a:r>
          </a:p>
          <a:p>
            <a:pPr marL="558800" lvl="2" indent="0">
              <a:lnSpc>
                <a:spcPct val="100000"/>
              </a:lnSpc>
              <a:spcBef>
                <a:spcPts val="200"/>
              </a:spcBef>
              <a:spcAft>
                <a:spcPts val="400"/>
              </a:spcAft>
              <a:buNone/>
            </a:pPr>
            <a:r>
              <a:rPr lang="en-US" sz="2400" dirty="0"/>
              <a:t>IntelliSense Support for Hive (Preview</a:t>
            </a:r>
            <a:r>
              <a:rPr lang="en-US" sz="2400" dirty="0" smtClean="0"/>
              <a:t>)</a:t>
            </a:r>
            <a:endParaRPr lang="en-US" sz="2400" dirty="0"/>
          </a:p>
          <a:p>
            <a:pPr marL="0" indent="0">
              <a:lnSpc>
                <a:spcPct val="100000"/>
              </a:lnSpc>
              <a:spcBef>
                <a:spcPts val="1200"/>
              </a:spcBef>
              <a:buNone/>
            </a:pPr>
            <a:r>
              <a:rPr lang="en-US" sz="2400" dirty="0">
                <a:latin typeface="Segoe UI Semibold" panose="020B0702040204020203" pitchFamily="34" charset="0"/>
                <a:cs typeface="Segoe UI Semibold" panose="020B0702040204020203" pitchFamily="34" charset="0"/>
              </a:rPr>
              <a:t>Table creation and schema management are also supported </a:t>
            </a:r>
          </a:p>
        </p:txBody>
      </p:sp>
    </p:spTree>
    <p:extLst>
      <p:ext uri="{BB962C8B-B14F-4D97-AF65-F5344CB8AC3E}">
        <p14:creationId xmlns:p14="http://schemas.microsoft.com/office/powerpoint/2010/main" val="132057032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xEl>
                                              <p:pRg st="0" end="0"/>
                                            </p:txEl>
                                          </p:spTgt>
                                        </p:tgtEl>
                                        <p:attrNameLst>
                                          <p:attrName>style.visibility</p:attrName>
                                        </p:attrNameLst>
                                      </p:cBhvr>
                                      <p:to>
                                        <p:strVal val="visible"/>
                                      </p:to>
                                    </p:set>
                                    <p:animEffect transition="in" filter="fade">
                                      <p:cBhvr>
                                        <p:cTn id="7" dur="500"/>
                                        <p:tgtEl>
                                          <p:spTgt spid="2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3">
                                            <p:txEl>
                                              <p:pRg st="1" end="1"/>
                                            </p:txEl>
                                          </p:spTgt>
                                        </p:tgtEl>
                                        <p:attrNameLst>
                                          <p:attrName>style.visibility</p:attrName>
                                        </p:attrNameLst>
                                      </p:cBhvr>
                                      <p:to>
                                        <p:strVal val="visible"/>
                                      </p:to>
                                    </p:set>
                                    <p:animEffect transition="in" filter="fade">
                                      <p:cBhvr>
                                        <p:cTn id="10" dur="500"/>
                                        <p:tgtEl>
                                          <p:spTgt spid="2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23">
                                            <p:txEl>
                                              <p:pRg st="2" end="2"/>
                                            </p:txEl>
                                          </p:spTgt>
                                        </p:tgtEl>
                                        <p:attrNameLst>
                                          <p:attrName>style.visibility</p:attrName>
                                        </p:attrNameLst>
                                      </p:cBhvr>
                                      <p:to>
                                        <p:strVal val="visible"/>
                                      </p:to>
                                    </p:set>
                                    <p:animEffect transition="in" filter="fade">
                                      <p:cBhvr>
                                        <p:cTn id="18" dur="500"/>
                                        <p:tgtEl>
                                          <p:spTgt spid="23">
                                            <p:txEl>
                                              <p:pRg st="2" end="2"/>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23">
                                            <p:txEl>
                                              <p:pRg st="3" end="3"/>
                                            </p:txEl>
                                          </p:spTgt>
                                        </p:tgtEl>
                                        <p:attrNameLst>
                                          <p:attrName>style.visibility</p:attrName>
                                        </p:attrNameLst>
                                      </p:cBhvr>
                                      <p:to>
                                        <p:strVal val="visible"/>
                                      </p:to>
                                    </p:set>
                                    <p:animEffect transition="in" filter="fade">
                                      <p:cBhvr>
                                        <p:cTn id="21" dur="500"/>
                                        <p:tgtEl>
                                          <p:spTgt spid="23">
                                            <p:txEl>
                                              <p:pRg st="3" end="3"/>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500"/>
                                        <p:tgtEl>
                                          <p:spTgt spid="1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3">
                                            <p:txEl>
                                              <p:pRg st="4" end="4"/>
                                            </p:txEl>
                                          </p:spTgt>
                                        </p:tgtEl>
                                        <p:attrNameLst>
                                          <p:attrName>style.visibility</p:attrName>
                                        </p:attrNameLst>
                                      </p:cBhvr>
                                      <p:to>
                                        <p:strVal val="visible"/>
                                      </p:to>
                                    </p:set>
                                    <p:animEffect transition="in" filter="fade">
                                      <p:cBhvr>
                                        <p:cTn id="29" dur="500"/>
                                        <p:tgtEl>
                                          <p:spTgt spid="23">
                                            <p:txEl>
                                              <p:pRg st="4" end="4"/>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3">
                                            <p:txEl>
                                              <p:pRg st="5" end="5"/>
                                            </p:txEl>
                                          </p:spTgt>
                                        </p:tgtEl>
                                        <p:attrNameLst>
                                          <p:attrName>style.visibility</p:attrName>
                                        </p:attrNameLst>
                                      </p:cBhvr>
                                      <p:to>
                                        <p:strVal val="visible"/>
                                      </p:to>
                                    </p:set>
                                    <p:animEffect transition="in" filter="fade">
                                      <p:cBhvr>
                                        <p:cTn id="37" dur="500"/>
                                        <p:tgtEl>
                                          <p:spTgt spid="23">
                                            <p:txEl>
                                              <p:pRg st="5" end="5"/>
                                            </p:tx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8"/>
                                        </p:tgtEl>
                                        <p:attrNameLst>
                                          <p:attrName>style.visibility</p:attrName>
                                        </p:attrNameLst>
                                      </p:cBhvr>
                                      <p:to>
                                        <p:strVal val="visible"/>
                                      </p:to>
                                    </p:set>
                                    <p:animEffect transition="in" filter="fade">
                                      <p:cBhvr>
                                        <p:cTn id="40" dur="500"/>
                                        <p:tgtEl>
                                          <p:spTgt spid="18"/>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23">
                                            <p:txEl>
                                              <p:pRg st="6" end="6"/>
                                            </p:txEl>
                                          </p:spTgt>
                                        </p:tgtEl>
                                        <p:attrNameLst>
                                          <p:attrName>style.visibility</p:attrName>
                                        </p:attrNameLst>
                                      </p:cBhvr>
                                      <p:to>
                                        <p:strVal val="visible"/>
                                      </p:to>
                                    </p:set>
                                    <p:animEffect transition="in" filter="fade">
                                      <p:cBhvr>
                                        <p:cTn id="45" dur="500"/>
                                        <p:tgtEl>
                                          <p:spTgt spid="23">
                                            <p:txEl>
                                              <p:pRg st="6" end="6"/>
                                            </p:txEl>
                                          </p:spTgt>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9"/>
                                        </p:tgtEl>
                                        <p:attrNameLst>
                                          <p:attrName>style.visibility</p:attrName>
                                        </p:attrNameLst>
                                      </p:cBhvr>
                                      <p:to>
                                        <p:strVal val="visible"/>
                                      </p:to>
                                    </p:set>
                                    <p:animEffect transition="in" filter="fade">
                                      <p:cBhvr>
                                        <p:cTn id="48" dur="500"/>
                                        <p:tgtEl>
                                          <p:spTgt spid="19"/>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23">
                                            <p:txEl>
                                              <p:pRg st="7" end="7"/>
                                            </p:txEl>
                                          </p:spTgt>
                                        </p:tgtEl>
                                        <p:attrNameLst>
                                          <p:attrName>style.visibility</p:attrName>
                                        </p:attrNameLst>
                                      </p:cBhvr>
                                      <p:to>
                                        <p:strVal val="visible"/>
                                      </p:to>
                                    </p:set>
                                    <p:animEffect transition="in" filter="fade">
                                      <p:cBhvr>
                                        <p:cTn id="53" dur="500"/>
                                        <p:tgtEl>
                                          <p:spTgt spid="23">
                                            <p:txEl>
                                              <p:pRg st="7" end="7"/>
                                            </p:txEl>
                                          </p:spTgt>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500"/>
                                        <p:tgtEl>
                                          <p:spTgt spid="20"/>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23">
                                            <p:txEl>
                                              <p:pRg st="8" end="8"/>
                                            </p:txEl>
                                          </p:spTgt>
                                        </p:tgtEl>
                                        <p:attrNameLst>
                                          <p:attrName>style.visibility</p:attrName>
                                        </p:attrNameLst>
                                      </p:cBhvr>
                                      <p:to>
                                        <p:strVal val="visible"/>
                                      </p:to>
                                    </p:set>
                                    <p:animEffect transition="in" filter="fade">
                                      <p:cBhvr>
                                        <p:cTn id="61" dur="500"/>
                                        <p:tgtEl>
                                          <p:spTgt spid="23">
                                            <p:txEl>
                                              <p:pRg st="8" end="8"/>
                                            </p:txEl>
                                          </p:spTgt>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21"/>
                                        </p:tgtEl>
                                        <p:attrNameLst>
                                          <p:attrName>style.visibility</p:attrName>
                                        </p:attrNameLst>
                                      </p:cBhvr>
                                      <p:to>
                                        <p:strVal val="visible"/>
                                      </p:to>
                                    </p:set>
                                    <p:animEffect transition="in" filter="fade">
                                      <p:cBhvr>
                                        <p:cTn id="64" dur="500"/>
                                        <p:tgtEl>
                                          <p:spTgt spid="2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nodeType="clickEffect">
                                  <p:stCondLst>
                                    <p:cond delay="0"/>
                                  </p:stCondLst>
                                  <p:childTnLst>
                                    <p:set>
                                      <p:cBhvr>
                                        <p:cTn id="68" dur="1" fill="hold">
                                          <p:stCondLst>
                                            <p:cond delay="0"/>
                                          </p:stCondLst>
                                        </p:cTn>
                                        <p:tgtEl>
                                          <p:spTgt spid="23">
                                            <p:txEl>
                                              <p:pRg st="9" end="9"/>
                                            </p:txEl>
                                          </p:spTgt>
                                        </p:tgtEl>
                                        <p:attrNameLst>
                                          <p:attrName>style.visibility</p:attrName>
                                        </p:attrNameLst>
                                      </p:cBhvr>
                                      <p:to>
                                        <p:strVal val="visible"/>
                                      </p:to>
                                    </p:set>
                                    <p:animEffect transition="in" filter="fade">
                                      <p:cBhvr>
                                        <p:cTn id="69" dur="500"/>
                                        <p:tgtEl>
                                          <p:spTgt spid="2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3" grpId="0" animBg="1"/>
      <p:bldP spid="17" grpId="0" animBg="1"/>
      <p:bldP spid="18" grpId="0" animBg="1"/>
      <p:bldP spid="19" grpId="0" animBg="1"/>
      <p:bldP spid="20" grpId="0" animBg="1"/>
      <p:bldP spid="2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274638" y="2125663"/>
            <a:ext cx="10972800" cy="4572000"/>
          </a:xfrm>
          <a:prstGeom prst="rect">
            <a:avLst/>
          </a:prstGeom>
          <a:solidFill>
            <a:schemeClr val="accent3">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fontAlgn="auto">
              <a:spcBef>
                <a:spcPts val="0"/>
              </a:spcBef>
              <a:spcAft>
                <a:spcPts val="0"/>
              </a:spcAft>
              <a:defRPr/>
            </a:pPr>
            <a:endParaRPr lang="en-US" sz="1800" dirty="0">
              <a:solidFill>
                <a:srgbClr val="FFFFFF"/>
              </a:solidFill>
            </a:endParaRPr>
          </a:p>
        </p:txBody>
      </p:sp>
      <p:pic>
        <p:nvPicPr>
          <p:cNvPr id="46082" name="Picture 5"/>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71488" y="2316163"/>
            <a:ext cx="1303337" cy="285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extBox 9"/>
          <p:cNvSpPr txBox="1"/>
          <p:nvPr/>
        </p:nvSpPr>
        <p:spPr>
          <a:xfrm>
            <a:off x="474663" y="3018215"/>
            <a:ext cx="5943600" cy="892552"/>
          </a:xfrm>
          <a:prstGeom prst="rect">
            <a:avLst/>
          </a:prstGeom>
          <a:noFill/>
        </p:spPr>
        <p:txBody>
          <a:bodyPr>
            <a:spAutoFit/>
          </a:bodyPr>
          <a:lstStyle/>
          <a:p>
            <a:pPr defTabSz="932742" fontAlgn="auto">
              <a:spcBef>
                <a:spcPts val="0"/>
              </a:spcBef>
              <a:spcAft>
                <a:spcPts val="0"/>
              </a:spcAft>
              <a:defRPr/>
            </a:pPr>
            <a:r>
              <a:rPr lang="en-US" sz="5200" dirty="0">
                <a:gradFill>
                  <a:gsLst>
                    <a:gs pos="2917">
                      <a:srgbClr val="FFFFFF"/>
                    </a:gs>
                    <a:gs pos="100000">
                      <a:srgbClr val="FFFFFF"/>
                    </a:gs>
                  </a:gsLst>
                  <a:lin ang="5400000" scaled="0"/>
                </a:gradFill>
                <a:latin typeface="Segoe UI Light"/>
                <a:ea typeface="+mn-ea"/>
                <a:cs typeface="+mn-cs"/>
              </a:rPr>
              <a:t>Get started today!</a:t>
            </a:r>
          </a:p>
        </p:txBody>
      </p:sp>
      <p:sp>
        <p:nvSpPr>
          <p:cNvPr id="11" name="TextBox 10"/>
          <p:cNvSpPr txBox="1"/>
          <p:nvPr/>
        </p:nvSpPr>
        <p:spPr>
          <a:xfrm>
            <a:off x="474663" y="3967163"/>
            <a:ext cx="10772775" cy="424732"/>
          </a:xfrm>
          <a:prstGeom prst="rect">
            <a:avLst/>
          </a:prstGeom>
          <a:noFill/>
        </p:spPr>
        <p:txBody>
          <a:bodyPr>
            <a:spAutoFit/>
          </a:bodyPr>
          <a:lstStyle/>
          <a:p>
            <a:pPr marL="285750" lvl="1" indent="-285750" defTabSz="914099">
              <a:lnSpc>
                <a:spcPct val="90000"/>
              </a:lnSpc>
              <a:spcAft>
                <a:spcPts val="1200"/>
              </a:spcAft>
              <a:buFont typeface="Wingdings" pitchFamily="2" charset="2"/>
              <a:buChar char="§"/>
              <a:defRPr/>
            </a:pPr>
            <a:r>
              <a:rPr lang="en-US" dirty="0" smtClean="0">
                <a:solidFill>
                  <a:srgbClr val="FFFFFF"/>
                </a:solidFill>
                <a:latin typeface="+mj-lt"/>
                <a:ea typeface="+mn-ea"/>
                <a:cs typeface="+mn-cs"/>
              </a:rPr>
              <a:t>For </a:t>
            </a:r>
            <a:r>
              <a:rPr lang="en-US" dirty="0">
                <a:solidFill>
                  <a:srgbClr val="FFFFFF"/>
                </a:solidFill>
                <a:latin typeface="+mj-lt"/>
                <a:ea typeface="+mn-ea"/>
                <a:cs typeface="+mn-cs"/>
              </a:rPr>
              <a:t>more information visit: http://azure.microsoft.com/en-us/services/hdinsight</a:t>
            </a:r>
            <a:r>
              <a:rPr lang="en-US" dirty="0" smtClean="0">
                <a:solidFill>
                  <a:srgbClr val="FFFFFF"/>
                </a:solidFill>
                <a:latin typeface="+mj-lt"/>
                <a:ea typeface="+mn-ea"/>
                <a:cs typeface="+mn-cs"/>
              </a:rPr>
              <a:t>/  </a:t>
            </a:r>
            <a:endParaRPr lang="en-US" dirty="0">
              <a:solidFill>
                <a:srgbClr val="FFFFFF"/>
              </a:solidFill>
              <a:latin typeface="+mj-lt"/>
              <a:ea typeface="+mn-ea"/>
              <a:cs typeface="+mn-cs"/>
            </a:endParaRPr>
          </a:p>
        </p:txBody>
      </p:sp>
    </p:spTree>
    <p:extLst>
      <p:ext uri="{BB962C8B-B14F-4D97-AF65-F5344CB8AC3E}">
        <p14:creationId xmlns:p14="http://schemas.microsoft.com/office/powerpoint/2010/main" val="931489903"/>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94579" y="2818410"/>
            <a:ext cx="2424169" cy="517039"/>
          </a:xfrm>
          <a:prstGeom prst="rect">
            <a:avLst/>
          </a:prstGeom>
        </p:spPr>
      </p:pic>
      <p:sp>
        <p:nvSpPr>
          <p:cNvPr id="5" name="TextBox 4"/>
          <p:cNvSpPr txBox="1"/>
          <p:nvPr/>
        </p:nvSpPr>
        <p:spPr>
          <a:xfrm>
            <a:off x="271461" y="5935664"/>
            <a:ext cx="11893552" cy="906780"/>
          </a:xfrm>
          <a:prstGeom prst="rect">
            <a:avLst/>
          </a:prstGeom>
          <a:noFill/>
        </p:spPr>
        <p:txBody>
          <a:bodyPr wrap="square" lIns="182880" tIns="146306" rIns="182880" bIns="146306" rtlCol="0">
            <a:noAutofit/>
          </a:bodyPr>
          <a:lstStyle/>
          <a:p>
            <a:pPr defTabSz="932901">
              <a:lnSpc>
                <a:spcPts val="1199"/>
              </a:lnSpc>
            </a:pPr>
            <a:r>
              <a:rPr lang="en-US" sz="1000" dirty="0">
                <a:solidFill>
                  <a:srgbClr val="FFFFFF"/>
                </a:solidFill>
              </a:rPr>
              <a:t>© </a:t>
            </a:r>
            <a:r>
              <a:rPr lang="en-US" sz="1000" dirty="0" smtClean="0">
                <a:solidFill>
                  <a:srgbClr val="FFFFFF"/>
                </a:solidFill>
              </a:rPr>
              <a:t>2014 </a:t>
            </a:r>
            <a:r>
              <a:rPr lang="en-US" sz="1000" dirty="0">
                <a:solidFill>
                  <a:srgbClr val="FFFFFF"/>
                </a:solidFill>
              </a:rPr>
              <a:t>Microsoft Corporation. All rights reserved. Microsoft, Windows, Windows Vista and other product names are or may be registered trademarks and/or trademarks in the U.S. and/or other countries.</a:t>
            </a:r>
          </a:p>
          <a:p>
            <a:pPr defTabSz="932901">
              <a:lnSpc>
                <a:spcPts val="1199"/>
              </a:lnSpc>
            </a:pPr>
            <a:r>
              <a:rPr lang="en-US" sz="100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2901">
              <a:lnSpc>
                <a:spcPts val="1199"/>
              </a:lnSpc>
            </a:pPr>
            <a:r>
              <a:rPr lang="en-US" sz="1000" dirty="0">
                <a:solidFill>
                  <a:srgbClr val="FFFFFF"/>
                </a:solidFill>
              </a:rPr>
              <a:t>conditions, it should not be interpreted to be a commitment on the part of Microsoft, and Microsoft cannot guarantee the accuracy of any information provided after the date of this presentation.</a:t>
            </a:r>
          </a:p>
          <a:p>
            <a:pPr defTabSz="932901">
              <a:lnSpc>
                <a:spcPts val="1199"/>
              </a:lnSpc>
            </a:pPr>
            <a:r>
              <a:rPr lang="en-US" sz="1000" dirty="0">
                <a:solidFill>
                  <a:srgbClr val="FFFFFF"/>
                </a:solidFill>
              </a:rPr>
              <a:t>MICROSOFT MAKES NO WARRANTIES, EXPRESS, IMPLIED OR STATUTORY, AS TO THE INFORMATION IN THIS PRESENTATION.</a:t>
            </a:r>
          </a:p>
        </p:txBody>
      </p:sp>
      <p:sp>
        <p:nvSpPr>
          <p:cNvPr id="2" name="TextBox 1"/>
          <p:cNvSpPr txBox="1"/>
          <p:nvPr/>
        </p:nvSpPr>
        <p:spPr>
          <a:xfrm>
            <a:off x="1175419" y="5282200"/>
            <a:ext cx="914400" cy="914400"/>
          </a:xfrm>
          <a:prstGeom prst="rect">
            <a:avLst/>
          </a:prstGeom>
          <a:noFill/>
        </p:spPr>
        <p:txBody>
          <a:bodyPr wrap="none" lIns="182880" tIns="146304" rIns="182880" bIns="146304" rtlCol="0">
            <a:noAutofit/>
          </a:bodyPr>
          <a:lstStyle/>
          <a:p>
            <a:pPr>
              <a:lnSpc>
                <a:spcPct val="90000"/>
              </a:lnSpc>
              <a:spcAft>
                <a:spcPts val="600"/>
              </a:spcAft>
            </a:pPr>
            <a:endParaRPr lang="en-US" sz="240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983378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4289424" y="1326146"/>
            <a:ext cx="3857626" cy="1217982"/>
            <a:chOff x="4137024" y="1526671"/>
            <a:chExt cx="3857626" cy="1217982"/>
          </a:xfrm>
          <a:noFill/>
        </p:grpSpPr>
        <p:sp>
          <p:nvSpPr>
            <p:cNvPr id="53" name="Rectangle 52"/>
            <p:cNvSpPr/>
            <p:nvPr/>
          </p:nvSpPr>
          <p:spPr bwMode="auto">
            <a:xfrm>
              <a:off x="4137024" y="1526671"/>
              <a:ext cx="3857626" cy="121798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91440" rtlCol="0" fromWordArt="0" anchor="t" anchorCtr="0" forceAA="0" compatLnSpc="1">
              <a:prstTxWarp prst="textNoShape">
                <a:avLst/>
              </a:prstTxWarp>
              <a:noAutofit/>
            </a:bodyPr>
            <a:lstStyle/>
            <a:p>
              <a:pPr marL="53975" defTabSz="932133" fontAlgn="base">
                <a:spcBef>
                  <a:spcPts val="400"/>
                </a:spcBef>
                <a:spcAft>
                  <a:spcPts val="400"/>
                </a:spcAft>
              </a:pPr>
              <a:r>
                <a:rPr lang="en-IN" sz="1600" dirty="0">
                  <a:solidFill>
                    <a:schemeClr val="accent3"/>
                  </a:solidFill>
                  <a:latin typeface="Segoe UI Semibold" panose="020B0702040204020203" pitchFamily="34" charset="0"/>
                  <a:ea typeface="Segoe UI" pitchFamily="34" charset="0"/>
                  <a:cs typeface="Segoe UI Semibold" panose="020B0702040204020203" pitchFamily="34" charset="0"/>
                </a:rPr>
                <a:t>Interactive</a:t>
              </a:r>
            </a:p>
            <a:p>
              <a:pPr marL="228600" indent="-114300" defTabSz="932472" fontAlgn="base">
                <a:spcBef>
                  <a:spcPts val="100"/>
                </a:spcBef>
                <a:spcAft>
                  <a:spcPts val="200"/>
                </a:spcAft>
                <a:buFont typeface="Arial" panose="020B0604020202020204" pitchFamily="34" charset="0"/>
                <a:buChar char="•"/>
              </a:pPr>
              <a:r>
                <a:rPr lang="en-IN" sz="1200" dirty="0">
                  <a:solidFill>
                    <a:schemeClr val="tx2"/>
                  </a:solidFill>
                  <a:ea typeface="Segoe UI" pitchFamily="34" charset="0"/>
                  <a:cs typeface="Segoe UI" pitchFamily="34" charset="0"/>
                </a:rPr>
                <a:t>PowerShell</a:t>
              </a:r>
            </a:p>
            <a:p>
              <a:pPr marL="228600" indent="-114300" defTabSz="932472" fontAlgn="base">
                <a:spcBef>
                  <a:spcPts val="100"/>
                </a:spcBef>
                <a:spcAft>
                  <a:spcPts val="200"/>
                </a:spcAft>
                <a:buFont typeface="Arial" panose="020B0604020202020204" pitchFamily="34" charset="0"/>
                <a:buChar char="•"/>
              </a:pPr>
              <a:r>
                <a:rPr lang="en-IN" sz="1200" dirty="0">
                  <a:solidFill>
                    <a:schemeClr val="tx2"/>
                  </a:solidFill>
                  <a:ea typeface="Segoe UI" pitchFamily="34" charset="0"/>
                  <a:cs typeface="Segoe UI" pitchFamily="34" charset="0"/>
                </a:rPr>
                <a:t>Hadoop command line</a:t>
              </a:r>
            </a:p>
            <a:p>
              <a:pPr marL="228600" indent="-114300" defTabSz="932472" fontAlgn="base">
                <a:spcBef>
                  <a:spcPts val="100"/>
                </a:spcBef>
                <a:spcAft>
                  <a:spcPts val="200"/>
                </a:spcAft>
                <a:buFont typeface="Arial" panose="020B0604020202020204" pitchFamily="34" charset="0"/>
                <a:buChar char="•"/>
              </a:pPr>
              <a:r>
                <a:rPr lang="en-IN" sz="1200" dirty="0" err="1" smtClean="0">
                  <a:solidFill>
                    <a:schemeClr val="tx2"/>
                  </a:solidFill>
                  <a:ea typeface="Segoe UI" pitchFamily="34" charset="0"/>
                  <a:cs typeface="Segoe UI" pitchFamily="34" charset="0"/>
                </a:rPr>
                <a:t>AzCopy</a:t>
              </a:r>
              <a:endParaRPr lang="en-IN" sz="1200" dirty="0" smtClean="0">
                <a:solidFill>
                  <a:schemeClr val="tx2"/>
                </a:solidFill>
                <a:ea typeface="Segoe UI" pitchFamily="34" charset="0"/>
                <a:cs typeface="Segoe UI" pitchFamily="34" charset="0"/>
              </a:endParaRPr>
            </a:p>
            <a:p>
              <a:pPr marL="228600" indent="-114300" defTabSz="932472" fontAlgn="base">
                <a:spcBef>
                  <a:spcPts val="100"/>
                </a:spcBef>
                <a:spcAft>
                  <a:spcPts val="200"/>
                </a:spcAft>
                <a:buFont typeface="Arial" panose="020B0604020202020204" pitchFamily="34" charset="0"/>
                <a:buChar char="•"/>
              </a:pPr>
              <a:endParaRPr lang="en-IN" sz="1200" dirty="0" smtClean="0">
                <a:solidFill>
                  <a:schemeClr val="tx2"/>
                </a:solidFill>
                <a:ea typeface="Segoe UI" pitchFamily="34" charset="0"/>
                <a:cs typeface="Segoe UI" pitchFamily="34" charset="0"/>
              </a:endParaRPr>
            </a:p>
          </p:txBody>
        </p:sp>
        <p:sp>
          <p:nvSpPr>
            <p:cNvPr id="5" name="Rectangle 4"/>
            <p:cNvSpPr/>
            <p:nvPr/>
          </p:nvSpPr>
          <p:spPr>
            <a:xfrm>
              <a:off x="6129338" y="1831527"/>
              <a:ext cx="1865312" cy="723275"/>
            </a:xfrm>
            <a:prstGeom prst="rect">
              <a:avLst/>
            </a:prstGeom>
            <a:grpFill/>
          </p:spPr>
          <p:txBody>
            <a:bodyPr wrap="square">
              <a:spAutoFit/>
            </a:bodyPr>
            <a:lstStyle/>
            <a:p>
              <a:pPr marL="171450" lvl="0" indent="-114300" defTabSz="932472" fontAlgn="base">
                <a:spcBef>
                  <a:spcPts val="100"/>
                </a:spcBef>
                <a:spcAft>
                  <a:spcPts val="200"/>
                </a:spcAft>
                <a:buFont typeface="Arial" panose="020B0604020202020204" pitchFamily="34" charset="0"/>
                <a:buChar char="•"/>
              </a:pPr>
              <a:r>
                <a:rPr lang="en-IN" sz="1200" dirty="0">
                  <a:solidFill>
                    <a:srgbClr val="505050"/>
                  </a:solidFill>
                  <a:ea typeface="Segoe UI" pitchFamily="34" charset="0"/>
                  <a:cs typeface="Segoe UI" pitchFamily="34" charset="0"/>
                </a:rPr>
                <a:t>Visual Studio</a:t>
              </a:r>
            </a:p>
            <a:p>
              <a:pPr marL="171450" lvl="0" indent="-114300" defTabSz="932472" fontAlgn="base">
                <a:spcBef>
                  <a:spcPts val="100"/>
                </a:spcBef>
                <a:spcAft>
                  <a:spcPts val="200"/>
                </a:spcAft>
                <a:buFont typeface="Arial" panose="020B0604020202020204" pitchFamily="34" charset="0"/>
                <a:buChar char="•"/>
              </a:pPr>
              <a:r>
                <a:rPr lang="en-IN" sz="1200" dirty="0">
                  <a:solidFill>
                    <a:srgbClr val="505050"/>
                  </a:solidFill>
                  <a:ea typeface="Segoe UI" pitchFamily="34" charset="0"/>
                  <a:cs typeface="Segoe UI" pitchFamily="34" charset="0"/>
                </a:rPr>
                <a:t>Cloudberry</a:t>
              </a:r>
            </a:p>
            <a:p>
              <a:pPr marL="171450" lvl="0" indent="-114300" defTabSz="932472" fontAlgn="base">
                <a:spcBef>
                  <a:spcPts val="100"/>
                </a:spcBef>
                <a:spcAft>
                  <a:spcPts val="200"/>
                </a:spcAft>
                <a:buFont typeface="Arial" panose="020B0604020202020204" pitchFamily="34" charset="0"/>
                <a:buChar char="•"/>
              </a:pPr>
              <a:r>
                <a:rPr lang="en-IN" sz="1200" dirty="0" smtClean="0">
                  <a:solidFill>
                    <a:srgbClr val="505050"/>
                  </a:solidFill>
                  <a:ea typeface="Segoe UI" pitchFamily="34" charset="0"/>
                  <a:cs typeface="Segoe UI" pitchFamily="34" charset="0"/>
                </a:rPr>
                <a:t>3</a:t>
              </a:r>
              <a:r>
                <a:rPr lang="en-IN" sz="1200" baseline="30000" dirty="0" smtClean="0">
                  <a:solidFill>
                    <a:srgbClr val="505050"/>
                  </a:solidFill>
                  <a:ea typeface="Segoe UI" pitchFamily="34" charset="0"/>
                  <a:cs typeface="Segoe UI" pitchFamily="34" charset="0"/>
                </a:rPr>
                <a:t>rd</a:t>
              </a:r>
              <a:r>
                <a:rPr lang="en-IN" sz="1200" dirty="0" smtClean="0">
                  <a:solidFill>
                    <a:srgbClr val="505050"/>
                  </a:solidFill>
                  <a:ea typeface="Segoe UI" pitchFamily="34" charset="0"/>
                  <a:cs typeface="Segoe UI" pitchFamily="34" charset="0"/>
                </a:rPr>
                <a:t> </a:t>
              </a:r>
              <a:r>
                <a:rPr lang="en-IN" sz="1200" dirty="0">
                  <a:solidFill>
                    <a:srgbClr val="505050"/>
                  </a:solidFill>
                  <a:ea typeface="Segoe UI" pitchFamily="34" charset="0"/>
                  <a:cs typeface="Segoe UI" pitchFamily="34" charset="0"/>
                </a:rPr>
                <a:t>party application</a:t>
              </a:r>
            </a:p>
          </p:txBody>
        </p:sp>
      </p:grpSp>
      <p:sp>
        <p:nvSpPr>
          <p:cNvPr id="6" name="Title 5"/>
          <p:cNvSpPr>
            <a:spLocks noGrp="1"/>
          </p:cNvSpPr>
          <p:nvPr>
            <p:ph type="title"/>
          </p:nvPr>
        </p:nvSpPr>
        <p:spPr/>
        <p:txBody>
          <a:bodyPr/>
          <a:lstStyle/>
          <a:p>
            <a:r>
              <a:rPr lang="en-IN" dirty="0" smtClean="0"/>
              <a:t>Collect and load big data</a:t>
            </a:r>
            <a:endParaRPr lang="en-IN" dirty="0"/>
          </a:p>
        </p:txBody>
      </p:sp>
      <p:sp>
        <p:nvSpPr>
          <p:cNvPr id="50" name="Rectangle 49"/>
          <p:cNvSpPr/>
          <p:nvPr/>
        </p:nvSpPr>
        <p:spPr bwMode="auto">
          <a:xfrm>
            <a:off x="1645919" y="3687984"/>
            <a:ext cx="3243743" cy="12697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91440" rtlCol="0" fromWordArt="0" anchor="t" anchorCtr="0" forceAA="0" compatLnSpc="1">
            <a:prstTxWarp prst="textNoShape">
              <a:avLst/>
            </a:prstTxWarp>
            <a:noAutofit/>
          </a:bodyPr>
          <a:lstStyle/>
          <a:p>
            <a:pPr defTabSz="932133" fontAlgn="base">
              <a:spcAft>
                <a:spcPts val="400"/>
              </a:spcAft>
            </a:pPr>
            <a:r>
              <a:rPr lang="en-IN" sz="1600" dirty="0">
                <a:solidFill>
                  <a:schemeClr val="accent3"/>
                </a:solidFill>
                <a:latin typeface="Segoe UI Semibold" panose="020B0702040204020203" pitchFamily="34" charset="0"/>
                <a:ea typeface="Segoe UI" pitchFamily="34" charset="0"/>
                <a:cs typeface="Segoe UI Semibold" panose="020B0702040204020203" pitchFamily="34" charset="0"/>
              </a:rPr>
              <a:t>Relational Data</a:t>
            </a:r>
          </a:p>
          <a:p>
            <a:pPr marL="114300" indent="-114300" defTabSz="932472" fontAlgn="base">
              <a:spcBef>
                <a:spcPts val="100"/>
              </a:spcBef>
              <a:spcAft>
                <a:spcPts val="200"/>
              </a:spcAft>
              <a:buFont typeface="Arial" panose="020B0604020202020204" pitchFamily="34" charset="0"/>
              <a:buChar char="•"/>
            </a:pPr>
            <a:r>
              <a:rPr lang="en-IN" sz="1200" dirty="0">
                <a:solidFill>
                  <a:schemeClr val="tx2"/>
                </a:solidFill>
                <a:ea typeface="Segoe UI" pitchFamily="34" charset="0"/>
                <a:cs typeface="Segoe UI" pitchFamily="34" charset="0"/>
              </a:rPr>
              <a:t>Azure Data Factory</a:t>
            </a:r>
          </a:p>
          <a:p>
            <a:pPr marL="114300" indent="-114300" defTabSz="932472" fontAlgn="base">
              <a:spcBef>
                <a:spcPts val="100"/>
              </a:spcBef>
              <a:spcAft>
                <a:spcPts val="200"/>
              </a:spcAft>
              <a:buFont typeface="Arial" panose="020B0604020202020204" pitchFamily="34" charset="0"/>
              <a:buChar char="•"/>
            </a:pPr>
            <a:r>
              <a:rPr lang="en-IN" sz="1200" dirty="0" smtClean="0">
                <a:solidFill>
                  <a:schemeClr val="tx2"/>
                </a:solidFill>
                <a:ea typeface="Segoe UI" pitchFamily="34" charset="0"/>
                <a:cs typeface="Segoe UI" pitchFamily="34" charset="0"/>
              </a:rPr>
              <a:t>Apache </a:t>
            </a:r>
            <a:r>
              <a:rPr lang="en-IN" sz="1200" dirty="0">
                <a:solidFill>
                  <a:schemeClr val="tx2"/>
                </a:solidFill>
                <a:ea typeface="Segoe UI" pitchFamily="34" charset="0"/>
                <a:cs typeface="Segoe UI" pitchFamily="34" charset="0"/>
              </a:rPr>
              <a:t>Sqoop</a:t>
            </a:r>
          </a:p>
          <a:p>
            <a:pPr marL="114300" indent="-114300" defTabSz="932472" fontAlgn="base">
              <a:spcBef>
                <a:spcPts val="100"/>
              </a:spcBef>
              <a:spcAft>
                <a:spcPts val="200"/>
              </a:spcAft>
              <a:buFont typeface="Arial" panose="020B0604020202020204" pitchFamily="34" charset="0"/>
              <a:buChar char="•"/>
            </a:pPr>
            <a:r>
              <a:rPr lang="en-IN" sz="1200" dirty="0">
                <a:solidFill>
                  <a:schemeClr val="tx2"/>
                </a:solidFill>
                <a:ea typeface="Segoe UI" pitchFamily="34" charset="0"/>
                <a:cs typeface="Segoe UI" pitchFamily="34" charset="0"/>
              </a:rPr>
              <a:t>SQL Server Integration Services</a:t>
            </a:r>
          </a:p>
          <a:p>
            <a:pPr marL="114300" indent="-114300" defTabSz="932472" fontAlgn="base">
              <a:spcBef>
                <a:spcPts val="100"/>
              </a:spcBef>
              <a:spcAft>
                <a:spcPts val="200"/>
              </a:spcAft>
              <a:buFont typeface="Arial" panose="020B0604020202020204" pitchFamily="34" charset="0"/>
              <a:buChar char="•"/>
            </a:pPr>
            <a:r>
              <a:rPr lang="en-IN" sz="1200" dirty="0" err="1">
                <a:solidFill>
                  <a:schemeClr val="tx2"/>
                </a:solidFill>
                <a:ea typeface="Segoe UI" pitchFamily="34" charset="0"/>
                <a:cs typeface="Segoe UI" pitchFamily="34" charset="0"/>
              </a:rPr>
              <a:t>PolyBase</a:t>
            </a:r>
            <a:r>
              <a:rPr lang="en-IN" sz="1200" dirty="0">
                <a:solidFill>
                  <a:schemeClr val="tx2"/>
                </a:solidFill>
                <a:ea typeface="Segoe UI" pitchFamily="34" charset="0"/>
                <a:cs typeface="Segoe UI" pitchFamily="34" charset="0"/>
              </a:rPr>
              <a:t> in </a:t>
            </a:r>
            <a:r>
              <a:rPr lang="en-IN" sz="1200" dirty="0" smtClean="0">
                <a:solidFill>
                  <a:schemeClr val="tx2"/>
                </a:solidFill>
                <a:ea typeface="Segoe UI" pitchFamily="34" charset="0"/>
                <a:cs typeface="Segoe UI" pitchFamily="34" charset="0"/>
              </a:rPr>
              <a:t>APS</a:t>
            </a:r>
            <a:endParaRPr lang="en-IN" sz="1200" dirty="0">
              <a:solidFill>
                <a:schemeClr val="tx2"/>
              </a:solidFill>
              <a:ea typeface="Segoe UI" pitchFamily="34" charset="0"/>
              <a:cs typeface="Segoe UI" pitchFamily="34" charset="0"/>
            </a:endParaRPr>
          </a:p>
        </p:txBody>
      </p:sp>
      <p:sp>
        <p:nvSpPr>
          <p:cNvPr id="51" name="Rectangle 50"/>
          <p:cNvSpPr/>
          <p:nvPr/>
        </p:nvSpPr>
        <p:spPr bwMode="auto">
          <a:xfrm>
            <a:off x="8630363" y="5313131"/>
            <a:ext cx="3364992" cy="12590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91440" rtlCol="0" fromWordArt="0" anchor="t" anchorCtr="0" forceAA="0" compatLnSpc="1">
            <a:prstTxWarp prst="textNoShape">
              <a:avLst/>
            </a:prstTxWarp>
            <a:noAutofit/>
          </a:bodyPr>
          <a:lstStyle/>
          <a:p>
            <a:pPr defTabSz="932133" fontAlgn="base">
              <a:spcAft>
                <a:spcPts val="400"/>
              </a:spcAft>
            </a:pPr>
            <a:r>
              <a:rPr lang="en-IN" sz="1600" dirty="0">
                <a:solidFill>
                  <a:schemeClr val="accent3"/>
                </a:solidFill>
                <a:latin typeface="Segoe UI Semibold" panose="020B0702040204020203" pitchFamily="34" charset="0"/>
                <a:ea typeface="Segoe UI" pitchFamily="34" charset="0"/>
                <a:cs typeface="Segoe UI Semibold" panose="020B0702040204020203" pitchFamily="34" charset="0"/>
              </a:rPr>
              <a:t>Automated</a:t>
            </a:r>
          </a:p>
          <a:p>
            <a:pPr marL="114300" indent="-114300" defTabSz="932472" fontAlgn="base">
              <a:spcBef>
                <a:spcPts val="100"/>
              </a:spcBef>
              <a:spcAft>
                <a:spcPts val="200"/>
              </a:spcAft>
              <a:buFont typeface="Arial" panose="020B0604020202020204" pitchFamily="34" charset="0"/>
              <a:buChar char="•"/>
            </a:pPr>
            <a:r>
              <a:rPr lang="en-IN" sz="1200" dirty="0" smtClean="0">
                <a:solidFill>
                  <a:schemeClr val="tx2"/>
                </a:solidFill>
                <a:ea typeface="Segoe UI" pitchFamily="34" charset="0"/>
                <a:cs typeface="Segoe UI" pitchFamily="34" charset="0"/>
              </a:rPr>
              <a:t>Azure Data Factory</a:t>
            </a:r>
          </a:p>
          <a:p>
            <a:pPr marL="114300" indent="-114300" defTabSz="932472" fontAlgn="base">
              <a:spcBef>
                <a:spcPts val="100"/>
              </a:spcBef>
              <a:spcAft>
                <a:spcPts val="200"/>
              </a:spcAft>
              <a:buFont typeface="Arial" panose="020B0604020202020204" pitchFamily="34" charset="0"/>
              <a:buChar char="•"/>
            </a:pPr>
            <a:r>
              <a:rPr lang="en-IN" sz="1200" dirty="0" smtClean="0">
                <a:solidFill>
                  <a:schemeClr val="tx2"/>
                </a:solidFill>
                <a:ea typeface="Segoe UI" pitchFamily="34" charset="0"/>
                <a:cs typeface="Segoe UI" pitchFamily="34" charset="0"/>
              </a:rPr>
              <a:t>PowerShell </a:t>
            </a:r>
            <a:r>
              <a:rPr lang="en-IN" sz="1200" dirty="0">
                <a:solidFill>
                  <a:schemeClr val="tx2"/>
                </a:solidFill>
                <a:ea typeface="Segoe UI" pitchFamily="34" charset="0"/>
                <a:cs typeface="Segoe UI" pitchFamily="34" charset="0"/>
              </a:rPr>
              <a:t>with task scheduler</a:t>
            </a:r>
          </a:p>
          <a:p>
            <a:pPr marL="114300" indent="-114300" defTabSz="932472" fontAlgn="base">
              <a:spcBef>
                <a:spcPts val="100"/>
              </a:spcBef>
              <a:spcAft>
                <a:spcPts val="200"/>
              </a:spcAft>
              <a:buFont typeface="Arial" panose="020B0604020202020204" pitchFamily="34" charset="0"/>
              <a:buChar char="•"/>
            </a:pPr>
            <a:r>
              <a:rPr lang="en-IN" sz="1200" dirty="0">
                <a:solidFill>
                  <a:schemeClr val="tx2"/>
                </a:solidFill>
                <a:ea typeface="Segoe UI" pitchFamily="34" charset="0"/>
                <a:cs typeface="Segoe UI" pitchFamily="34" charset="0"/>
              </a:rPr>
              <a:t>SQL Server Integration Services</a:t>
            </a:r>
          </a:p>
          <a:p>
            <a:pPr marL="114300" indent="-114300" defTabSz="932472" fontAlgn="base">
              <a:spcBef>
                <a:spcPts val="100"/>
              </a:spcBef>
              <a:spcAft>
                <a:spcPts val="200"/>
              </a:spcAft>
              <a:buFont typeface="Arial" panose="020B0604020202020204" pitchFamily="34" charset="0"/>
              <a:buChar char="•"/>
            </a:pPr>
            <a:r>
              <a:rPr lang="en-IN" sz="1200" dirty="0">
                <a:solidFill>
                  <a:schemeClr val="tx2"/>
                </a:solidFill>
                <a:ea typeface="Segoe UI" pitchFamily="34" charset="0"/>
                <a:cs typeface="Segoe UI" pitchFamily="34" charset="0"/>
              </a:rPr>
              <a:t>Custom solution using the Azure SDK</a:t>
            </a:r>
          </a:p>
        </p:txBody>
      </p:sp>
      <p:sp>
        <p:nvSpPr>
          <p:cNvPr id="52" name="Rectangle 51"/>
          <p:cNvSpPr/>
          <p:nvPr/>
        </p:nvSpPr>
        <p:spPr bwMode="auto">
          <a:xfrm>
            <a:off x="1645919" y="5313131"/>
            <a:ext cx="3243744" cy="12590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91440" rtlCol="0" fromWordArt="0" anchor="t" anchorCtr="0" forceAA="0" compatLnSpc="1">
            <a:prstTxWarp prst="textNoShape">
              <a:avLst/>
            </a:prstTxWarp>
            <a:noAutofit/>
          </a:bodyPr>
          <a:lstStyle/>
          <a:p>
            <a:pPr defTabSz="932133" fontAlgn="base">
              <a:spcBef>
                <a:spcPts val="400"/>
              </a:spcBef>
              <a:spcAft>
                <a:spcPts val="400"/>
              </a:spcAft>
            </a:pPr>
            <a:r>
              <a:rPr lang="en-IN" sz="1600" dirty="0">
                <a:solidFill>
                  <a:schemeClr val="accent3"/>
                </a:solidFill>
                <a:latin typeface="Segoe UI Semibold" panose="020B0702040204020203" pitchFamily="34" charset="0"/>
                <a:ea typeface="Segoe UI" pitchFamily="34" charset="0"/>
                <a:cs typeface="Segoe UI Semibold" panose="020B0702040204020203" pitchFamily="34" charset="0"/>
              </a:rPr>
              <a:t>Server log files</a:t>
            </a:r>
          </a:p>
          <a:p>
            <a:pPr marL="114300" indent="-114300" defTabSz="932472" fontAlgn="base">
              <a:spcBef>
                <a:spcPts val="100"/>
              </a:spcBef>
              <a:spcAft>
                <a:spcPts val="200"/>
              </a:spcAft>
              <a:buFont typeface="Arial" panose="020B0604020202020204" pitchFamily="34" charset="0"/>
              <a:buChar char="•"/>
            </a:pPr>
            <a:r>
              <a:rPr lang="en-IN" sz="1200" dirty="0">
                <a:solidFill>
                  <a:schemeClr val="tx2"/>
                </a:solidFill>
                <a:ea typeface="Segoe UI" pitchFamily="34" charset="0"/>
                <a:cs typeface="Segoe UI" pitchFamily="34" charset="0"/>
              </a:rPr>
              <a:t>Apache Flume</a:t>
            </a:r>
          </a:p>
          <a:p>
            <a:pPr marL="114300" indent="-114300" defTabSz="932472" fontAlgn="base">
              <a:spcBef>
                <a:spcPts val="100"/>
              </a:spcBef>
              <a:spcAft>
                <a:spcPts val="200"/>
              </a:spcAft>
              <a:buFont typeface="Arial" panose="020B0604020202020204" pitchFamily="34" charset="0"/>
              <a:buChar char="•"/>
            </a:pPr>
            <a:r>
              <a:rPr lang="en-IN" sz="1200" dirty="0">
                <a:solidFill>
                  <a:schemeClr val="tx2"/>
                </a:solidFill>
                <a:ea typeface="Segoe UI" pitchFamily="34" charset="0"/>
                <a:cs typeface="Segoe UI" pitchFamily="34" charset="0"/>
              </a:rPr>
              <a:t>SQL Server Integration </a:t>
            </a:r>
            <a:r>
              <a:rPr lang="en-IN" sz="1200" dirty="0" smtClean="0">
                <a:solidFill>
                  <a:schemeClr val="tx2"/>
                </a:solidFill>
                <a:ea typeface="Segoe UI" pitchFamily="34" charset="0"/>
                <a:cs typeface="Segoe UI" pitchFamily="34" charset="0"/>
              </a:rPr>
              <a:t>Services</a:t>
            </a:r>
          </a:p>
          <a:p>
            <a:pPr marL="114300" indent="-114300" defTabSz="932472" fontAlgn="base">
              <a:spcBef>
                <a:spcPts val="100"/>
              </a:spcBef>
              <a:spcAft>
                <a:spcPts val="200"/>
              </a:spcAft>
              <a:buFont typeface="Arial" panose="020B0604020202020204" pitchFamily="34" charset="0"/>
              <a:buChar char="•"/>
            </a:pPr>
            <a:r>
              <a:rPr lang="en-IN" sz="1200" dirty="0">
                <a:solidFill>
                  <a:schemeClr val="tx2"/>
                </a:solidFill>
                <a:ea typeface="Segoe UI" pitchFamily="34" charset="0"/>
                <a:cs typeface="Segoe UI" pitchFamily="34" charset="0"/>
              </a:rPr>
              <a:t>Custom solution using the Azure </a:t>
            </a:r>
            <a:r>
              <a:rPr lang="en-IN" sz="1200" dirty="0" smtClean="0">
                <a:solidFill>
                  <a:schemeClr val="tx2"/>
                </a:solidFill>
                <a:ea typeface="Segoe UI" pitchFamily="34" charset="0"/>
                <a:cs typeface="Segoe UI" pitchFamily="34" charset="0"/>
              </a:rPr>
              <a:t>SDK</a:t>
            </a:r>
            <a:endParaRPr lang="en-IN" sz="1200" dirty="0">
              <a:solidFill>
                <a:schemeClr val="tx2"/>
              </a:solidFill>
              <a:ea typeface="Segoe UI" pitchFamily="34" charset="0"/>
              <a:cs typeface="Segoe UI" pitchFamily="34" charset="0"/>
            </a:endParaRPr>
          </a:p>
        </p:txBody>
      </p:sp>
      <p:sp>
        <p:nvSpPr>
          <p:cNvPr id="55" name="Rectangle 54"/>
          <p:cNvSpPr/>
          <p:nvPr/>
        </p:nvSpPr>
        <p:spPr bwMode="auto">
          <a:xfrm>
            <a:off x="8628764" y="3687984"/>
            <a:ext cx="3366591" cy="12697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91440" rtlCol="0" fromWordArt="0" anchor="t" anchorCtr="0" forceAA="0" compatLnSpc="1">
            <a:prstTxWarp prst="textNoShape">
              <a:avLst/>
            </a:prstTxWarp>
            <a:noAutofit/>
          </a:bodyPr>
          <a:lstStyle/>
          <a:p>
            <a:pPr defTabSz="932133" fontAlgn="base">
              <a:spcBef>
                <a:spcPts val="400"/>
              </a:spcBef>
              <a:spcAft>
                <a:spcPts val="400"/>
              </a:spcAft>
            </a:pPr>
            <a:r>
              <a:rPr lang="en-IN" sz="1600" dirty="0">
                <a:solidFill>
                  <a:schemeClr val="accent3"/>
                </a:solidFill>
                <a:latin typeface="Segoe UI Semibold" panose="020B0702040204020203" pitchFamily="34" charset="0"/>
                <a:ea typeface="Segoe UI" pitchFamily="34" charset="0"/>
                <a:cs typeface="Segoe UI Semibold" panose="020B0702040204020203" pitchFamily="34" charset="0"/>
              </a:rPr>
              <a:t>Streaming data</a:t>
            </a:r>
          </a:p>
          <a:p>
            <a:pPr marL="114300" indent="-114300" defTabSz="932472" fontAlgn="base">
              <a:spcBef>
                <a:spcPts val="100"/>
              </a:spcBef>
              <a:spcAft>
                <a:spcPts val="200"/>
              </a:spcAft>
              <a:buFont typeface="Arial" panose="020B0604020202020204" pitchFamily="34" charset="0"/>
              <a:buChar char="•"/>
            </a:pPr>
            <a:r>
              <a:rPr lang="en-IN" sz="1200" dirty="0">
                <a:solidFill>
                  <a:schemeClr val="tx2"/>
                </a:solidFill>
                <a:ea typeface="Segoe UI" pitchFamily="34" charset="0"/>
                <a:cs typeface="Segoe UI" pitchFamily="34" charset="0"/>
              </a:rPr>
              <a:t>Apache </a:t>
            </a:r>
            <a:r>
              <a:rPr lang="en-IN" sz="1200" dirty="0" smtClean="0">
                <a:solidFill>
                  <a:schemeClr val="tx2"/>
                </a:solidFill>
                <a:ea typeface="Segoe UI" pitchFamily="34" charset="0"/>
                <a:cs typeface="Segoe UI" pitchFamily="34" charset="0"/>
              </a:rPr>
              <a:t>Storm on HDInsight</a:t>
            </a:r>
            <a:endParaRPr lang="en-IN" sz="1200" dirty="0">
              <a:solidFill>
                <a:schemeClr val="tx2"/>
              </a:solidFill>
              <a:ea typeface="Segoe UI" pitchFamily="34" charset="0"/>
              <a:cs typeface="Segoe UI" pitchFamily="34" charset="0"/>
            </a:endParaRPr>
          </a:p>
          <a:p>
            <a:pPr marL="114300" indent="-114300" defTabSz="932472" fontAlgn="base">
              <a:spcBef>
                <a:spcPts val="100"/>
              </a:spcBef>
              <a:spcAft>
                <a:spcPts val="200"/>
              </a:spcAft>
              <a:buFont typeface="Arial" panose="020B0604020202020204" pitchFamily="34" charset="0"/>
              <a:buChar char="•"/>
            </a:pPr>
            <a:r>
              <a:rPr lang="en-IN" sz="1200" dirty="0" smtClean="0">
                <a:solidFill>
                  <a:schemeClr val="tx2"/>
                </a:solidFill>
                <a:ea typeface="Segoe UI" pitchFamily="34" charset="0"/>
                <a:cs typeface="Segoe UI" pitchFamily="34" charset="0"/>
              </a:rPr>
              <a:t>Azure Stream Analytics</a:t>
            </a:r>
            <a:endParaRPr lang="en-IN" sz="1200" dirty="0">
              <a:solidFill>
                <a:schemeClr val="tx2"/>
              </a:solidFill>
              <a:ea typeface="Segoe UI" pitchFamily="34" charset="0"/>
              <a:cs typeface="Segoe UI" pitchFamily="34" charset="0"/>
            </a:endParaRPr>
          </a:p>
          <a:p>
            <a:pPr marL="114300" indent="-114300" defTabSz="932472" fontAlgn="base">
              <a:spcBef>
                <a:spcPts val="100"/>
              </a:spcBef>
              <a:spcAft>
                <a:spcPts val="200"/>
              </a:spcAft>
              <a:buFont typeface="Arial" panose="020B0604020202020204" pitchFamily="34" charset="0"/>
              <a:buChar char="•"/>
            </a:pPr>
            <a:r>
              <a:rPr lang="en-IN" sz="1200" dirty="0">
                <a:solidFill>
                  <a:schemeClr val="tx2"/>
                </a:solidFill>
                <a:ea typeface="Segoe UI" pitchFamily="34" charset="0"/>
                <a:cs typeface="Segoe UI" pitchFamily="34" charset="0"/>
              </a:rPr>
              <a:t>Reactive extensions (RX)</a:t>
            </a:r>
          </a:p>
          <a:p>
            <a:pPr marL="114300" indent="-114300" defTabSz="932472" fontAlgn="base">
              <a:spcBef>
                <a:spcPts val="100"/>
              </a:spcBef>
              <a:spcAft>
                <a:spcPts val="200"/>
              </a:spcAft>
              <a:buFont typeface="Arial" panose="020B0604020202020204" pitchFamily="34" charset="0"/>
              <a:buChar char="•"/>
            </a:pPr>
            <a:r>
              <a:rPr lang="en-IN" sz="1200" dirty="0" smtClean="0">
                <a:solidFill>
                  <a:schemeClr val="tx2"/>
                </a:solidFill>
                <a:ea typeface="Segoe UI" pitchFamily="34" charset="0"/>
                <a:cs typeface="Segoe UI" pitchFamily="34" charset="0"/>
              </a:rPr>
              <a:t>Custom </a:t>
            </a:r>
            <a:r>
              <a:rPr lang="en-IN" sz="1200" dirty="0">
                <a:solidFill>
                  <a:schemeClr val="tx2"/>
                </a:solidFill>
                <a:ea typeface="Segoe UI" pitchFamily="34" charset="0"/>
                <a:cs typeface="Segoe UI" pitchFamily="34" charset="0"/>
              </a:rPr>
              <a:t>or 3</a:t>
            </a:r>
            <a:r>
              <a:rPr lang="en-IN" sz="1200" baseline="30000" dirty="0">
                <a:solidFill>
                  <a:schemeClr val="tx2"/>
                </a:solidFill>
                <a:ea typeface="Segoe UI" pitchFamily="34" charset="0"/>
                <a:cs typeface="Segoe UI" pitchFamily="34" charset="0"/>
              </a:rPr>
              <a:t>rd</a:t>
            </a:r>
            <a:r>
              <a:rPr lang="en-IN" sz="1200" dirty="0">
                <a:solidFill>
                  <a:schemeClr val="tx2"/>
                </a:solidFill>
                <a:ea typeface="Segoe UI" pitchFamily="34" charset="0"/>
                <a:cs typeface="Segoe UI" pitchFamily="34" charset="0"/>
              </a:rPr>
              <a:t> party application</a:t>
            </a:r>
          </a:p>
        </p:txBody>
      </p:sp>
      <p:grpSp>
        <p:nvGrpSpPr>
          <p:cNvPr id="15" name="Group 14"/>
          <p:cNvGrpSpPr/>
          <p:nvPr/>
        </p:nvGrpSpPr>
        <p:grpSpPr>
          <a:xfrm>
            <a:off x="4253388" y="2814776"/>
            <a:ext cx="3910649" cy="3633147"/>
            <a:chOff x="4253388" y="2686189"/>
            <a:chExt cx="3910649" cy="3633147"/>
          </a:xfrm>
        </p:grpSpPr>
        <p:sp>
          <p:nvSpPr>
            <p:cNvPr id="40" name="Donut 39"/>
            <p:cNvSpPr/>
            <p:nvPr/>
          </p:nvSpPr>
          <p:spPr bwMode="auto">
            <a:xfrm>
              <a:off x="4590876" y="3086594"/>
              <a:ext cx="3232742" cy="3232742"/>
            </a:xfrm>
            <a:prstGeom prst="donut">
              <a:avLst>
                <a:gd name="adj" fmla="val 4076"/>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54" name="Oval 53"/>
            <p:cNvSpPr/>
            <p:nvPr/>
          </p:nvSpPr>
          <p:spPr bwMode="auto">
            <a:xfrm rot="10800000">
              <a:off x="5443724" y="3941237"/>
              <a:ext cx="1527048" cy="1523456"/>
            </a:xfrm>
            <a:prstGeom prst="ellipse">
              <a:avLst/>
            </a:prstGeom>
            <a:solidFill>
              <a:schemeClr val="bg1">
                <a:lumMod val="95000"/>
              </a:schemeClr>
            </a:solidFill>
            <a:ln w="28575" cap="flat" cmpd="sng" algn="ctr">
              <a:noFill/>
              <a:prstDash val="solid"/>
              <a:round/>
              <a:headEnd type="none" w="med" len="med"/>
              <a:tailEnd type="triangl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
                  <a:srgbClr val="FF3300"/>
                </a:buClr>
                <a:buSzTx/>
                <a:buFontTx/>
                <a:buNone/>
                <a:tabLst/>
              </a:pPr>
              <a:endParaRPr kumimoji="0" lang="en-US" sz="1400" b="0" i="0" u="none" strike="noStrike" cap="none" normalizeH="0" baseline="0" dirty="0" smtClean="0">
                <a:ln>
                  <a:noFill/>
                </a:ln>
                <a:solidFill>
                  <a:schemeClr val="tx1"/>
                </a:solidFill>
                <a:effectLst/>
                <a:latin typeface="Arial" charset="0"/>
              </a:endParaRPr>
            </a:p>
          </p:txBody>
        </p:sp>
        <p:sp>
          <p:nvSpPr>
            <p:cNvPr id="56" name="TextBox 55"/>
            <p:cNvSpPr txBox="1"/>
            <p:nvPr/>
          </p:nvSpPr>
          <p:spPr>
            <a:xfrm>
              <a:off x="5604276" y="4856954"/>
              <a:ext cx="282356" cy="157212"/>
            </a:xfrm>
            <a:prstGeom prst="rect">
              <a:avLst/>
            </a:prstGeom>
            <a:noFill/>
          </p:spPr>
          <p:txBody>
            <a:bodyPr wrap="square" lIns="0" tIns="0" rIns="0" bIns="0" rtlCol="0" anchor="t">
              <a:noAutofit/>
            </a:bodyPr>
            <a:lstStyle/>
            <a:p>
              <a:pPr algn="ctr"/>
              <a:r>
                <a:rPr lang="en-IN" sz="800" b="1" dirty="0" smtClean="0">
                  <a:solidFill>
                    <a:schemeClr val="tx2"/>
                  </a:solidFill>
                </a:rPr>
                <a:t>Azure</a:t>
              </a:r>
              <a:br>
                <a:rPr lang="en-IN" sz="800" b="1" dirty="0" smtClean="0">
                  <a:solidFill>
                    <a:schemeClr val="tx2"/>
                  </a:solidFill>
                </a:rPr>
              </a:br>
              <a:r>
                <a:rPr lang="en-IN" sz="800" b="1" dirty="0" smtClean="0">
                  <a:solidFill>
                    <a:schemeClr val="tx2"/>
                  </a:solidFill>
                </a:rPr>
                <a:t>blob</a:t>
              </a:r>
            </a:p>
          </p:txBody>
        </p:sp>
        <p:sp>
          <p:nvSpPr>
            <p:cNvPr id="57" name="TextBox 56"/>
            <p:cNvSpPr txBox="1"/>
            <p:nvPr/>
          </p:nvSpPr>
          <p:spPr>
            <a:xfrm>
              <a:off x="6558555" y="4856954"/>
              <a:ext cx="301666" cy="178341"/>
            </a:xfrm>
            <a:prstGeom prst="rect">
              <a:avLst/>
            </a:prstGeom>
            <a:noFill/>
            <a:ln>
              <a:noFill/>
            </a:ln>
          </p:spPr>
          <p:txBody>
            <a:bodyPr wrap="square" lIns="0" tIns="0" rIns="0" bIns="0" rtlCol="0" anchor="t">
              <a:noAutofit/>
            </a:bodyPr>
            <a:lstStyle/>
            <a:p>
              <a:pPr algn="ctr"/>
              <a:r>
                <a:rPr lang="en-IN" sz="800" b="1" dirty="0" smtClean="0">
                  <a:solidFill>
                    <a:schemeClr val="tx2"/>
                  </a:solidFill>
                </a:rPr>
                <a:t>HDFS</a:t>
              </a:r>
            </a:p>
          </p:txBody>
        </p:sp>
        <p:sp>
          <p:nvSpPr>
            <p:cNvPr id="58" name="TextBox 57"/>
            <p:cNvSpPr txBox="1"/>
            <p:nvPr/>
          </p:nvSpPr>
          <p:spPr>
            <a:xfrm>
              <a:off x="5991894" y="4856954"/>
              <a:ext cx="485422" cy="178342"/>
            </a:xfrm>
            <a:prstGeom prst="rect">
              <a:avLst/>
            </a:prstGeom>
            <a:noFill/>
            <a:ln>
              <a:noFill/>
            </a:ln>
          </p:spPr>
          <p:txBody>
            <a:bodyPr wrap="square" lIns="0" tIns="0" rIns="0" bIns="0" rtlCol="0" anchor="t">
              <a:noAutofit/>
            </a:bodyPr>
            <a:lstStyle/>
            <a:p>
              <a:pPr algn="ctr"/>
              <a:r>
                <a:rPr lang="en-IN" sz="800" b="1" dirty="0" err="1" smtClean="0">
                  <a:solidFill>
                    <a:schemeClr val="tx2"/>
                  </a:solidFill>
                </a:rPr>
                <a:t>HDInsight</a:t>
              </a:r>
              <a:endParaRPr lang="en-IN" sz="800" b="1" dirty="0" smtClean="0">
                <a:solidFill>
                  <a:schemeClr val="tx2"/>
                </a:solidFill>
              </a:endParaRPr>
            </a:p>
          </p:txBody>
        </p:sp>
        <p:sp>
          <p:nvSpPr>
            <p:cNvPr id="59" name="Freeform 58"/>
            <p:cNvSpPr>
              <a:spLocks/>
            </p:cNvSpPr>
            <p:nvPr/>
          </p:nvSpPr>
          <p:spPr bwMode="auto">
            <a:xfrm>
              <a:off x="6052551" y="4535383"/>
              <a:ext cx="367936" cy="27843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60" name="Freeform 59"/>
            <p:cNvSpPr/>
            <p:nvPr/>
          </p:nvSpPr>
          <p:spPr bwMode="auto">
            <a:xfrm>
              <a:off x="6565357" y="4523161"/>
              <a:ext cx="230138" cy="302883"/>
            </a:xfrm>
            <a:custGeom>
              <a:avLst/>
              <a:gdLst>
                <a:gd name="connsiteX0" fmla="*/ 838200 w 1695450"/>
                <a:gd name="connsiteY0" fmla="*/ 120253 h 2231365"/>
                <a:gd name="connsiteX1" fmla="*/ 247650 w 1695450"/>
                <a:gd name="connsiteY1" fmla="*/ 304403 h 2231365"/>
                <a:gd name="connsiteX2" fmla="*/ 822325 w 1695450"/>
                <a:gd name="connsiteY2" fmla="*/ 494903 h 2231365"/>
                <a:gd name="connsiteX3" fmla="*/ 1454150 w 1695450"/>
                <a:gd name="connsiteY3" fmla="*/ 298053 h 2231365"/>
                <a:gd name="connsiteX4" fmla="*/ 838200 w 1695450"/>
                <a:gd name="connsiteY4" fmla="*/ 120253 h 2231365"/>
                <a:gd name="connsiteX5" fmla="*/ 842963 w 1695450"/>
                <a:gd name="connsiteY5" fmla="*/ 0 h 2231365"/>
                <a:gd name="connsiteX6" fmla="*/ 1695450 w 1695450"/>
                <a:gd name="connsiteY6" fmla="*/ 307578 h 2231365"/>
                <a:gd name="connsiteX7" fmla="*/ 1695450 w 1695450"/>
                <a:gd name="connsiteY7" fmla="*/ 1933178 h 2231365"/>
                <a:gd name="connsiteX8" fmla="*/ 0 w 1695450"/>
                <a:gd name="connsiteY8" fmla="*/ 1904603 h 2231365"/>
                <a:gd name="connsiteX9" fmla="*/ 0 w 1695450"/>
                <a:gd name="connsiteY9" fmla="*/ 304403 h 2231365"/>
                <a:gd name="connsiteX10" fmla="*/ 842963 w 1695450"/>
                <a:gd name="connsiteY10" fmla="*/ 0 h 2231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95450" h="2231365">
                  <a:moveTo>
                    <a:pt x="838200" y="120253"/>
                  </a:moveTo>
                  <a:cubicBezTo>
                    <a:pt x="603250" y="130836"/>
                    <a:pt x="282575" y="160470"/>
                    <a:pt x="247650" y="304403"/>
                  </a:cubicBezTo>
                  <a:cubicBezTo>
                    <a:pt x="299508" y="440928"/>
                    <a:pt x="557742" y="469503"/>
                    <a:pt x="822325" y="494903"/>
                  </a:cubicBezTo>
                  <a:cubicBezTo>
                    <a:pt x="1115483" y="473736"/>
                    <a:pt x="1440392" y="433520"/>
                    <a:pt x="1454150" y="298053"/>
                  </a:cubicBezTo>
                  <a:cubicBezTo>
                    <a:pt x="1372658" y="134011"/>
                    <a:pt x="1068917" y="135070"/>
                    <a:pt x="838200" y="120253"/>
                  </a:cubicBezTo>
                  <a:close/>
                  <a:moveTo>
                    <a:pt x="842963" y="0"/>
                  </a:moveTo>
                  <a:cubicBezTo>
                    <a:pt x="1219200" y="133"/>
                    <a:pt x="1597025" y="102262"/>
                    <a:pt x="1695450" y="307578"/>
                  </a:cubicBezTo>
                  <a:lnTo>
                    <a:pt x="1695450" y="1933178"/>
                  </a:lnTo>
                  <a:cubicBezTo>
                    <a:pt x="1333500" y="2380853"/>
                    <a:pt x="276225" y="2285603"/>
                    <a:pt x="0" y="1904603"/>
                  </a:cubicBezTo>
                  <a:lnTo>
                    <a:pt x="0" y="304403"/>
                  </a:lnTo>
                  <a:cubicBezTo>
                    <a:pt x="92075" y="101732"/>
                    <a:pt x="466725" y="-133"/>
                    <a:pt x="84296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grpSp>
          <p:nvGrpSpPr>
            <p:cNvPr id="61" name="Group 60"/>
            <p:cNvGrpSpPr/>
            <p:nvPr/>
          </p:nvGrpSpPr>
          <p:grpSpPr>
            <a:xfrm>
              <a:off x="5597041" y="4525627"/>
              <a:ext cx="345623" cy="297951"/>
              <a:chOff x="4319188" y="3471280"/>
              <a:chExt cx="1060704" cy="914400"/>
            </a:xfrm>
          </p:grpSpPr>
          <p:sp>
            <p:nvSpPr>
              <p:cNvPr id="62" name="Hexagon 61"/>
              <p:cNvSpPr/>
              <p:nvPr/>
            </p:nvSpPr>
            <p:spPr bwMode="auto">
              <a:xfrm>
                <a:off x="4319188" y="3471280"/>
                <a:ext cx="1060704" cy="914400"/>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63" name="Freeform 62"/>
              <p:cNvSpPr/>
              <p:nvPr/>
            </p:nvSpPr>
            <p:spPr bwMode="auto">
              <a:xfrm>
                <a:off x="4548040" y="3585295"/>
                <a:ext cx="602999" cy="686367"/>
              </a:xfrm>
              <a:custGeom>
                <a:avLst/>
                <a:gdLst>
                  <a:gd name="connsiteX0" fmla="*/ 382825 w 602999"/>
                  <a:gd name="connsiteY0" fmla="*/ 42130 h 686368"/>
                  <a:gd name="connsiteX1" fmla="*/ 97011 w 602999"/>
                  <a:gd name="connsiteY1" fmla="*/ 43461 h 686368"/>
                  <a:gd name="connsiteX2" fmla="*/ 43808 w 602999"/>
                  <a:gd name="connsiteY2" fmla="*/ 97825 h 686368"/>
                  <a:gd name="connsiteX3" fmla="*/ 43808 w 602999"/>
                  <a:gd name="connsiteY3" fmla="*/ 642908 h 686368"/>
                  <a:gd name="connsiteX4" fmla="*/ 505989 w 602999"/>
                  <a:gd name="connsiteY4" fmla="*/ 642908 h 686368"/>
                  <a:gd name="connsiteX5" fmla="*/ 559192 w 602999"/>
                  <a:gd name="connsiteY5" fmla="*/ 588543 h 686368"/>
                  <a:gd name="connsiteX6" fmla="*/ 559192 w 602999"/>
                  <a:gd name="connsiteY6" fmla="*/ 199164 h 686368"/>
                  <a:gd name="connsiteX7" fmla="*/ 417878 w 602999"/>
                  <a:gd name="connsiteY7" fmla="*/ 199164 h 686368"/>
                  <a:gd name="connsiteX8" fmla="*/ 382825 w 602999"/>
                  <a:gd name="connsiteY8" fmla="*/ 164111 h 686368"/>
                  <a:gd name="connsiteX9" fmla="*/ 62248 w 602999"/>
                  <a:gd name="connsiteY9" fmla="*/ 0 h 686368"/>
                  <a:gd name="connsiteX10" fmla="*/ 413377 w 602999"/>
                  <a:gd name="connsiteY10" fmla="*/ 0 h 686368"/>
                  <a:gd name="connsiteX11" fmla="*/ 602999 w 602999"/>
                  <a:gd name="connsiteY11" fmla="*/ 175036 h 686368"/>
                  <a:gd name="connsiteX12" fmla="*/ 602999 w 602999"/>
                  <a:gd name="connsiteY12" fmla="*/ 624121 h 686368"/>
                  <a:gd name="connsiteX13" fmla="*/ 540752 w 602999"/>
                  <a:gd name="connsiteY13" fmla="*/ 686368 h 686368"/>
                  <a:gd name="connsiteX14" fmla="*/ 0 w 602999"/>
                  <a:gd name="connsiteY14" fmla="*/ 686368 h 686368"/>
                  <a:gd name="connsiteX15" fmla="*/ 0 w 602999"/>
                  <a:gd name="connsiteY15" fmla="*/ 62247 h 686368"/>
                  <a:gd name="connsiteX16" fmla="*/ 62248 w 602999"/>
                  <a:gd name="connsiteY16" fmla="*/ 0 h 68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2999" h="686368">
                    <a:moveTo>
                      <a:pt x="382825" y="42130"/>
                    </a:moveTo>
                    <a:lnTo>
                      <a:pt x="97011" y="43461"/>
                    </a:lnTo>
                    <a:cubicBezTo>
                      <a:pt x="67628" y="43461"/>
                      <a:pt x="45150" y="50353"/>
                      <a:pt x="43808" y="97825"/>
                    </a:cubicBezTo>
                    <a:lnTo>
                      <a:pt x="43808" y="642908"/>
                    </a:lnTo>
                    <a:lnTo>
                      <a:pt x="505989" y="642908"/>
                    </a:lnTo>
                    <a:cubicBezTo>
                      <a:pt x="547451" y="648276"/>
                      <a:pt x="559192" y="618568"/>
                      <a:pt x="559192" y="588543"/>
                    </a:cubicBezTo>
                    <a:lnTo>
                      <a:pt x="559192" y="199164"/>
                    </a:lnTo>
                    <a:lnTo>
                      <a:pt x="417878" y="199164"/>
                    </a:lnTo>
                    <a:cubicBezTo>
                      <a:pt x="398519" y="199164"/>
                      <a:pt x="382825" y="183470"/>
                      <a:pt x="382825" y="164111"/>
                    </a:cubicBezTo>
                    <a:close/>
                    <a:moveTo>
                      <a:pt x="62248" y="0"/>
                    </a:moveTo>
                    <a:lnTo>
                      <a:pt x="413377" y="0"/>
                    </a:lnTo>
                    <a:lnTo>
                      <a:pt x="602999" y="175036"/>
                    </a:lnTo>
                    <a:lnTo>
                      <a:pt x="602999" y="624121"/>
                    </a:lnTo>
                    <a:cubicBezTo>
                      <a:pt x="602999" y="658499"/>
                      <a:pt x="575130" y="686368"/>
                      <a:pt x="540752" y="686368"/>
                    </a:cubicBezTo>
                    <a:lnTo>
                      <a:pt x="0" y="686368"/>
                    </a:lnTo>
                    <a:lnTo>
                      <a:pt x="0" y="62247"/>
                    </a:lnTo>
                    <a:cubicBezTo>
                      <a:pt x="0" y="27869"/>
                      <a:pt x="27870" y="0"/>
                      <a:pt x="62248"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4" name="TextBox 63"/>
              <p:cNvSpPr txBox="1"/>
              <p:nvPr/>
            </p:nvSpPr>
            <p:spPr>
              <a:xfrm>
                <a:off x="4641056" y="3617553"/>
                <a:ext cx="413298" cy="596310"/>
              </a:xfrm>
              <a:prstGeom prst="rect">
                <a:avLst/>
              </a:prstGeom>
              <a:noFill/>
            </p:spPr>
            <p:txBody>
              <a:bodyPr wrap="none" lIns="0" tIns="0" rIns="0" bIns="0" rtlCol="0" anchor="ctr">
                <a:noAutofit/>
              </a:bodyPr>
              <a:lstStyle/>
              <a:p>
                <a:pPr algn="ctr"/>
                <a:r>
                  <a:rPr lang="en-IN" sz="600" b="1" dirty="0" smtClean="0">
                    <a:solidFill>
                      <a:schemeClr val="bg1"/>
                    </a:solidFill>
                  </a:rPr>
                  <a:t>10</a:t>
                </a:r>
              </a:p>
              <a:p>
                <a:pPr algn="ctr"/>
                <a:r>
                  <a:rPr lang="en-IN" sz="600" b="1" dirty="0" smtClean="0">
                    <a:solidFill>
                      <a:schemeClr val="bg1"/>
                    </a:solidFill>
                  </a:rPr>
                  <a:t>01</a:t>
                </a:r>
              </a:p>
            </p:txBody>
          </p:sp>
        </p:grpSp>
        <p:sp>
          <p:nvSpPr>
            <p:cNvPr id="71" name="Oval 70"/>
            <p:cNvSpPr/>
            <p:nvPr/>
          </p:nvSpPr>
          <p:spPr bwMode="auto">
            <a:xfrm>
              <a:off x="5664684" y="2686189"/>
              <a:ext cx="1107108" cy="1107108"/>
            </a:xfrm>
            <a:prstGeom prst="ellipse">
              <a:avLst/>
            </a:prstGeom>
            <a:solidFill>
              <a:schemeClr val="accent3"/>
            </a:solidFill>
            <a:ln w="9525" cap="flat" cmpd="sng" algn="ctr">
              <a:noFill/>
              <a:prstDash val="solid"/>
              <a:round/>
              <a:headEnd type="none" w="med" len="med"/>
              <a:tailEnd type="triangle" w="med" len="med"/>
            </a:ln>
            <a:effectLst/>
          </p:spPr>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algn="ctr" defTabSz="914400" eaLnBrk="0" fontAlgn="base" hangingPunct="0">
                <a:spcBef>
                  <a:spcPct val="50000"/>
                </a:spcBef>
                <a:spcAft>
                  <a:spcPct val="0"/>
                </a:spcAft>
                <a:buClr>
                  <a:srgbClr val="FF3300"/>
                </a:buClr>
              </a:pPr>
              <a:r>
                <a:rPr lang="en-US" sz="1200" dirty="0">
                  <a:solidFill>
                    <a:schemeClr val="bg1"/>
                  </a:solidFill>
                  <a:latin typeface="Segoe UI Semibold" panose="020B0702040204020203" pitchFamily="34" charset="0"/>
                  <a:cs typeface="Segoe UI Semibold" panose="020B0702040204020203" pitchFamily="34" charset="0"/>
                </a:rPr>
                <a:t>Interactive</a:t>
              </a:r>
            </a:p>
          </p:txBody>
        </p:sp>
        <p:sp>
          <p:nvSpPr>
            <p:cNvPr id="72" name="Oval 71"/>
            <p:cNvSpPr/>
            <p:nvPr/>
          </p:nvSpPr>
          <p:spPr bwMode="auto">
            <a:xfrm>
              <a:off x="4253388" y="3653790"/>
              <a:ext cx="1107108" cy="110710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algn="ctr" defTabSz="932472" fontAlgn="base">
                <a:spcBef>
                  <a:spcPct val="0"/>
                </a:spcBef>
                <a:spcAft>
                  <a:spcPct val="0"/>
                </a:spcAft>
              </a:pPr>
              <a:r>
                <a:rPr lang="en-IN" sz="1200" dirty="0">
                  <a:solidFill>
                    <a:schemeClr val="bg1"/>
                  </a:solidFill>
                  <a:latin typeface="Segoe UI Semibold" panose="020B0702040204020203" pitchFamily="34" charset="0"/>
                  <a:ea typeface="Segoe UI" pitchFamily="34" charset="0"/>
                  <a:cs typeface="Segoe UI Semibold" panose="020B0702040204020203" pitchFamily="34" charset="0"/>
                </a:rPr>
                <a:t>Relational</a:t>
              </a:r>
              <a:br>
                <a:rPr lang="en-IN" sz="1200" dirty="0">
                  <a:solidFill>
                    <a:schemeClr val="bg1"/>
                  </a:solidFill>
                  <a:latin typeface="Segoe UI Semibold" panose="020B0702040204020203" pitchFamily="34" charset="0"/>
                  <a:ea typeface="Segoe UI" pitchFamily="34" charset="0"/>
                  <a:cs typeface="Segoe UI Semibold" panose="020B0702040204020203" pitchFamily="34" charset="0"/>
                </a:rPr>
              </a:br>
              <a:r>
                <a:rPr lang="en-IN" sz="1200" dirty="0">
                  <a:solidFill>
                    <a:schemeClr val="bg1"/>
                  </a:solidFill>
                  <a:latin typeface="Segoe UI Semibold" panose="020B0702040204020203" pitchFamily="34" charset="0"/>
                  <a:ea typeface="Segoe UI" pitchFamily="34" charset="0"/>
                  <a:cs typeface="Segoe UI Semibold" panose="020B0702040204020203" pitchFamily="34" charset="0"/>
                </a:rPr>
                <a:t>Data</a:t>
              </a:r>
            </a:p>
          </p:txBody>
        </p:sp>
        <p:sp>
          <p:nvSpPr>
            <p:cNvPr id="73" name="Oval 72"/>
            <p:cNvSpPr/>
            <p:nvPr/>
          </p:nvSpPr>
          <p:spPr bwMode="auto">
            <a:xfrm>
              <a:off x="7056929" y="3653790"/>
              <a:ext cx="1107108" cy="110710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algn="ctr" defTabSz="932472" fontAlgn="base">
                <a:spcBef>
                  <a:spcPct val="0"/>
                </a:spcBef>
                <a:spcAft>
                  <a:spcPct val="0"/>
                </a:spcAft>
              </a:pPr>
              <a:r>
                <a:rPr lang="en-IN" sz="1200" dirty="0">
                  <a:solidFill>
                    <a:schemeClr val="bg1"/>
                  </a:solidFill>
                  <a:latin typeface="Segoe UI Semibold" panose="020B0702040204020203" pitchFamily="34" charset="0"/>
                  <a:ea typeface="Segoe UI" pitchFamily="34" charset="0"/>
                  <a:cs typeface="Segoe UI Semibold" panose="020B0702040204020203" pitchFamily="34" charset="0"/>
                </a:rPr>
                <a:t>Streaming</a:t>
              </a:r>
              <a:br>
                <a:rPr lang="en-IN" sz="1200" dirty="0">
                  <a:solidFill>
                    <a:schemeClr val="bg1"/>
                  </a:solidFill>
                  <a:latin typeface="Segoe UI Semibold" panose="020B0702040204020203" pitchFamily="34" charset="0"/>
                  <a:ea typeface="Segoe UI" pitchFamily="34" charset="0"/>
                  <a:cs typeface="Segoe UI Semibold" panose="020B0702040204020203" pitchFamily="34" charset="0"/>
                </a:rPr>
              </a:br>
              <a:r>
                <a:rPr lang="en-IN" sz="1200" dirty="0">
                  <a:solidFill>
                    <a:schemeClr val="bg1"/>
                  </a:solidFill>
                  <a:latin typeface="Segoe UI Semibold" panose="020B0702040204020203" pitchFamily="34" charset="0"/>
                  <a:ea typeface="Segoe UI" pitchFamily="34" charset="0"/>
                  <a:cs typeface="Segoe UI Semibold" panose="020B0702040204020203" pitchFamily="34" charset="0"/>
                </a:rPr>
                <a:t>data</a:t>
              </a:r>
            </a:p>
          </p:txBody>
        </p:sp>
        <p:sp>
          <p:nvSpPr>
            <p:cNvPr id="75" name="Oval 74"/>
            <p:cNvSpPr/>
            <p:nvPr/>
          </p:nvSpPr>
          <p:spPr bwMode="auto">
            <a:xfrm>
              <a:off x="6769625" y="5154378"/>
              <a:ext cx="1107108" cy="110710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algn="ctr" defTabSz="932472" fontAlgn="base">
                <a:spcBef>
                  <a:spcPct val="0"/>
                </a:spcBef>
                <a:spcAft>
                  <a:spcPct val="0"/>
                </a:spcAft>
              </a:pPr>
              <a:r>
                <a:rPr lang="en-IN" sz="1200" dirty="0">
                  <a:solidFill>
                    <a:schemeClr val="bg1"/>
                  </a:solidFill>
                  <a:latin typeface="Segoe UI Semibold" panose="020B0702040204020203" pitchFamily="34" charset="0"/>
                  <a:ea typeface="Segoe UI" pitchFamily="34" charset="0"/>
                  <a:cs typeface="Segoe UI Semibold" panose="020B0702040204020203" pitchFamily="34" charset="0"/>
                </a:rPr>
                <a:t>Automated</a:t>
              </a:r>
            </a:p>
          </p:txBody>
        </p:sp>
        <p:pic>
          <p:nvPicPr>
            <p:cNvPr id="76" name="Picture 75"/>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7125213" y="5727700"/>
              <a:ext cx="461190" cy="461190"/>
            </a:xfrm>
            <a:prstGeom prst="rect">
              <a:avLst/>
            </a:prstGeom>
          </p:spPr>
        </p:pic>
        <p:pic>
          <p:nvPicPr>
            <p:cNvPr id="77" name="Picture 76"/>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4619146" y="4289400"/>
              <a:ext cx="398706" cy="398704"/>
            </a:xfrm>
            <a:prstGeom prst="rect">
              <a:avLst/>
            </a:prstGeom>
          </p:spPr>
        </p:pic>
        <p:grpSp>
          <p:nvGrpSpPr>
            <p:cNvPr id="78" name="Group 77"/>
            <p:cNvGrpSpPr/>
            <p:nvPr/>
          </p:nvGrpSpPr>
          <p:grpSpPr>
            <a:xfrm>
              <a:off x="5959027" y="3311014"/>
              <a:ext cx="511464" cy="336696"/>
              <a:chOff x="5936223" y="2033521"/>
              <a:chExt cx="627626" cy="413166"/>
            </a:xfrm>
          </p:grpSpPr>
          <p:pic>
            <p:nvPicPr>
              <p:cNvPr id="79" name="Picture 78"/>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6204282" y="2033521"/>
                <a:ext cx="359567" cy="359567"/>
              </a:xfrm>
              <a:prstGeom prst="rect">
                <a:avLst/>
              </a:prstGeom>
            </p:spPr>
          </p:pic>
          <p:pic>
            <p:nvPicPr>
              <p:cNvPr id="80" name="Picture 7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5936223" y="2144277"/>
                <a:ext cx="302411" cy="302410"/>
              </a:xfrm>
              <a:prstGeom prst="rect">
                <a:avLst/>
              </a:prstGeom>
            </p:spPr>
          </p:pic>
        </p:grpSp>
        <p:grpSp>
          <p:nvGrpSpPr>
            <p:cNvPr id="14" name="Group 13"/>
            <p:cNvGrpSpPr/>
            <p:nvPr/>
          </p:nvGrpSpPr>
          <p:grpSpPr>
            <a:xfrm>
              <a:off x="4559621" y="5154378"/>
              <a:ext cx="1107108" cy="1107108"/>
              <a:chOff x="4559621" y="5243278"/>
              <a:chExt cx="1107108" cy="1107108"/>
            </a:xfrm>
          </p:grpSpPr>
          <p:sp>
            <p:nvSpPr>
              <p:cNvPr id="74" name="Oval 73"/>
              <p:cNvSpPr/>
              <p:nvPr/>
            </p:nvSpPr>
            <p:spPr bwMode="auto">
              <a:xfrm>
                <a:off x="4559621" y="5243278"/>
                <a:ext cx="1107108" cy="110710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algn="ctr" defTabSz="932472" fontAlgn="base">
                  <a:spcBef>
                    <a:spcPct val="0"/>
                  </a:spcBef>
                  <a:spcAft>
                    <a:spcPct val="0"/>
                  </a:spcAft>
                </a:pPr>
                <a:r>
                  <a:rPr lang="en-IN" sz="1200" dirty="0">
                    <a:solidFill>
                      <a:schemeClr val="bg1"/>
                    </a:solidFill>
                    <a:latin typeface="Segoe UI Semibold" panose="020B0702040204020203" pitchFamily="34" charset="0"/>
                    <a:ea typeface="Segoe UI" pitchFamily="34" charset="0"/>
                    <a:cs typeface="Segoe UI Semibold" panose="020B0702040204020203" pitchFamily="34" charset="0"/>
                  </a:rPr>
                  <a:t>Server log</a:t>
                </a:r>
                <a:br>
                  <a:rPr lang="en-IN" sz="1200" dirty="0">
                    <a:solidFill>
                      <a:schemeClr val="bg1"/>
                    </a:solidFill>
                    <a:latin typeface="Segoe UI Semibold" panose="020B0702040204020203" pitchFamily="34" charset="0"/>
                    <a:ea typeface="Segoe UI" pitchFamily="34" charset="0"/>
                    <a:cs typeface="Segoe UI Semibold" panose="020B0702040204020203" pitchFamily="34" charset="0"/>
                  </a:rPr>
                </a:br>
                <a:r>
                  <a:rPr lang="en-IN" sz="1200" dirty="0">
                    <a:solidFill>
                      <a:schemeClr val="bg1"/>
                    </a:solidFill>
                    <a:latin typeface="Segoe UI Semibold" panose="020B0702040204020203" pitchFamily="34" charset="0"/>
                    <a:ea typeface="Segoe UI" pitchFamily="34" charset="0"/>
                    <a:cs typeface="Segoe UI Semibold" panose="020B0702040204020203" pitchFamily="34" charset="0"/>
                  </a:rPr>
                  <a:t>files</a:t>
                </a:r>
              </a:p>
            </p:txBody>
          </p:sp>
          <p:pic>
            <p:nvPicPr>
              <p:cNvPr id="81" name="Picture 80"/>
              <p:cNvPicPr>
                <a:picLocks noChangeAspect="1"/>
              </p:cNvPicPr>
              <p:nvPr/>
            </p:nvPicPr>
            <p:blipFill>
              <a:blip r:embed="rId7">
                <a:biLevel thresh="50000"/>
                <a:extLst>
                  <a:ext uri="{28A0092B-C50C-407E-A947-70E740481C1C}">
                    <a14:useLocalDpi xmlns:a14="http://schemas.microsoft.com/office/drawing/2010/main" val="0"/>
                  </a:ext>
                </a:extLst>
              </a:blip>
              <a:stretch>
                <a:fillRect/>
              </a:stretch>
            </p:blipFill>
            <p:spPr>
              <a:xfrm>
                <a:off x="4932828" y="5892186"/>
                <a:ext cx="342134" cy="342132"/>
              </a:xfrm>
              <a:prstGeom prst="rect">
                <a:avLst/>
              </a:prstGeom>
            </p:spPr>
          </p:pic>
        </p:grpSp>
        <p:grpSp>
          <p:nvGrpSpPr>
            <p:cNvPr id="82" name="Group 81"/>
            <p:cNvGrpSpPr/>
            <p:nvPr/>
          </p:nvGrpSpPr>
          <p:grpSpPr>
            <a:xfrm>
              <a:off x="7330590" y="4195982"/>
              <a:ext cx="554958" cy="554958"/>
              <a:chOff x="7734825" y="3403524"/>
              <a:chExt cx="635114" cy="635114"/>
            </a:xfrm>
          </p:grpSpPr>
          <p:pic>
            <p:nvPicPr>
              <p:cNvPr id="83" name="Picture 82"/>
              <p:cNvPicPr>
                <a:picLocks noChangeAspect="1"/>
              </p:cNvPicPr>
              <p:nvPr/>
            </p:nvPicPr>
            <p:blipFill>
              <a:blip r:embed="rId8">
                <a:biLevel thresh="25000"/>
                <a:extLst>
                  <a:ext uri="{28A0092B-C50C-407E-A947-70E740481C1C}">
                    <a14:useLocalDpi xmlns:a14="http://schemas.microsoft.com/office/drawing/2010/main" val="0"/>
                  </a:ext>
                </a:extLst>
              </a:blip>
              <a:stretch>
                <a:fillRect/>
              </a:stretch>
            </p:blipFill>
            <p:spPr>
              <a:xfrm>
                <a:off x="7734825" y="3403524"/>
                <a:ext cx="635114" cy="635114"/>
              </a:xfrm>
              <a:prstGeom prst="rect">
                <a:avLst/>
              </a:prstGeom>
            </p:spPr>
          </p:pic>
          <p:sp>
            <p:nvSpPr>
              <p:cNvPr id="84" name="Freeform 83"/>
              <p:cNvSpPr/>
              <p:nvPr/>
            </p:nvSpPr>
            <p:spPr bwMode="auto">
              <a:xfrm>
                <a:off x="7893693" y="3657824"/>
                <a:ext cx="362608" cy="206187"/>
              </a:xfrm>
              <a:custGeom>
                <a:avLst/>
                <a:gdLst>
                  <a:gd name="connsiteX0" fmla="*/ 66675 w 384175"/>
                  <a:gd name="connsiteY0" fmla="*/ 104775 h 244475"/>
                  <a:gd name="connsiteX1" fmla="*/ 130175 w 384175"/>
                  <a:gd name="connsiteY1" fmla="*/ 0 h 244475"/>
                  <a:gd name="connsiteX2" fmla="*/ 158750 w 384175"/>
                  <a:gd name="connsiteY2" fmla="*/ 9525 h 244475"/>
                  <a:gd name="connsiteX3" fmla="*/ 177800 w 384175"/>
                  <a:gd name="connsiteY3" fmla="*/ 98425 h 244475"/>
                  <a:gd name="connsiteX4" fmla="*/ 177800 w 384175"/>
                  <a:gd name="connsiteY4" fmla="*/ 142875 h 244475"/>
                  <a:gd name="connsiteX5" fmla="*/ 203200 w 384175"/>
                  <a:gd name="connsiteY5" fmla="*/ 104775 h 244475"/>
                  <a:gd name="connsiteX6" fmla="*/ 381000 w 384175"/>
                  <a:gd name="connsiteY6" fmla="*/ 104775 h 244475"/>
                  <a:gd name="connsiteX7" fmla="*/ 384175 w 384175"/>
                  <a:gd name="connsiteY7" fmla="*/ 130175 h 244475"/>
                  <a:gd name="connsiteX8" fmla="*/ 368300 w 384175"/>
                  <a:gd name="connsiteY8" fmla="*/ 161925 h 244475"/>
                  <a:gd name="connsiteX9" fmla="*/ 231775 w 384175"/>
                  <a:gd name="connsiteY9" fmla="*/ 158750 h 244475"/>
                  <a:gd name="connsiteX10" fmla="*/ 177800 w 384175"/>
                  <a:gd name="connsiteY10" fmla="*/ 225425 h 244475"/>
                  <a:gd name="connsiteX11" fmla="*/ 152400 w 384175"/>
                  <a:gd name="connsiteY11" fmla="*/ 244475 h 244475"/>
                  <a:gd name="connsiteX12" fmla="*/ 127000 w 384175"/>
                  <a:gd name="connsiteY12" fmla="*/ 209550 h 244475"/>
                  <a:gd name="connsiteX13" fmla="*/ 120650 w 384175"/>
                  <a:gd name="connsiteY13" fmla="*/ 111125 h 244475"/>
                  <a:gd name="connsiteX14" fmla="*/ 76200 w 384175"/>
                  <a:gd name="connsiteY14" fmla="*/ 168275 h 244475"/>
                  <a:gd name="connsiteX15" fmla="*/ 44450 w 384175"/>
                  <a:gd name="connsiteY15" fmla="*/ 165100 h 244475"/>
                  <a:gd name="connsiteX16" fmla="*/ 0 w 384175"/>
                  <a:gd name="connsiteY16" fmla="*/ 146050 h 244475"/>
                  <a:gd name="connsiteX17" fmla="*/ 15875 w 384175"/>
                  <a:gd name="connsiteY17" fmla="*/ 95250 h 244475"/>
                  <a:gd name="connsiteX18" fmla="*/ 66675 w 384175"/>
                  <a:gd name="connsiteY18" fmla="*/ 104775 h 244475"/>
                  <a:gd name="connsiteX0" fmla="*/ 66675 w 381000"/>
                  <a:gd name="connsiteY0" fmla="*/ 104775 h 244475"/>
                  <a:gd name="connsiteX1" fmla="*/ 130175 w 381000"/>
                  <a:gd name="connsiteY1" fmla="*/ 0 h 244475"/>
                  <a:gd name="connsiteX2" fmla="*/ 158750 w 381000"/>
                  <a:gd name="connsiteY2" fmla="*/ 9525 h 244475"/>
                  <a:gd name="connsiteX3" fmla="*/ 177800 w 381000"/>
                  <a:gd name="connsiteY3" fmla="*/ 98425 h 244475"/>
                  <a:gd name="connsiteX4" fmla="*/ 177800 w 381000"/>
                  <a:gd name="connsiteY4" fmla="*/ 142875 h 244475"/>
                  <a:gd name="connsiteX5" fmla="*/ 203200 w 381000"/>
                  <a:gd name="connsiteY5" fmla="*/ 104775 h 244475"/>
                  <a:gd name="connsiteX6" fmla="*/ 381000 w 381000"/>
                  <a:gd name="connsiteY6" fmla="*/ 104775 h 244475"/>
                  <a:gd name="connsiteX7" fmla="*/ 368300 w 381000"/>
                  <a:gd name="connsiteY7" fmla="*/ 161925 h 244475"/>
                  <a:gd name="connsiteX8" fmla="*/ 231775 w 381000"/>
                  <a:gd name="connsiteY8" fmla="*/ 158750 h 244475"/>
                  <a:gd name="connsiteX9" fmla="*/ 177800 w 381000"/>
                  <a:gd name="connsiteY9" fmla="*/ 225425 h 244475"/>
                  <a:gd name="connsiteX10" fmla="*/ 152400 w 381000"/>
                  <a:gd name="connsiteY10" fmla="*/ 244475 h 244475"/>
                  <a:gd name="connsiteX11" fmla="*/ 127000 w 381000"/>
                  <a:gd name="connsiteY11" fmla="*/ 209550 h 244475"/>
                  <a:gd name="connsiteX12" fmla="*/ 120650 w 381000"/>
                  <a:gd name="connsiteY12" fmla="*/ 111125 h 244475"/>
                  <a:gd name="connsiteX13" fmla="*/ 76200 w 381000"/>
                  <a:gd name="connsiteY13" fmla="*/ 168275 h 244475"/>
                  <a:gd name="connsiteX14" fmla="*/ 44450 w 381000"/>
                  <a:gd name="connsiteY14" fmla="*/ 165100 h 244475"/>
                  <a:gd name="connsiteX15" fmla="*/ 0 w 381000"/>
                  <a:gd name="connsiteY15" fmla="*/ 146050 h 244475"/>
                  <a:gd name="connsiteX16" fmla="*/ 15875 w 381000"/>
                  <a:gd name="connsiteY16" fmla="*/ 95250 h 244475"/>
                  <a:gd name="connsiteX17" fmla="*/ 66675 w 381000"/>
                  <a:gd name="connsiteY17" fmla="*/ 104775 h 244475"/>
                  <a:gd name="connsiteX0" fmla="*/ 66675 w 381000"/>
                  <a:gd name="connsiteY0" fmla="*/ 104775 h 244475"/>
                  <a:gd name="connsiteX1" fmla="*/ 130175 w 381000"/>
                  <a:gd name="connsiteY1" fmla="*/ 0 h 244475"/>
                  <a:gd name="connsiteX2" fmla="*/ 158750 w 381000"/>
                  <a:gd name="connsiteY2" fmla="*/ 9525 h 244475"/>
                  <a:gd name="connsiteX3" fmla="*/ 177800 w 381000"/>
                  <a:gd name="connsiteY3" fmla="*/ 98425 h 244475"/>
                  <a:gd name="connsiteX4" fmla="*/ 177800 w 381000"/>
                  <a:gd name="connsiteY4" fmla="*/ 142875 h 244475"/>
                  <a:gd name="connsiteX5" fmla="*/ 203200 w 381000"/>
                  <a:gd name="connsiteY5" fmla="*/ 104775 h 244475"/>
                  <a:gd name="connsiteX6" fmla="*/ 381000 w 381000"/>
                  <a:gd name="connsiteY6" fmla="*/ 104775 h 244475"/>
                  <a:gd name="connsiteX7" fmla="*/ 368300 w 381000"/>
                  <a:gd name="connsiteY7" fmla="*/ 161925 h 244475"/>
                  <a:gd name="connsiteX8" fmla="*/ 231775 w 381000"/>
                  <a:gd name="connsiteY8" fmla="*/ 158750 h 244475"/>
                  <a:gd name="connsiteX9" fmla="*/ 177800 w 381000"/>
                  <a:gd name="connsiteY9" fmla="*/ 225425 h 244475"/>
                  <a:gd name="connsiteX10" fmla="*/ 152400 w 381000"/>
                  <a:gd name="connsiteY10" fmla="*/ 244475 h 244475"/>
                  <a:gd name="connsiteX11" fmla="*/ 127000 w 381000"/>
                  <a:gd name="connsiteY11" fmla="*/ 209550 h 244475"/>
                  <a:gd name="connsiteX12" fmla="*/ 120650 w 381000"/>
                  <a:gd name="connsiteY12" fmla="*/ 111125 h 244475"/>
                  <a:gd name="connsiteX13" fmla="*/ 76200 w 381000"/>
                  <a:gd name="connsiteY13" fmla="*/ 168275 h 244475"/>
                  <a:gd name="connsiteX14" fmla="*/ 44450 w 381000"/>
                  <a:gd name="connsiteY14" fmla="*/ 165100 h 244475"/>
                  <a:gd name="connsiteX15" fmla="*/ 0 w 381000"/>
                  <a:gd name="connsiteY15" fmla="*/ 146050 h 244475"/>
                  <a:gd name="connsiteX16" fmla="*/ 15875 w 381000"/>
                  <a:gd name="connsiteY16" fmla="*/ 95250 h 244475"/>
                  <a:gd name="connsiteX17" fmla="*/ 66675 w 381000"/>
                  <a:gd name="connsiteY17" fmla="*/ 104775 h 244475"/>
                  <a:gd name="connsiteX0" fmla="*/ 66675 w 381000"/>
                  <a:gd name="connsiteY0" fmla="*/ 104775 h 244475"/>
                  <a:gd name="connsiteX1" fmla="*/ 130175 w 381000"/>
                  <a:gd name="connsiteY1" fmla="*/ 0 h 244475"/>
                  <a:gd name="connsiteX2" fmla="*/ 158750 w 381000"/>
                  <a:gd name="connsiteY2" fmla="*/ 9525 h 244475"/>
                  <a:gd name="connsiteX3" fmla="*/ 177800 w 381000"/>
                  <a:gd name="connsiteY3" fmla="*/ 98425 h 244475"/>
                  <a:gd name="connsiteX4" fmla="*/ 177800 w 381000"/>
                  <a:gd name="connsiteY4" fmla="*/ 142875 h 244475"/>
                  <a:gd name="connsiteX5" fmla="*/ 203200 w 381000"/>
                  <a:gd name="connsiteY5" fmla="*/ 104775 h 244475"/>
                  <a:gd name="connsiteX6" fmla="*/ 381000 w 381000"/>
                  <a:gd name="connsiteY6" fmla="*/ 104775 h 244475"/>
                  <a:gd name="connsiteX7" fmla="*/ 368300 w 381000"/>
                  <a:gd name="connsiteY7" fmla="*/ 161925 h 244475"/>
                  <a:gd name="connsiteX8" fmla="*/ 231775 w 381000"/>
                  <a:gd name="connsiteY8" fmla="*/ 158750 h 244475"/>
                  <a:gd name="connsiteX9" fmla="*/ 177800 w 381000"/>
                  <a:gd name="connsiteY9" fmla="*/ 225425 h 244475"/>
                  <a:gd name="connsiteX10" fmla="*/ 152400 w 381000"/>
                  <a:gd name="connsiteY10" fmla="*/ 244475 h 244475"/>
                  <a:gd name="connsiteX11" fmla="*/ 127000 w 381000"/>
                  <a:gd name="connsiteY11" fmla="*/ 209550 h 244475"/>
                  <a:gd name="connsiteX12" fmla="*/ 120650 w 381000"/>
                  <a:gd name="connsiteY12" fmla="*/ 111125 h 244475"/>
                  <a:gd name="connsiteX13" fmla="*/ 76200 w 381000"/>
                  <a:gd name="connsiteY13" fmla="*/ 168275 h 244475"/>
                  <a:gd name="connsiteX14" fmla="*/ 44450 w 381000"/>
                  <a:gd name="connsiteY14" fmla="*/ 165100 h 244475"/>
                  <a:gd name="connsiteX15" fmla="*/ 0 w 381000"/>
                  <a:gd name="connsiteY15" fmla="*/ 146050 h 244475"/>
                  <a:gd name="connsiteX16" fmla="*/ 15875 w 381000"/>
                  <a:gd name="connsiteY16" fmla="*/ 95250 h 244475"/>
                  <a:gd name="connsiteX17" fmla="*/ 66675 w 381000"/>
                  <a:gd name="connsiteY17" fmla="*/ 104775 h 244475"/>
                  <a:gd name="connsiteX0" fmla="*/ 66675 w 381000"/>
                  <a:gd name="connsiteY0" fmla="*/ 104775 h 225425"/>
                  <a:gd name="connsiteX1" fmla="*/ 130175 w 381000"/>
                  <a:gd name="connsiteY1" fmla="*/ 0 h 225425"/>
                  <a:gd name="connsiteX2" fmla="*/ 158750 w 381000"/>
                  <a:gd name="connsiteY2" fmla="*/ 9525 h 225425"/>
                  <a:gd name="connsiteX3" fmla="*/ 177800 w 381000"/>
                  <a:gd name="connsiteY3" fmla="*/ 98425 h 225425"/>
                  <a:gd name="connsiteX4" fmla="*/ 177800 w 381000"/>
                  <a:gd name="connsiteY4" fmla="*/ 142875 h 225425"/>
                  <a:gd name="connsiteX5" fmla="*/ 203200 w 381000"/>
                  <a:gd name="connsiteY5" fmla="*/ 104775 h 225425"/>
                  <a:gd name="connsiteX6" fmla="*/ 381000 w 381000"/>
                  <a:gd name="connsiteY6" fmla="*/ 104775 h 225425"/>
                  <a:gd name="connsiteX7" fmla="*/ 368300 w 381000"/>
                  <a:gd name="connsiteY7" fmla="*/ 161925 h 225425"/>
                  <a:gd name="connsiteX8" fmla="*/ 231775 w 381000"/>
                  <a:gd name="connsiteY8" fmla="*/ 158750 h 225425"/>
                  <a:gd name="connsiteX9" fmla="*/ 177800 w 381000"/>
                  <a:gd name="connsiteY9" fmla="*/ 225425 h 225425"/>
                  <a:gd name="connsiteX10" fmla="*/ 127000 w 381000"/>
                  <a:gd name="connsiteY10" fmla="*/ 209550 h 225425"/>
                  <a:gd name="connsiteX11" fmla="*/ 120650 w 381000"/>
                  <a:gd name="connsiteY11" fmla="*/ 111125 h 225425"/>
                  <a:gd name="connsiteX12" fmla="*/ 76200 w 381000"/>
                  <a:gd name="connsiteY12" fmla="*/ 168275 h 225425"/>
                  <a:gd name="connsiteX13" fmla="*/ 44450 w 381000"/>
                  <a:gd name="connsiteY13" fmla="*/ 165100 h 225425"/>
                  <a:gd name="connsiteX14" fmla="*/ 0 w 381000"/>
                  <a:gd name="connsiteY14" fmla="*/ 146050 h 225425"/>
                  <a:gd name="connsiteX15" fmla="*/ 15875 w 381000"/>
                  <a:gd name="connsiteY15" fmla="*/ 95250 h 225425"/>
                  <a:gd name="connsiteX16" fmla="*/ 66675 w 381000"/>
                  <a:gd name="connsiteY16" fmla="*/ 104775 h 225425"/>
                  <a:gd name="connsiteX0" fmla="*/ 66675 w 381000"/>
                  <a:gd name="connsiteY0" fmla="*/ 104775 h 225425"/>
                  <a:gd name="connsiteX1" fmla="*/ 130175 w 381000"/>
                  <a:gd name="connsiteY1" fmla="*/ 0 h 225425"/>
                  <a:gd name="connsiteX2" fmla="*/ 158750 w 381000"/>
                  <a:gd name="connsiteY2" fmla="*/ 9525 h 225425"/>
                  <a:gd name="connsiteX3" fmla="*/ 177800 w 381000"/>
                  <a:gd name="connsiteY3" fmla="*/ 98425 h 225425"/>
                  <a:gd name="connsiteX4" fmla="*/ 177800 w 381000"/>
                  <a:gd name="connsiteY4" fmla="*/ 142875 h 225425"/>
                  <a:gd name="connsiteX5" fmla="*/ 203200 w 381000"/>
                  <a:gd name="connsiteY5" fmla="*/ 104775 h 225425"/>
                  <a:gd name="connsiteX6" fmla="*/ 381000 w 381000"/>
                  <a:gd name="connsiteY6" fmla="*/ 104775 h 225425"/>
                  <a:gd name="connsiteX7" fmla="*/ 368300 w 381000"/>
                  <a:gd name="connsiteY7" fmla="*/ 161925 h 225425"/>
                  <a:gd name="connsiteX8" fmla="*/ 231775 w 381000"/>
                  <a:gd name="connsiteY8" fmla="*/ 158750 h 225425"/>
                  <a:gd name="connsiteX9" fmla="*/ 177800 w 381000"/>
                  <a:gd name="connsiteY9" fmla="*/ 225425 h 225425"/>
                  <a:gd name="connsiteX10" fmla="*/ 127000 w 381000"/>
                  <a:gd name="connsiteY10" fmla="*/ 209550 h 225425"/>
                  <a:gd name="connsiteX11" fmla="*/ 120650 w 381000"/>
                  <a:gd name="connsiteY11" fmla="*/ 111125 h 225425"/>
                  <a:gd name="connsiteX12" fmla="*/ 76200 w 381000"/>
                  <a:gd name="connsiteY12" fmla="*/ 168275 h 225425"/>
                  <a:gd name="connsiteX13" fmla="*/ 44450 w 381000"/>
                  <a:gd name="connsiteY13" fmla="*/ 165100 h 225425"/>
                  <a:gd name="connsiteX14" fmla="*/ 0 w 381000"/>
                  <a:gd name="connsiteY14" fmla="*/ 146050 h 225425"/>
                  <a:gd name="connsiteX15" fmla="*/ 15875 w 381000"/>
                  <a:gd name="connsiteY15" fmla="*/ 95250 h 225425"/>
                  <a:gd name="connsiteX16" fmla="*/ 66675 w 381000"/>
                  <a:gd name="connsiteY16" fmla="*/ 104775 h 225425"/>
                  <a:gd name="connsiteX0" fmla="*/ 66675 w 381000"/>
                  <a:gd name="connsiteY0" fmla="*/ 104775 h 225921"/>
                  <a:gd name="connsiteX1" fmla="*/ 130175 w 381000"/>
                  <a:gd name="connsiteY1" fmla="*/ 0 h 225921"/>
                  <a:gd name="connsiteX2" fmla="*/ 158750 w 381000"/>
                  <a:gd name="connsiteY2" fmla="*/ 9525 h 225921"/>
                  <a:gd name="connsiteX3" fmla="*/ 177800 w 381000"/>
                  <a:gd name="connsiteY3" fmla="*/ 98425 h 225921"/>
                  <a:gd name="connsiteX4" fmla="*/ 177800 w 381000"/>
                  <a:gd name="connsiteY4" fmla="*/ 142875 h 225921"/>
                  <a:gd name="connsiteX5" fmla="*/ 203200 w 381000"/>
                  <a:gd name="connsiteY5" fmla="*/ 104775 h 225921"/>
                  <a:gd name="connsiteX6" fmla="*/ 381000 w 381000"/>
                  <a:gd name="connsiteY6" fmla="*/ 104775 h 225921"/>
                  <a:gd name="connsiteX7" fmla="*/ 368300 w 381000"/>
                  <a:gd name="connsiteY7" fmla="*/ 161925 h 225921"/>
                  <a:gd name="connsiteX8" fmla="*/ 231775 w 381000"/>
                  <a:gd name="connsiteY8" fmla="*/ 158750 h 225921"/>
                  <a:gd name="connsiteX9" fmla="*/ 177800 w 381000"/>
                  <a:gd name="connsiteY9" fmla="*/ 225425 h 225921"/>
                  <a:gd name="connsiteX10" fmla="*/ 127000 w 381000"/>
                  <a:gd name="connsiteY10" fmla="*/ 209550 h 225921"/>
                  <a:gd name="connsiteX11" fmla="*/ 120650 w 381000"/>
                  <a:gd name="connsiteY11" fmla="*/ 111125 h 225921"/>
                  <a:gd name="connsiteX12" fmla="*/ 76200 w 381000"/>
                  <a:gd name="connsiteY12" fmla="*/ 168275 h 225921"/>
                  <a:gd name="connsiteX13" fmla="*/ 44450 w 381000"/>
                  <a:gd name="connsiteY13" fmla="*/ 165100 h 225921"/>
                  <a:gd name="connsiteX14" fmla="*/ 0 w 381000"/>
                  <a:gd name="connsiteY14" fmla="*/ 146050 h 225921"/>
                  <a:gd name="connsiteX15" fmla="*/ 15875 w 381000"/>
                  <a:gd name="connsiteY15" fmla="*/ 95250 h 225921"/>
                  <a:gd name="connsiteX16" fmla="*/ 66675 w 381000"/>
                  <a:gd name="connsiteY16" fmla="*/ 104775 h 225921"/>
                  <a:gd name="connsiteX0" fmla="*/ 66675 w 381000"/>
                  <a:gd name="connsiteY0" fmla="*/ 104775 h 225921"/>
                  <a:gd name="connsiteX1" fmla="*/ 130175 w 381000"/>
                  <a:gd name="connsiteY1" fmla="*/ 0 h 225921"/>
                  <a:gd name="connsiteX2" fmla="*/ 158750 w 381000"/>
                  <a:gd name="connsiteY2" fmla="*/ 9525 h 225921"/>
                  <a:gd name="connsiteX3" fmla="*/ 177800 w 381000"/>
                  <a:gd name="connsiteY3" fmla="*/ 142875 h 225921"/>
                  <a:gd name="connsiteX4" fmla="*/ 203200 w 381000"/>
                  <a:gd name="connsiteY4" fmla="*/ 104775 h 225921"/>
                  <a:gd name="connsiteX5" fmla="*/ 381000 w 381000"/>
                  <a:gd name="connsiteY5" fmla="*/ 104775 h 225921"/>
                  <a:gd name="connsiteX6" fmla="*/ 368300 w 381000"/>
                  <a:gd name="connsiteY6" fmla="*/ 161925 h 225921"/>
                  <a:gd name="connsiteX7" fmla="*/ 231775 w 381000"/>
                  <a:gd name="connsiteY7" fmla="*/ 158750 h 225921"/>
                  <a:gd name="connsiteX8" fmla="*/ 177800 w 381000"/>
                  <a:gd name="connsiteY8" fmla="*/ 225425 h 225921"/>
                  <a:gd name="connsiteX9" fmla="*/ 127000 w 381000"/>
                  <a:gd name="connsiteY9" fmla="*/ 209550 h 225921"/>
                  <a:gd name="connsiteX10" fmla="*/ 120650 w 381000"/>
                  <a:gd name="connsiteY10" fmla="*/ 111125 h 225921"/>
                  <a:gd name="connsiteX11" fmla="*/ 76200 w 381000"/>
                  <a:gd name="connsiteY11" fmla="*/ 168275 h 225921"/>
                  <a:gd name="connsiteX12" fmla="*/ 44450 w 381000"/>
                  <a:gd name="connsiteY12" fmla="*/ 165100 h 225921"/>
                  <a:gd name="connsiteX13" fmla="*/ 0 w 381000"/>
                  <a:gd name="connsiteY13" fmla="*/ 146050 h 225921"/>
                  <a:gd name="connsiteX14" fmla="*/ 15875 w 381000"/>
                  <a:gd name="connsiteY14" fmla="*/ 95250 h 225921"/>
                  <a:gd name="connsiteX15" fmla="*/ 66675 w 381000"/>
                  <a:gd name="connsiteY15" fmla="*/ 104775 h 225921"/>
                  <a:gd name="connsiteX0" fmla="*/ 66675 w 381000"/>
                  <a:gd name="connsiteY0" fmla="*/ 104775 h 225921"/>
                  <a:gd name="connsiteX1" fmla="*/ 130175 w 381000"/>
                  <a:gd name="connsiteY1" fmla="*/ 0 h 225921"/>
                  <a:gd name="connsiteX2" fmla="*/ 158750 w 381000"/>
                  <a:gd name="connsiteY2" fmla="*/ 9525 h 225921"/>
                  <a:gd name="connsiteX3" fmla="*/ 177800 w 381000"/>
                  <a:gd name="connsiteY3" fmla="*/ 142875 h 225921"/>
                  <a:gd name="connsiteX4" fmla="*/ 203200 w 381000"/>
                  <a:gd name="connsiteY4" fmla="*/ 104775 h 225921"/>
                  <a:gd name="connsiteX5" fmla="*/ 381000 w 381000"/>
                  <a:gd name="connsiteY5" fmla="*/ 104775 h 225921"/>
                  <a:gd name="connsiteX6" fmla="*/ 368300 w 381000"/>
                  <a:gd name="connsiteY6" fmla="*/ 161925 h 225921"/>
                  <a:gd name="connsiteX7" fmla="*/ 231775 w 381000"/>
                  <a:gd name="connsiteY7" fmla="*/ 158750 h 225921"/>
                  <a:gd name="connsiteX8" fmla="*/ 177800 w 381000"/>
                  <a:gd name="connsiteY8" fmla="*/ 225425 h 225921"/>
                  <a:gd name="connsiteX9" fmla="*/ 127000 w 381000"/>
                  <a:gd name="connsiteY9" fmla="*/ 209550 h 225921"/>
                  <a:gd name="connsiteX10" fmla="*/ 120650 w 381000"/>
                  <a:gd name="connsiteY10" fmla="*/ 111125 h 225921"/>
                  <a:gd name="connsiteX11" fmla="*/ 76200 w 381000"/>
                  <a:gd name="connsiteY11" fmla="*/ 168275 h 225921"/>
                  <a:gd name="connsiteX12" fmla="*/ 0 w 381000"/>
                  <a:gd name="connsiteY12" fmla="*/ 146050 h 225921"/>
                  <a:gd name="connsiteX13" fmla="*/ 15875 w 381000"/>
                  <a:gd name="connsiteY13" fmla="*/ 95250 h 225921"/>
                  <a:gd name="connsiteX14" fmla="*/ 66675 w 381000"/>
                  <a:gd name="connsiteY14" fmla="*/ 104775 h 225921"/>
                  <a:gd name="connsiteX0" fmla="*/ 66675 w 384406"/>
                  <a:gd name="connsiteY0" fmla="*/ 104775 h 225921"/>
                  <a:gd name="connsiteX1" fmla="*/ 130175 w 384406"/>
                  <a:gd name="connsiteY1" fmla="*/ 0 h 225921"/>
                  <a:gd name="connsiteX2" fmla="*/ 158750 w 384406"/>
                  <a:gd name="connsiteY2" fmla="*/ 9525 h 225921"/>
                  <a:gd name="connsiteX3" fmla="*/ 177800 w 384406"/>
                  <a:gd name="connsiteY3" fmla="*/ 142875 h 225921"/>
                  <a:gd name="connsiteX4" fmla="*/ 203200 w 384406"/>
                  <a:gd name="connsiteY4" fmla="*/ 104775 h 225921"/>
                  <a:gd name="connsiteX5" fmla="*/ 381000 w 384406"/>
                  <a:gd name="connsiteY5" fmla="*/ 104775 h 225921"/>
                  <a:gd name="connsiteX6" fmla="*/ 368300 w 384406"/>
                  <a:gd name="connsiteY6" fmla="*/ 161925 h 225921"/>
                  <a:gd name="connsiteX7" fmla="*/ 231775 w 384406"/>
                  <a:gd name="connsiteY7" fmla="*/ 158750 h 225921"/>
                  <a:gd name="connsiteX8" fmla="*/ 177800 w 384406"/>
                  <a:gd name="connsiteY8" fmla="*/ 225425 h 225921"/>
                  <a:gd name="connsiteX9" fmla="*/ 127000 w 384406"/>
                  <a:gd name="connsiteY9" fmla="*/ 209550 h 225921"/>
                  <a:gd name="connsiteX10" fmla="*/ 120650 w 384406"/>
                  <a:gd name="connsiteY10" fmla="*/ 111125 h 225921"/>
                  <a:gd name="connsiteX11" fmla="*/ 76200 w 384406"/>
                  <a:gd name="connsiteY11" fmla="*/ 168275 h 225921"/>
                  <a:gd name="connsiteX12" fmla="*/ 0 w 384406"/>
                  <a:gd name="connsiteY12" fmla="*/ 146050 h 225921"/>
                  <a:gd name="connsiteX13" fmla="*/ 15875 w 384406"/>
                  <a:gd name="connsiteY13" fmla="*/ 95250 h 225921"/>
                  <a:gd name="connsiteX14" fmla="*/ 66675 w 384406"/>
                  <a:gd name="connsiteY14" fmla="*/ 104775 h 225921"/>
                  <a:gd name="connsiteX0" fmla="*/ 66675 w 387749"/>
                  <a:gd name="connsiteY0" fmla="*/ 104775 h 225921"/>
                  <a:gd name="connsiteX1" fmla="*/ 130175 w 387749"/>
                  <a:gd name="connsiteY1" fmla="*/ 0 h 225921"/>
                  <a:gd name="connsiteX2" fmla="*/ 158750 w 387749"/>
                  <a:gd name="connsiteY2" fmla="*/ 9525 h 225921"/>
                  <a:gd name="connsiteX3" fmla="*/ 177800 w 387749"/>
                  <a:gd name="connsiteY3" fmla="*/ 142875 h 225921"/>
                  <a:gd name="connsiteX4" fmla="*/ 203200 w 387749"/>
                  <a:gd name="connsiteY4" fmla="*/ 104775 h 225921"/>
                  <a:gd name="connsiteX5" fmla="*/ 381000 w 387749"/>
                  <a:gd name="connsiteY5" fmla="*/ 104775 h 225921"/>
                  <a:gd name="connsiteX6" fmla="*/ 368300 w 387749"/>
                  <a:gd name="connsiteY6" fmla="*/ 161925 h 225921"/>
                  <a:gd name="connsiteX7" fmla="*/ 231775 w 387749"/>
                  <a:gd name="connsiteY7" fmla="*/ 158750 h 225921"/>
                  <a:gd name="connsiteX8" fmla="*/ 177800 w 387749"/>
                  <a:gd name="connsiteY8" fmla="*/ 225425 h 225921"/>
                  <a:gd name="connsiteX9" fmla="*/ 127000 w 387749"/>
                  <a:gd name="connsiteY9" fmla="*/ 209550 h 225921"/>
                  <a:gd name="connsiteX10" fmla="*/ 120650 w 387749"/>
                  <a:gd name="connsiteY10" fmla="*/ 111125 h 225921"/>
                  <a:gd name="connsiteX11" fmla="*/ 76200 w 387749"/>
                  <a:gd name="connsiteY11" fmla="*/ 168275 h 225921"/>
                  <a:gd name="connsiteX12" fmla="*/ 0 w 387749"/>
                  <a:gd name="connsiteY12" fmla="*/ 146050 h 225921"/>
                  <a:gd name="connsiteX13" fmla="*/ 15875 w 387749"/>
                  <a:gd name="connsiteY13" fmla="*/ 95250 h 225921"/>
                  <a:gd name="connsiteX14" fmla="*/ 66675 w 387749"/>
                  <a:gd name="connsiteY14" fmla="*/ 104775 h 225921"/>
                  <a:gd name="connsiteX0" fmla="*/ 66675 w 387749"/>
                  <a:gd name="connsiteY0" fmla="*/ 104775 h 225921"/>
                  <a:gd name="connsiteX1" fmla="*/ 130175 w 387749"/>
                  <a:gd name="connsiteY1" fmla="*/ 0 h 225921"/>
                  <a:gd name="connsiteX2" fmla="*/ 158750 w 387749"/>
                  <a:gd name="connsiteY2" fmla="*/ 9525 h 225921"/>
                  <a:gd name="connsiteX3" fmla="*/ 177800 w 387749"/>
                  <a:gd name="connsiteY3" fmla="*/ 142875 h 225921"/>
                  <a:gd name="connsiteX4" fmla="*/ 203200 w 387749"/>
                  <a:gd name="connsiteY4" fmla="*/ 104775 h 225921"/>
                  <a:gd name="connsiteX5" fmla="*/ 381000 w 387749"/>
                  <a:gd name="connsiteY5" fmla="*/ 104775 h 225921"/>
                  <a:gd name="connsiteX6" fmla="*/ 368300 w 387749"/>
                  <a:gd name="connsiteY6" fmla="*/ 161925 h 225921"/>
                  <a:gd name="connsiteX7" fmla="*/ 231775 w 387749"/>
                  <a:gd name="connsiteY7" fmla="*/ 158750 h 225921"/>
                  <a:gd name="connsiteX8" fmla="*/ 177800 w 387749"/>
                  <a:gd name="connsiteY8" fmla="*/ 225425 h 225921"/>
                  <a:gd name="connsiteX9" fmla="*/ 127000 w 387749"/>
                  <a:gd name="connsiteY9" fmla="*/ 209550 h 225921"/>
                  <a:gd name="connsiteX10" fmla="*/ 120650 w 387749"/>
                  <a:gd name="connsiteY10" fmla="*/ 111125 h 225921"/>
                  <a:gd name="connsiteX11" fmla="*/ 76200 w 387749"/>
                  <a:gd name="connsiteY11" fmla="*/ 168275 h 225921"/>
                  <a:gd name="connsiteX12" fmla="*/ 0 w 387749"/>
                  <a:gd name="connsiteY12" fmla="*/ 146050 h 225921"/>
                  <a:gd name="connsiteX13" fmla="*/ 15875 w 387749"/>
                  <a:gd name="connsiteY13" fmla="*/ 95250 h 225921"/>
                  <a:gd name="connsiteX14" fmla="*/ 66675 w 387749"/>
                  <a:gd name="connsiteY14" fmla="*/ 104775 h 225921"/>
                  <a:gd name="connsiteX0" fmla="*/ 66675 w 387749"/>
                  <a:gd name="connsiteY0" fmla="*/ 104775 h 225921"/>
                  <a:gd name="connsiteX1" fmla="*/ 130175 w 387749"/>
                  <a:gd name="connsiteY1" fmla="*/ 0 h 225921"/>
                  <a:gd name="connsiteX2" fmla="*/ 158750 w 387749"/>
                  <a:gd name="connsiteY2" fmla="*/ 9525 h 225921"/>
                  <a:gd name="connsiteX3" fmla="*/ 177800 w 387749"/>
                  <a:gd name="connsiteY3" fmla="*/ 142875 h 225921"/>
                  <a:gd name="connsiteX4" fmla="*/ 203200 w 387749"/>
                  <a:gd name="connsiteY4" fmla="*/ 104775 h 225921"/>
                  <a:gd name="connsiteX5" fmla="*/ 381000 w 387749"/>
                  <a:gd name="connsiteY5" fmla="*/ 104775 h 225921"/>
                  <a:gd name="connsiteX6" fmla="*/ 368300 w 387749"/>
                  <a:gd name="connsiteY6" fmla="*/ 161925 h 225921"/>
                  <a:gd name="connsiteX7" fmla="*/ 231775 w 387749"/>
                  <a:gd name="connsiteY7" fmla="*/ 158750 h 225921"/>
                  <a:gd name="connsiteX8" fmla="*/ 177800 w 387749"/>
                  <a:gd name="connsiteY8" fmla="*/ 225425 h 225921"/>
                  <a:gd name="connsiteX9" fmla="*/ 127000 w 387749"/>
                  <a:gd name="connsiteY9" fmla="*/ 209550 h 225921"/>
                  <a:gd name="connsiteX10" fmla="*/ 120650 w 387749"/>
                  <a:gd name="connsiteY10" fmla="*/ 111125 h 225921"/>
                  <a:gd name="connsiteX11" fmla="*/ 76200 w 387749"/>
                  <a:gd name="connsiteY11" fmla="*/ 168275 h 225921"/>
                  <a:gd name="connsiteX12" fmla="*/ 0 w 387749"/>
                  <a:gd name="connsiteY12" fmla="*/ 146050 h 225921"/>
                  <a:gd name="connsiteX13" fmla="*/ 6350 w 387749"/>
                  <a:gd name="connsiteY13" fmla="*/ 92869 h 225921"/>
                  <a:gd name="connsiteX14" fmla="*/ 66675 w 387749"/>
                  <a:gd name="connsiteY14" fmla="*/ 104775 h 225921"/>
                  <a:gd name="connsiteX0" fmla="*/ 74232 w 395306"/>
                  <a:gd name="connsiteY0" fmla="*/ 104775 h 225921"/>
                  <a:gd name="connsiteX1" fmla="*/ 137732 w 395306"/>
                  <a:gd name="connsiteY1" fmla="*/ 0 h 225921"/>
                  <a:gd name="connsiteX2" fmla="*/ 166307 w 395306"/>
                  <a:gd name="connsiteY2" fmla="*/ 9525 h 225921"/>
                  <a:gd name="connsiteX3" fmla="*/ 185357 w 395306"/>
                  <a:gd name="connsiteY3" fmla="*/ 142875 h 225921"/>
                  <a:gd name="connsiteX4" fmla="*/ 210757 w 395306"/>
                  <a:gd name="connsiteY4" fmla="*/ 104775 h 225921"/>
                  <a:gd name="connsiteX5" fmla="*/ 388557 w 395306"/>
                  <a:gd name="connsiteY5" fmla="*/ 104775 h 225921"/>
                  <a:gd name="connsiteX6" fmla="*/ 375857 w 395306"/>
                  <a:gd name="connsiteY6" fmla="*/ 161925 h 225921"/>
                  <a:gd name="connsiteX7" fmla="*/ 239332 w 395306"/>
                  <a:gd name="connsiteY7" fmla="*/ 158750 h 225921"/>
                  <a:gd name="connsiteX8" fmla="*/ 185357 w 395306"/>
                  <a:gd name="connsiteY8" fmla="*/ 225425 h 225921"/>
                  <a:gd name="connsiteX9" fmla="*/ 134557 w 395306"/>
                  <a:gd name="connsiteY9" fmla="*/ 209550 h 225921"/>
                  <a:gd name="connsiteX10" fmla="*/ 128207 w 395306"/>
                  <a:gd name="connsiteY10" fmla="*/ 111125 h 225921"/>
                  <a:gd name="connsiteX11" fmla="*/ 83757 w 395306"/>
                  <a:gd name="connsiteY11" fmla="*/ 168275 h 225921"/>
                  <a:gd name="connsiteX12" fmla="*/ 7557 w 395306"/>
                  <a:gd name="connsiteY12" fmla="*/ 146050 h 225921"/>
                  <a:gd name="connsiteX13" fmla="*/ 13907 w 395306"/>
                  <a:gd name="connsiteY13" fmla="*/ 92869 h 225921"/>
                  <a:gd name="connsiteX14" fmla="*/ 74232 w 395306"/>
                  <a:gd name="connsiteY14" fmla="*/ 104775 h 225921"/>
                  <a:gd name="connsiteX0" fmla="*/ 76239 w 397313"/>
                  <a:gd name="connsiteY0" fmla="*/ 104775 h 225921"/>
                  <a:gd name="connsiteX1" fmla="*/ 139739 w 397313"/>
                  <a:gd name="connsiteY1" fmla="*/ 0 h 225921"/>
                  <a:gd name="connsiteX2" fmla="*/ 168314 w 397313"/>
                  <a:gd name="connsiteY2" fmla="*/ 9525 h 225921"/>
                  <a:gd name="connsiteX3" fmla="*/ 187364 w 397313"/>
                  <a:gd name="connsiteY3" fmla="*/ 142875 h 225921"/>
                  <a:gd name="connsiteX4" fmla="*/ 212764 w 397313"/>
                  <a:gd name="connsiteY4" fmla="*/ 104775 h 225921"/>
                  <a:gd name="connsiteX5" fmla="*/ 390564 w 397313"/>
                  <a:gd name="connsiteY5" fmla="*/ 104775 h 225921"/>
                  <a:gd name="connsiteX6" fmla="*/ 377864 w 397313"/>
                  <a:gd name="connsiteY6" fmla="*/ 161925 h 225921"/>
                  <a:gd name="connsiteX7" fmla="*/ 241339 w 397313"/>
                  <a:gd name="connsiteY7" fmla="*/ 158750 h 225921"/>
                  <a:gd name="connsiteX8" fmla="*/ 187364 w 397313"/>
                  <a:gd name="connsiteY8" fmla="*/ 225425 h 225921"/>
                  <a:gd name="connsiteX9" fmla="*/ 136564 w 397313"/>
                  <a:gd name="connsiteY9" fmla="*/ 209550 h 225921"/>
                  <a:gd name="connsiteX10" fmla="*/ 130214 w 397313"/>
                  <a:gd name="connsiteY10" fmla="*/ 111125 h 225921"/>
                  <a:gd name="connsiteX11" fmla="*/ 85764 w 397313"/>
                  <a:gd name="connsiteY11" fmla="*/ 168275 h 225921"/>
                  <a:gd name="connsiteX12" fmla="*/ 9564 w 397313"/>
                  <a:gd name="connsiteY12" fmla="*/ 146050 h 225921"/>
                  <a:gd name="connsiteX13" fmla="*/ 15914 w 397313"/>
                  <a:gd name="connsiteY13" fmla="*/ 92869 h 225921"/>
                  <a:gd name="connsiteX14" fmla="*/ 76239 w 397313"/>
                  <a:gd name="connsiteY14" fmla="*/ 104775 h 22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7313" h="225921">
                    <a:moveTo>
                      <a:pt x="76239" y="104775"/>
                    </a:moveTo>
                    <a:lnTo>
                      <a:pt x="139739" y="0"/>
                    </a:lnTo>
                    <a:lnTo>
                      <a:pt x="168314" y="9525"/>
                    </a:lnTo>
                    <a:lnTo>
                      <a:pt x="187364" y="142875"/>
                    </a:lnTo>
                    <a:lnTo>
                      <a:pt x="212764" y="104775"/>
                    </a:lnTo>
                    <a:lnTo>
                      <a:pt x="390564" y="104775"/>
                    </a:lnTo>
                    <a:cubicBezTo>
                      <a:pt x="395856" y="130969"/>
                      <a:pt x="407497" y="142875"/>
                      <a:pt x="377864" y="161925"/>
                    </a:cubicBezTo>
                    <a:lnTo>
                      <a:pt x="241339" y="158750"/>
                    </a:lnTo>
                    <a:lnTo>
                      <a:pt x="187364" y="225425"/>
                    </a:lnTo>
                    <a:cubicBezTo>
                      <a:pt x="170431" y="227277"/>
                      <a:pt x="151116" y="224367"/>
                      <a:pt x="136564" y="209550"/>
                    </a:cubicBezTo>
                    <a:lnTo>
                      <a:pt x="130214" y="111125"/>
                    </a:lnTo>
                    <a:lnTo>
                      <a:pt x="85764" y="168275"/>
                    </a:lnTo>
                    <a:lnTo>
                      <a:pt x="9564" y="146050"/>
                    </a:lnTo>
                    <a:cubicBezTo>
                      <a:pt x="-9750" y="118798"/>
                      <a:pt x="4272" y="108215"/>
                      <a:pt x="15914" y="92869"/>
                    </a:cubicBezTo>
                    <a:lnTo>
                      <a:pt x="76239" y="104775"/>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grpSp>
        <p:sp>
          <p:nvSpPr>
            <p:cNvPr id="97" name="Right Arrow 96"/>
            <p:cNvSpPr/>
            <p:nvPr/>
          </p:nvSpPr>
          <p:spPr bwMode="auto">
            <a:xfrm rot="20653945" flipH="1">
              <a:off x="6919854" y="4260194"/>
              <a:ext cx="274434" cy="239100"/>
            </a:xfrm>
            <a:prstGeom prst="rightArrow">
              <a:avLst>
                <a:gd name="adj1" fmla="val 63724"/>
                <a:gd name="adj2" fmla="val 44578"/>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98" name="Right Arrow 97"/>
            <p:cNvSpPr/>
            <p:nvPr/>
          </p:nvSpPr>
          <p:spPr bwMode="auto">
            <a:xfrm rot="946055">
              <a:off x="5219642" y="4260195"/>
              <a:ext cx="274434" cy="239100"/>
            </a:xfrm>
            <a:prstGeom prst="rightArrow">
              <a:avLst>
                <a:gd name="adj1" fmla="val 63724"/>
                <a:gd name="adj2" fmla="val 44578"/>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99" name="Right Arrow 98"/>
            <p:cNvSpPr/>
            <p:nvPr/>
          </p:nvSpPr>
          <p:spPr bwMode="auto">
            <a:xfrm rot="5400000">
              <a:off x="6081021" y="3682345"/>
              <a:ext cx="274434" cy="239100"/>
            </a:xfrm>
            <a:prstGeom prst="rightArrow">
              <a:avLst>
                <a:gd name="adj1" fmla="val 63724"/>
                <a:gd name="adj2" fmla="val 44578"/>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100" name="Right Arrow 99"/>
            <p:cNvSpPr/>
            <p:nvPr/>
          </p:nvSpPr>
          <p:spPr bwMode="auto">
            <a:xfrm rot="2239917" flipH="1" flipV="1">
              <a:off x="6723004" y="5223805"/>
              <a:ext cx="274434" cy="239100"/>
            </a:xfrm>
            <a:prstGeom prst="rightArrow">
              <a:avLst>
                <a:gd name="adj1" fmla="val 63724"/>
                <a:gd name="adj2" fmla="val 44578"/>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102" name="Right Arrow 101"/>
            <p:cNvSpPr/>
            <p:nvPr/>
          </p:nvSpPr>
          <p:spPr bwMode="auto">
            <a:xfrm rot="19360083" flipV="1">
              <a:off x="5427604" y="5223805"/>
              <a:ext cx="274434" cy="239100"/>
            </a:xfrm>
            <a:prstGeom prst="rightArrow">
              <a:avLst>
                <a:gd name="adj1" fmla="val 63724"/>
                <a:gd name="adj2" fmla="val 44578"/>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grpSp>
      <p:sp>
        <p:nvSpPr>
          <p:cNvPr id="17" name="Freeform 16"/>
          <p:cNvSpPr/>
          <p:nvPr/>
        </p:nvSpPr>
        <p:spPr bwMode="auto">
          <a:xfrm>
            <a:off x="8158163" y="4014787"/>
            <a:ext cx="2085975" cy="285750"/>
          </a:xfrm>
          <a:custGeom>
            <a:avLst/>
            <a:gdLst>
              <a:gd name="connsiteX0" fmla="*/ 0 w 2085975"/>
              <a:gd name="connsiteY0" fmla="*/ 285750 h 285750"/>
              <a:gd name="connsiteX1" fmla="*/ 523875 w 2085975"/>
              <a:gd name="connsiteY1" fmla="*/ 0 h 285750"/>
              <a:gd name="connsiteX2" fmla="*/ 2085975 w 2085975"/>
              <a:gd name="connsiteY2" fmla="*/ 0 h 285750"/>
            </a:gdLst>
            <a:ahLst/>
            <a:cxnLst>
              <a:cxn ang="0">
                <a:pos x="connsiteX0" y="connsiteY0"/>
              </a:cxn>
              <a:cxn ang="0">
                <a:pos x="connsiteX1" y="connsiteY1"/>
              </a:cxn>
              <a:cxn ang="0">
                <a:pos x="connsiteX2" y="connsiteY2"/>
              </a:cxn>
            </a:cxnLst>
            <a:rect l="l" t="t" r="r" b="b"/>
            <a:pathLst>
              <a:path w="2085975" h="285750">
                <a:moveTo>
                  <a:pt x="0" y="285750"/>
                </a:moveTo>
                <a:lnTo>
                  <a:pt x="523875" y="0"/>
                </a:lnTo>
                <a:lnTo>
                  <a:pt x="2085975" y="0"/>
                </a:lnTo>
              </a:path>
            </a:pathLst>
          </a:custGeom>
          <a:no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106" name="Freeform 105"/>
          <p:cNvSpPr/>
          <p:nvPr/>
        </p:nvSpPr>
        <p:spPr bwMode="auto">
          <a:xfrm>
            <a:off x="7867650" y="5638800"/>
            <a:ext cx="2422525" cy="285750"/>
          </a:xfrm>
          <a:custGeom>
            <a:avLst/>
            <a:gdLst>
              <a:gd name="connsiteX0" fmla="*/ 0 w 2085975"/>
              <a:gd name="connsiteY0" fmla="*/ 285750 h 285750"/>
              <a:gd name="connsiteX1" fmla="*/ 523875 w 2085975"/>
              <a:gd name="connsiteY1" fmla="*/ 0 h 285750"/>
              <a:gd name="connsiteX2" fmla="*/ 2085975 w 2085975"/>
              <a:gd name="connsiteY2" fmla="*/ 0 h 285750"/>
              <a:gd name="connsiteX0" fmla="*/ 0 w 2422525"/>
              <a:gd name="connsiteY0" fmla="*/ 285750 h 285750"/>
              <a:gd name="connsiteX1" fmla="*/ 523875 w 2422525"/>
              <a:gd name="connsiteY1" fmla="*/ 0 h 285750"/>
              <a:gd name="connsiteX2" fmla="*/ 2422525 w 2422525"/>
              <a:gd name="connsiteY2" fmla="*/ 0 h 285750"/>
            </a:gdLst>
            <a:ahLst/>
            <a:cxnLst>
              <a:cxn ang="0">
                <a:pos x="connsiteX0" y="connsiteY0"/>
              </a:cxn>
              <a:cxn ang="0">
                <a:pos x="connsiteX1" y="connsiteY1"/>
              </a:cxn>
              <a:cxn ang="0">
                <a:pos x="connsiteX2" y="connsiteY2"/>
              </a:cxn>
            </a:cxnLst>
            <a:rect l="l" t="t" r="r" b="b"/>
            <a:pathLst>
              <a:path w="2422525" h="285750">
                <a:moveTo>
                  <a:pt x="0" y="285750"/>
                </a:moveTo>
                <a:lnTo>
                  <a:pt x="523875" y="0"/>
                </a:lnTo>
                <a:lnTo>
                  <a:pt x="2422525" y="0"/>
                </a:lnTo>
              </a:path>
            </a:pathLst>
          </a:custGeom>
          <a:no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107" name="Freeform 106"/>
          <p:cNvSpPr/>
          <p:nvPr/>
        </p:nvSpPr>
        <p:spPr bwMode="auto">
          <a:xfrm flipH="1">
            <a:off x="1688306" y="5643562"/>
            <a:ext cx="2883694" cy="285750"/>
          </a:xfrm>
          <a:custGeom>
            <a:avLst/>
            <a:gdLst>
              <a:gd name="connsiteX0" fmla="*/ 0 w 2085975"/>
              <a:gd name="connsiteY0" fmla="*/ 285750 h 285750"/>
              <a:gd name="connsiteX1" fmla="*/ 523875 w 2085975"/>
              <a:gd name="connsiteY1" fmla="*/ 0 h 285750"/>
              <a:gd name="connsiteX2" fmla="*/ 2085975 w 2085975"/>
              <a:gd name="connsiteY2" fmla="*/ 0 h 285750"/>
              <a:gd name="connsiteX0" fmla="*/ 0 w 2881313"/>
              <a:gd name="connsiteY0" fmla="*/ 290512 h 290512"/>
              <a:gd name="connsiteX1" fmla="*/ 523875 w 2881313"/>
              <a:gd name="connsiteY1" fmla="*/ 4762 h 290512"/>
              <a:gd name="connsiteX2" fmla="*/ 2881313 w 2881313"/>
              <a:gd name="connsiteY2" fmla="*/ 0 h 290512"/>
              <a:gd name="connsiteX0" fmla="*/ 0 w 2883694"/>
              <a:gd name="connsiteY0" fmla="*/ 285750 h 285750"/>
              <a:gd name="connsiteX1" fmla="*/ 523875 w 2883694"/>
              <a:gd name="connsiteY1" fmla="*/ 0 h 285750"/>
              <a:gd name="connsiteX2" fmla="*/ 2883694 w 2883694"/>
              <a:gd name="connsiteY2" fmla="*/ 1 h 285750"/>
            </a:gdLst>
            <a:ahLst/>
            <a:cxnLst>
              <a:cxn ang="0">
                <a:pos x="connsiteX0" y="connsiteY0"/>
              </a:cxn>
              <a:cxn ang="0">
                <a:pos x="connsiteX1" y="connsiteY1"/>
              </a:cxn>
              <a:cxn ang="0">
                <a:pos x="connsiteX2" y="connsiteY2"/>
              </a:cxn>
            </a:cxnLst>
            <a:rect l="l" t="t" r="r" b="b"/>
            <a:pathLst>
              <a:path w="2883694" h="285750">
                <a:moveTo>
                  <a:pt x="0" y="285750"/>
                </a:moveTo>
                <a:lnTo>
                  <a:pt x="523875" y="0"/>
                </a:lnTo>
                <a:lnTo>
                  <a:pt x="2883694" y="1"/>
                </a:lnTo>
              </a:path>
            </a:pathLst>
          </a:custGeom>
          <a:no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dirty="0"/>
          </a:p>
        </p:txBody>
      </p:sp>
      <p:sp>
        <p:nvSpPr>
          <p:cNvPr id="109" name="Freeform 108"/>
          <p:cNvSpPr/>
          <p:nvPr/>
        </p:nvSpPr>
        <p:spPr bwMode="auto">
          <a:xfrm flipH="1">
            <a:off x="1688306" y="4014787"/>
            <a:ext cx="2883694" cy="285750"/>
          </a:xfrm>
          <a:custGeom>
            <a:avLst/>
            <a:gdLst>
              <a:gd name="connsiteX0" fmla="*/ 0 w 2085975"/>
              <a:gd name="connsiteY0" fmla="*/ 285750 h 285750"/>
              <a:gd name="connsiteX1" fmla="*/ 523875 w 2085975"/>
              <a:gd name="connsiteY1" fmla="*/ 0 h 285750"/>
              <a:gd name="connsiteX2" fmla="*/ 2085975 w 2085975"/>
              <a:gd name="connsiteY2" fmla="*/ 0 h 285750"/>
              <a:gd name="connsiteX0" fmla="*/ 0 w 2881313"/>
              <a:gd name="connsiteY0" fmla="*/ 290512 h 290512"/>
              <a:gd name="connsiteX1" fmla="*/ 523875 w 2881313"/>
              <a:gd name="connsiteY1" fmla="*/ 4762 h 290512"/>
              <a:gd name="connsiteX2" fmla="*/ 2881313 w 2881313"/>
              <a:gd name="connsiteY2" fmla="*/ 0 h 290512"/>
              <a:gd name="connsiteX0" fmla="*/ 0 w 2883694"/>
              <a:gd name="connsiteY0" fmla="*/ 285750 h 285750"/>
              <a:gd name="connsiteX1" fmla="*/ 523875 w 2883694"/>
              <a:gd name="connsiteY1" fmla="*/ 0 h 285750"/>
              <a:gd name="connsiteX2" fmla="*/ 2883694 w 2883694"/>
              <a:gd name="connsiteY2" fmla="*/ 1 h 285750"/>
            </a:gdLst>
            <a:ahLst/>
            <a:cxnLst>
              <a:cxn ang="0">
                <a:pos x="connsiteX0" y="connsiteY0"/>
              </a:cxn>
              <a:cxn ang="0">
                <a:pos x="connsiteX1" y="connsiteY1"/>
              </a:cxn>
              <a:cxn ang="0">
                <a:pos x="connsiteX2" y="connsiteY2"/>
              </a:cxn>
            </a:cxnLst>
            <a:rect l="l" t="t" r="r" b="b"/>
            <a:pathLst>
              <a:path w="2883694" h="285750">
                <a:moveTo>
                  <a:pt x="0" y="285750"/>
                </a:moveTo>
                <a:lnTo>
                  <a:pt x="523875" y="0"/>
                </a:lnTo>
                <a:lnTo>
                  <a:pt x="2883694" y="1"/>
                </a:lnTo>
              </a:path>
            </a:pathLst>
          </a:custGeom>
          <a:no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dirty="0"/>
          </a:p>
        </p:txBody>
      </p:sp>
      <p:grpSp>
        <p:nvGrpSpPr>
          <p:cNvPr id="19" name="Group 18"/>
          <p:cNvGrpSpPr/>
          <p:nvPr/>
        </p:nvGrpSpPr>
        <p:grpSpPr>
          <a:xfrm>
            <a:off x="4380864" y="1624640"/>
            <a:ext cx="3668253" cy="1220185"/>
            <a:chOff x="4488180" y="2428875"/>
            <a:chExt cx="3446145" cy="257175"/>
          </a:xfrm>
        </p:grpSpPr>
        <p:sp>
          <p:nvSpPr>
            <p:cNvPr id="18" name="Freeform 17"/>
            <p:cNvSpPr/>
            <p:nvPr/>
          </p:nvSpPr>
          <p:spPr bwMode="auto">
            <a:xfrm>
              <a:off x="6210300" y="2428875"/>
              <a:ext cx="1724025" cy="257175"/>
            </a:xfrm>
            <a:custGeom>
              <a:avLst/>
              <a:gdLst>
                <a:gd name="connsiteX0" fmla="*/ 0 w 1724025"/>
                <a:gd name="connsiteY0" fmla="*/ 257175 h 257175"/>
                <a:gd name="connsiteX1" fmla="*/ 0 w 1724025"/>
                <a:gd name="connsiteY1" fmla="*/ 0 h 257175"/>
                <a:gd name="connsiteX2" fmla="*/ 1724025 w 1724025"/>
                <a:gd name="connsiteY2" fmla="*/ 0 h 257175"/>
              </a:gdLst>
              <a:ahLst/>
              <a:cxnLst>
                <a:cxn ang="0">
                  <a:pos x="connsiteX0" y="connsiteY0"/>
                </a:cxn>
                <a:cxn ang="0">
                  <a:pos x="connsiteX1" y="connsiteY1"/>
                </a:cxn>
                <a:cxn ang="0">
                  <a:pos x="connsiteX2" y="connsiteY2"/>
                </a:cxn>
              </a:cxnLst>
              <a:rect l="l" t="t" r="r" b="b"/>
              <a:pathLst>
                <a:path w="1724025" h="257175">
                  <a:moveTo>
                    <a:pt x="0" y="257175"/>
                  </a:moveTo>
                  <a:lnTo>
                    <a:pt x="0" y="0"/>
                  </a:lnTo>
                  <a:lnTo>
                    <a:pt x="1724025" y="0"/>
                  </a:lnTo>
                </a:path>
              </a:pathLst>
            </a:custGeom>
            <a:no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111" name="Freeform 110"/>
            <p:cNvSpPr/>
            <p:nvPr/>
          </p:nvSpPr>
          <p:spPr bwMode="auto">
            <a:xfrm flipH="1">
              <a:off x="4488180" y="2428875"/>
              <a:ext cx="1724025" cy="257175"/>
            </a:xfrm>
            <a:custGeom>
              <a:avLst/>
              <a:gdLst>
                <a:gd name="connsiteX0" fmla="*/ 0 w 1724025"/>
                <a:gd name="connsiteY0" fmla="*/ 257175 h 257175"/>
                <a:gd name="connsiteX1" fmla="*/ 0 w 1724025"/>
                <a:gd name="connsiteY1" fmla="*/ 0 h 257175"/>
                <a:gd name="connsiteX2" fmla="*/ 1724025 w 1724025"/>
                <a:gd name="connsiteY2" fmla="*/ 0 h 257175"/>
              </a:gdLst>
              <a:ahLst/>
              <a:cxnLst>
                <a:cxn ang="0">
                  <a:pos x="connsiteX0" y="connsiteY0"/>
                </a:cxn>
                <a:cxn ang="0">
                  <a:pos x="connsiteX1" y="connsiteY1"/>
                </a:cxn>
                <a:cxn ang="0">
                  <a:pos x="connsiteX2" y="connsiteY2"/>
                </a:cxn>
              </a:cxnLst>
              <a:rect l="l" t="t" r="r" b="b"/>
              <a:pathLst>
                <a:path w="1724025" h="257175">
                  <a:moveTo>
                    <a:pt x="0" y="257175"/>
                  </a:moveTo>
                  <a:lnTo>
                    <a:pt x="0" y="0"/>
                  </a:lnTo>
                  <a:lnTo>
                    <a:pt x="1724025" y="0"/>
                  </a:lnTo>
                </a:path>
              </a:pathLst>
            </a:custGeom>
            <a:no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grpSp>
      <p:sp>
        <p:nvSpPr>
          <p:cNvPr id="2" name="Arc 1"/>
          <p:cNvSpPr/>
          <p:nvPr/>
        </p:nvSpPr>
        <p:spPr>
          <a:xfrm>
            <a:off x="5780455" y="4410750"/>
            <a:ext cx="397018" cy="397018"/>
          </a:xfrm>
          <a:prstGeom prst="arc">
            <a:avLst>
              <a:gd name="adj1" fmla="val 10357857"/>
              <a:gd name="adj2" fmla="val 461826"/>
            </a:avLst>
          </a:prstGeom>
          <a:ln w="19050">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27" name="Arc 126"/>
          <p:cNvSpPr/>
          <p:nvPr/>
        </p:nvSpPr>
        <p:spPr>
          <a:xfrm>
            <a:off x="6284771" y="4410750"/>
            <a:ext cx="397018" cy="397018"/>
          </a:xfrm>
          <a:prstGeom prst="arc">
            <a:avLst>
              <a:gd name="adj1" fmla="val 11040807"/>
              <a:gd name="adj2" fmla="val 461826"/>
            </a:avLst>
          </a:prstGeom>
          <a:ln w="190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3" name="Slide Number Placeholder 2"/>
          <p:cNvSpPr>
            <a:spLocks noGrp="1"/>
          </p:cNvSpPr>
          <p:nvPr>
            <p:ph type="sldNum" sz="quarter" idx="11"/>
          </p:nvPr>
        </p:nvSpPr>
        <p:spPr/>
        <p:txBody>
          <a:bodyPr/>
          <a:lstStyle/>
          <a:p>
            <a:pPr>
              <a:defRPr/>
            </a:pPr>
            <a:fld id="{F8A0AC42-AA1D-4944-8D96-660DE70C7E1B}" type="slidenum">
              <a:rPr lang="en-IN" smtClean="0"/>
              <a:pPr>
                <a:defRPr/>
              </a:pPr>
              <a:t>3</a:t>
            </a:fld>
            <a:endParaRPr lang="en-IN" dirty="0"/>
          </a:p>
        </p:txBody>
      </p:sp>
    </p:spTree>
    <p:extLst>
      <p:ext uri="{BB962C8B-B14F-4D97-AF65-F5344CB8AC3E}">
        <p14:creationId xmlns:p14="http://schemas.microsoft.com/office/powerpoint/2010/main" val="706089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down)">
                                      <p:cBhvr>
                                        <p:cTn id="7" dur="500"/>
                                        <p:tgtEl>
                                          <p:spTgt spid="1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grpId="0" nodeType="click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wipe(left)">
                                      <p:cBhvr>
                                        <p:cTn id="16" dur="500"/>
                                        <p:tgtEl>
                                          <p:spTgt spid="17"/>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55"/>
                                        </p:tgtEl>
                                        <p:attrNameLst>
                                          <p:attrName>style.visibility</p:attrName>
                                        </p:attrNameLst>
                                      </p:cBhvr>
                                      <p:to>
                                        <p:strVal val="visible"/>
                                      </p:to>
                                    </p:set>
                                    <p:animEffect transition="in" filter="fade">
                                      <p:cBhvr>
                                        <p:cTn id="20" dur="500"/>
                                        <p:tgtEl>
                                          <p:spTgt spid="55"/>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grpId="0" nodeType="clickEffect">
                                  <p:stCondLst>
                                    <p:cond delay="0"/>
                                  </p:stCondLst>
                                  <p:childTnLst>
                                    <p:set>
                                      <p:cBhvr>
                                        <p:cTn id="24" dur="1" fill="hold">
                                          <p:stCondLst>
                                            <p:cond delay="0"/>
                                          </p:stCondLst>
                                        </p:cTn>
                                        <p:tgtEl>
                                          <p:spTgt spid="106"/>
                                        </p:tgtEl>
                                        <p:attrNameLst>
                                          <p:attrName>style.visibility</p:attrName>
                                        </p:attrNameLst>
                                      </p:cBhvr>
                                      <p:to>
                                        <p:strVal val="visible"/>
                                      </p:to>
                                    </p:set>
                                    <p:animEffect transition="in" filter="wipe(left)">
                                      <p:cBhvr>
                                        <p:cTn id="25" dur="500"/>
                                        <p:tgtEl>
                                          <p:spTgt spid="106"/>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51"/>
                                        </p:tgtEl>
                                        <p:attrNameLst>
                                          <p:attrName>style.visibility</p:attrName>
                                        </p:attrNameLst>
                                      </p:cBhvr>
                                      <p:to>
                                        <p:strVal val="visible"/>
                                      </p:to>
                                    </p:set>
                                    <p:animEffect transition="in" filter="fade">
                                      <p:cBhvr>
                                        <p:cTn id="29" dur="500"/>
                                        <p:tgtEl>
                                          <p:spTgt spid="51"/>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2" fill="hold" grpId="0" nodeType="clickEffect">
                                  <p:stCondLst>
                                    <p:cond delay="0"/>
                                  </p:stCondLst>
                                  <p:childTnLst>
                                    <p:set>
                                      <p:cBhvr>
                                        <p:cTn id="33" dur="1" fill="hold">
                                          <p:stCondLst>
                                            <p:cond delay="0"/>
                                          </p:stCondLst>
                                        </p:cTn>
                                        <p:tgtEl>
                                          <p:spTgt spid="107"/>
                                        </p:tgtEl>
                                        <p:attrNameLst>
                                          <p:attrName>style.visibility</p:attrName>
                                        </p:attrNameLst>
                                      </p:cBhvr>
                                      <p:to>
                                        <p:strVal val="visible"/>
                                      </p:to>
                                    </p:set>
                                    <p:animEffect transition="in" filter="wipe(right)">
                                      <p:cBhvr>
                                        <p:cTn id="34" dur="500"/>
                                        <p:tgtEl>
                                          <p:spTgt spid="107"/>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52"/>
                                        </p:tgtEl>
                                        <p:attrNameLst>
                                          <p:attrName>style.visibility</p:attrName>
                                        </p:attrNameLst>
                                      </p:cBhvr>
                                      <p:to>
                                        <p:strVal val="visible"/>
                                      </p:to>
                                    </p:set>
                                    <p:animEffect transition="in" filter="fade">
                                      <p:cBhvr>
                                        <p:cTn id="38" dur="500"/>
                                        <p:tgtEl>
                                          <p:spTgt spid="52"/>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2" fill="hold" grpId="0" nodeType="clickEffect">
                                  <p:stCondLst>
                                    <p:cond delay="0"/>
                                  </p:stCondLst>
                                  <p:childTnLst>
                                    <p:set>
                                      <p:cBhvr>
                                        <p:cTn id="42" dur="1" fill="hold">
                                          <p:stCondLst>
                                            <p:cond delay="0"/>
                                          </p:stCondLst>
                                        </p:cTn>
                                        <p:tgtEl>
                                          <p:spTgt spid="109"/>
                                        </p:tgtEl>
                                        <p:attrNameLst>
                                          <p:attrName>style.visibility</p:attrName>
                                        </p:attrNameLst>
                                      </p:cBhvr>
                                      <p:to>
                                        <p:strVal val="visible"/>
                                      </p:to>
                                    </p:set>
                                    <p:animEffect transition="in" filter="wipe(right)">
                                      <p:cBhvr>
                                        <p:cTn id="43" dur="500"/>
                                        <p:tgtEl>
                                          <p:spTgt spid="109"/>
                                        </p:tgtEl>
                                      </p:cBhvr>
                                    </p:animEffect>
                                  </p:childTnLst>
                                </p:cTn>
                              </p:par>
                            </p:childTnLst>
                          </p:cTn>
                        </p:par>
                        <p:par>
                          <p:cTn id="44" fill="hold">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50"/>
                                        </p:tgtEl>
                                        <p:attrNameLst>
                                          <p:attrName>style.visibility</p:attrName>
                                        </p:attrNameLst>
                                      </p:cBhvr>
                                      <p:to>
                                        <p:strVal val="visible"/>
                                      </p:to>
                                    </p:set>
                                    <p:animEffect transition="in" filter="fade">
                                      <p:cBhvr>
                                        <p:cTn id="47"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P spid="51" grpId="0"/>
      <p:bldP spid="52" grpId="0"/>
      <p:bldP spid="55" grpId="0"/>
      <p:bldP spid="17" grpId="0" animBg="1"/>
      <p:bldP spid="106" grpId="0" animBg="1"/>
      <p:bldP spid="107" grpId="0" animBg="1"/>
      <p:bldP spid="10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lob storage concepts</a:t>
            </a:r>
            <a:endParaRPr lang="en-US" dirty="0"/>
          </a:p>
        </p:txBody>
      </p:sp>
      <p:sp>
        <p:nvSpPr>
          <p:cNvPr id="26" name="Up Arrow 25"/>
          <p:cNvSpPr/>
          <p:nvPr/>
        </p:nvSpPr>
        <p:spPr bwMode="auto">
          <a:xfrm>
            <a:off x="5047457" y="2013346"/>
            <a:ext cx="459608" cy="523142"/>
          </a:xfrm>
          <a:prstGeom prst="upArrow">
            <a:avLst>
              <a:gd name="adj1" fmla="val 44460"/>
              <a:gd name="adj2" fmla="val 48991"/>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b="1" dirty="0">
              <a:solidFill>
                <a:schemeClr val="bg1"/>
              </a:solidFill>
              <a:latin typeface="+mj-lt"/>
              <a:ea typeface="Segoe UI" pitchFamily="34" charset="0"/>
              <a:cs typeface="Segoe UI" pitchFamily="34" charset="0"/>
            </a:endParaRPr>
          </a:p>
        </p:txBody>
      </p:sp>
      <p:sp>
        <p:nvSpPr>
          <p:cNvPr id="27" name="Up Arrow 26"/>
          <p:cNvSpPr/>
          <p:nvPr/>
        </p:nvSpPr>
        <p:spPr bwMode="auto">
          <a:xfrm>
            <a:off x="9015018" y="2013346"/>
            <a:ext cx="459608" cy="523142"/>
          </a:xfrm>
          <a:prstGeom prst="upArrow">
            <a:avLst>
              <a:gd name="adj1" fmla="val 44460"/>
              <a:gd name="adj2" fmla="val 48991"/>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b="1" dirty="0">
              <a:solidFill>
                <a:schemeClr val="bg1"/>
              </a:solidFill>
              <a:latin typeface="+mj-lt"/>
              <a:ea typeface="Segoe UI" pitchFamily="34" charset="0"/>
              <a:cs typeface="Segoe UI" pitchFamily="34" charset="0"/>
            </a:endParaRPr>
          </a:p>
        </p:txBody>
      </p:sp>
      <p:sp>
        <p:nvSpPr>
          <p:cNvPr id="28" name="Up Arrow 27"/>
          <p:cNvSpPr/>
          <p:nvPr/>
        </p:nvSpPr>
        <p:spPr bwMode="auto">
          <a:xfrm>
            <a:off x="11021019" y="2013346"/>
            <a:ext cx="459608" cy="523142"/>
          </a:xfrm>
          <a:prstGeom prst="upArrow">
            <a:avLst>
              <a:gd name="adj1" fmla="val 44460"/>
              <a:gd name="adj2" fmla="val 48991"/>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b="1" dirty="0">
              <a:solidFill>
                <a:schemeClr val="bg1"/>
              </a:solidFill>
              <a:latin typeface="+mj-lt"/>
              <a:ea typeface="Segoe UI" pitchFamily="34" charset="0"/>
              <a:cs typeface="Segoe UI" pitchFamily="34" charset="0"/>
            </a:endParaRPr>
          </a:p>
        </p:txBody>
      </p:sp>
      <p:sp>
        <p:nvSpPr>
          <p:cNvPr id="9" name="Rectangle 8"/>
          <p:cNvSpPr/>
          <p:nvPr/>
        </p:nvSpPr>
        <p:spPr bwMode="auto">
          <a:xfrm>
            <a:off x="4481436" y="1306025"/>
            <a:ext cx="7528057" cy="698374"/>
          </a:xfrm>
          <a:prstGeom prst="rect">
            <a:avLst/>
          </a:prstGeom>
          <a:solidFill>
            <a:schemeClr val="accent3"/>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8" tIns="91440" rIns="18288" bIns="91440" numCol="1" spcCol="1270" anchor="ctr" anchorCtr="0">
            <a:noAutofit/>
          </a:bodyPr>
          <a:lstStyle/>
          <a:p>
            <a:pPr algn="ctr" defTabSz="725429">
              <a:spcBef>
                <a:spcPct val="0"/>
              </a:spcBef>
              <a:spcAft>
                <a:spcPct val="35000"/>
              </a:spcAft>
            </a:pPr>
            <a:r>
              <a:rPr lang="en-US" sz="2000" spc="-30" dirty="0">
                <a:solidFill>
                  <a:schemeClr val="bg1">
                    <a:alpha val="99000"/>
                  </a:schemeClr>
                </a:solidFill>
              </a:rPr>
              <a:t>http://&lt;account&gt;.blob.core.windows.net/&lt;container&gt;/&lt;blobname</a:t>
            </a:r>
            <a:r>
              <a:rPr lang="en-US" sz="2000" spc="-30" dirty="0" smtClean="0">
                <a:solidFill>
                  <a:schemeClr val="bg1">
                    <a:alpha val="99000"/>
                  </a:schemeClr>
                </a:solidFill>
              </a:rPr>
              <a:t>&gt; </a:t>
            </a:r>
            <a:endParaRPr lang="en-US" sz="2000" spc="-30" dirty="0">
              <a:solidFill>
                <a:schemeClr val="bg1">
                  <a:alpha val="99000"/>
                </a:schemeClr>
              </a:solidFill>
            </a:endParaRPr>
          </a:p>
        </p:txBody>
      </p:sp>
      <p:grpSp>
        <p:nvGrpSpPr>
          <p:cNvPr id="30" name="Group 29"/>
          <p:cNvGrpSpPr/>
          <p:nvPr/>
        </p:nvGrpSpPr>
        <p:grpSpPr>
          <a:xfrm>
            <a:off x="6480149" y="2409826"/>
            <a:ext cx="1517339" cy="4059238"/>
            <a:chOff x="6480149" y="2409826"/>
            <a:chExt cx="1517339" cy="4059238"/>
          </a:xfrm>
        </p:grpSpPr>
        <p:sp>
          <p:nvSpPr>
            <p:cNvPr id="7" name="Rounded Rectangle 68"/>
            <p:cNvSpPr/>
            <p:nvPr/>
          </p:nvSpPr>
          <p:spPr>
            <a:xfrm>
              <a:off x="6480149" y="2409826"/>
              <a:ext cx="1517339" cy="4059238"/>
            </a:xfrm>
            <a:prstGeom prst="rect">
              <a:avLst/>
            </a:prstGeom>
            <a:solidFill>
              <a:schemeClr val="bg1"/>
            </a:solidFill>
            <a:ln w="3175">
              <a:solidFill>
                <a:schemeClr val="bg1">
                  <a:lumMod val="7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wrap="square" lIns="73152" tIns="137160" rIns="73152" bIns="45720">
              <a:noAutofit/>
            </a:bodyPr>
            <a:lstStyle/>
            <a:p>
              <a:pPr algn="ctr"/>
              <a:r>
                <a:rPr lang="en-IN" dirty="0" smtClean="0">
                  <a:solidFill>
                    <a:schemeClr val="accent2"/>
                  </a:solidFill>
                  <a:latin typeface="Segoe UI Semibold" panose="020B0702040204020203" pitchFamily="34" charset="0"/>
                  <a:cs typeface="Segoe UI Semibold" panose="020B0702040204020203" pitchFamily="34" charset="0"/>
                </a:rPr>
                <a:t>Container</a:t>
              </a:r>
              <a:endParaRPr lang="en-IN" dirty="0">
                <a:solidFill>
                  <a:schemeClr val="accent2"/>
                </a:solidFill>
                <a:latin typeface="Segoe UI Semibold" panose="020B0702040204020203" pitchFamily="34" charset="0"/>
                <a:cs typeface="Segoe UI Semibold" panose="020B0702040204020203" pitchFamily="34" charset="0"/>
              </a:endParaRPr>
            </a:p>
          </p:txBody>
        </p:sp>
        <p:sp>
          <p:nvSpPr>
            <p:cNvPr id="11" name="Rounded Rectangle 14"/>
            <p:cNvSpPr/>
            <p:nvPr/>
          </p:nvSpPr>
          <p:spPr>
            <a:xfrm>
              <a:off x="6605566" y="3863652"/>
              <a:ext cx="1266506" cy="91237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r>
                <a:rPr lang="en-US" sz="1600" dirty="0">
                  <a:solidFill>
                    <a:schemeClr val="bg1">
                      <a:alpha val="99000"/>
                    </a:schemeClr>
                  </a:solidFill>
                  <a:latin typeface="Segoe UI Semibold" panose="020B0702040204020203" pitchFamily="34" charset="0"/>
                  <a:cs typeface="Segoe UI Semibold" panose="020B0702040204020203" pitchFamily="34" charset="0"/>
                </a:rPr>
                <a:t>Images</a:t>
              </a:r>
            </a:p>
          </p:txBody>
        </p:sp>
        <p:sp>
          <p:nvSpPr>
            <p:cNvPr id="13" name="Rectangle 12"/>
            <p:cNvSpPr/>
            <p:nvPr/>
          </p:nvSpPr>
          <p:spPr>
            <a:xfrm>
              <a:off x="6605566" y="4917451"/>
              <a:ext cx="1266506" cy="91237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r>
                <a:rPr lang="en-US" sz="1600" dirty="0">
                  <a:solidFill>
                    <a:schemeClr val="bg1">
                      <a:alpha val="99000"/>
                    </a:schemeClr>
                  </a:solidFill>
                  <a:latin typeface="Segoe UI Semibold" panose="020B0702040204020203" pitchFamily="34" charset="0"/>
                  <a:cs typeface="Segoe UI Semibold" panose="020B0702040204020203" pitchFamily="34" charset="0"/>
                </a:rPr>
                <a:t>Video</a:t>
              </a:r>
            </a:p>
          </p:txBody>
        </p:sp>
      </p:grpSp>
      <p:grpSp>
        <p:nvGrpSpPr>
          <p:cNvPr id="3" name="Group 2"/>
          <p:cNvGrpSpPr/>
          <p:nvPr/>
        </p:nvGrpSpPr>
        <p:grpSpPr>
          <a:xfrm>
            <a:off x="10492154" y="2409826"/>
            <a:ext cx="1517339" cy="4059238"/>
            <a:chOff x="10492154" y="2409826"/>
            <a:chExt cx="1517339" cy="4059238"/>
          </a:xfrm>
        </p:grpSpPr>
        <p:sp>
          <p:nvSpPr>
            <p:cNvPr id="10" name="Rounded Rectangle 104"/>
            <p:cNvSpPr/>
            <p:nvPr/>
          </p:nvSpPr>
          <p:spPr>
            <a:xfrm>
              <a:off x="10492154" y="2409826"/>
              <a:ext cx="1517339" cy="4059238"/>
            </a:xfrm>
            <a:prstGeom prst="rect">
              <a:avLst/>
            </a:prstGeom>
            <a:solidFill>
              <a:schemeClr val="bg1"/>
            </a:solidFill>
            <a:ln w="3175">
              <a:solidFill>
                <a:schemeClr val="bg1">
                  <a:lumMod val="7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wrap="square" lIns="73152" tIns="137160" rIns="73152" bIns="45720">
              <a:noAutofit/>
            </a:bodyPr>
            <a:lstStyle/>
            <a:p>
              <a:pPr algn="ctr"/>
              <a:r>
                <a:rPr lang="en-IN" dirty="0" smtClean="0">
                  <a:solidFill>
                    <a:schemeClr val="tx2"/>
                  </a:solidFill>
                  <a:latin typeface="Segoe UI Semibold" panose="020B0702040204020203" pitchFamily="34" charset="0"/>
                  <a:cs typeface="Segoe UI Semibold" panose="020B0702040204020203" pitchFamily="34" charset="0"/>
                </a:rPr>
                <a:t>Page/blocks</a:t>
              </a:r>
              <a:endParaRPr lang="en-IN" dirty="0">
                <a:solidFill>
                  <a:schemeClr val="tx2"/>
                </a:solidFill>
                <a:latin typeface="Segoe UI Semibold" panose="020B0702040204020203" pitchFamily="34" charset="0"/>
                <a:cs typeface="Segoe UI Semibold" panose="020B0702040204020203" pitchFamily="34" charset="0"/>
              </a:endParaRPr>
            </a:p>
          </p:txBody>
        </p:sp>
        <p:sp>
          <p:nvSpPr>
            <p:cNvPr id="15" name="Rounded Rectangle 18"/>
            <p:cNvSpPr/>
            <p:nvPr/>
          </p:nvSpPr>
          <p:spPr>
            <a:xfrm>
              <a:off x="10617570" y="3863652"/>
              <a:ext cx="1266506" cy="912371"/>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r>
                <a:rPr lang="en-US" sz="1600" dirty="0">
                  <a:solidFill>
                    <a:schemeClr val="bg1">
                      <a:alpha val="99000"/>
                    </a:schemeClr>
                  </a:solidFill>
                  <a:latin typeface="Segoe UI Semibold" panose="020B0702040204020203" pitchFamily="34" charset="0"/>
                  <a:cs typeface="Segoe UI Semibold" panose="020B0702040204020203" pitchFamily="34" charset="0"/>
                </a:rPr>
                <a:t>Block/Page</a:t>
              </a:r>
            </a:p>
          </p:txBody>
        </p:sp>
        <p:sp>
          <p:nvSpPr>
            <p:cNvPr id="16" name="Rounded Rectangle 22"/>
            <p:cNvSpPr/>
            <p:nvPr/>
          </p:nvSpPr>
          <p:spPr>
            <a:xfrm>
              <a:off x="10617570" y="4917451"/>
              <a:ext cx="1266506" cy="912371"/>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r>
                <a:rPr lang="en-US" sz="1600" dirty="0">
                  <a:solidFill>
                    <a:schemeClr val="bg1">
                      <a:alpha val="99000"/>
                    </a:schemeClr>
                  </a:solidFill>
                  <a:latin typeface="Segoe UI Semibold" panose="020B0702040204020203" pitchFamily="34" charset="0"/>
                  <a:cs typeface="Segoe UI Semibold" panose="020B0702040204020203" pitchFamily="34" charset="0"/>
                </a:rPr>
                <a:t>Block/Page</a:t>
              </a:r>
            </a:p>
          </p:txBody>
        </p:sp>
      </p:grpSp>
      <p:grpSp>
        <p:nvGrpSpPr>
          <p:cNvPr id="31" name="Group 30"/>
          <p:cNvGrpSpPr/>
          <p:nvPr/>
        </p:nvGrpSpPr>
        <p:grpSpPr>
          <a:xfrm>
            <a:off x="8486153" y="2409826"/>
            <a:ext cx="1517339" cy="4059238"/>
            <a:chOff x="8486153" y="2409826"/>
            <a:chExt cx="1517339" cy="4059238"/>
          </a:xfrm>
        </p:grpSpPr>
        <p:sp>
          <p:nvSpPr>
            <p:cNvPr id="6" name="Rounded Rectangle 65"/>
            <p:cNvSpPr/>
            <p:nvPr/>
          </p:nvSpPr>
          <p:spPr>
            <a:xfrm>
              <a:off x="8486153" y="2409826"/>
              <a:ext cx="1517339" cy="4059238"/>
            </a:xfrm>
            <a:prstGeom prst="rect">
              <a:avLst/>
            </a:prstGeom>
            <a:solidFill>
              <a:schemeClr val="bg1"/>
            </a:solidFill>
            <a:ln w="3175">
              <a:solidFill>
                <a:schemeClr val="bg1">
                  <a:lumMod val="7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wrap="square" lIns="73152" tIns="137160" rIns="73152" bIns="45720">
              <a:noAutofit/>
            </a:bodyPr>
            <a:lstStyle/>
            <a:p>
              <a:pPr algn="ctr"/>
              <a:r>
                <a:rPr lang="en-IN" dirty="0" smtClean="0">
                  <a:solidFill>
                    <a:schemeClr val="accent4"/>
                  </a:solidFill>
                  <a:latin typeface="Segoe UI Semibold" panose="020B0702040204020203" pitchFamily="34" charset="0"/>
                  <a:cs typeface="Segoe UI Semibold" panose="020B0702040204020203" pitchFamily="34" charset="0"/>
                </a:rPr>
                <a:t>Blob</a:t>
              </a:r>
              <a:endParaRPr lang="en-IN" dirty="0">
                <a:solidFill>
                  <a:schemeClr val="accent4"/>
                </a:solidFill>
                <a:latin typeface="Segoe UI Semibold" panose="020B0702040204020203" pitchFamily="34" charset="0"/>
                <a:cs typeface="Segoe UI Semibold" panose="020B0702040204020203" pitchFamily="34" charset="0"/>
              </a:endParaRPr>
            </a:p>
          </p:txBody>
        </p:sp>
        <p:sp>
          <p:nvSpPr>
            <p:cNvPr id="12" name="Rounded Rectangle 18"/>
            <p:cNvSpPr/>
            <p:nvPr/>
          </p:nvSpPr>
          <p:spPr>
            <a:xfrm>
              <a:off x="8611569" y="3336752"/>
              <a:ext cx="1266506" cy="91237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r>
                <a:rPr lang="en-US" sz="1600" dirty="0">
                  <a:solidFill>
                    <a:schemeClr val="bg1">
                      <a:alpha val="99000"/>
                    </a:schemeClr>
                  </a:solidFill>
                  <a:latin typeface="Segoe UI Semibold" panose="020B0702040204020203" pitchFamily="34" charset="0"/>
                  <a:cs typeface="Segoe UI Semibold" panose="020B0702040204020203" pitchFamily="34" charset="0"/>
                </a:rPr>
                <a:t>PIC01.JPG</a:t>
              </a:r>
            </a:p>
          </p:txBody>
        </p:sp>
        <p:sp>
          <p:nvSpPr>
            <p:cNvPr id="14" name="Rounded Rectangle 30"/>
            <p:cNvSpPr/>
            <p:nvPr/>
          </p:nvSpPr>
          <p:spPr>
            <a:xfrm>
              <a:off x="8611569" y="5444355"/>
              <a:ext cx="1266506" cy="91237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r>
                <a:rPr lang="en-US" sz="1600" dirty="0">
                  <a:solidFill>
                    <a:schemeClr val="bg1">
                      <a:alpha val="99000"/>
                    </a:schemeClr>
                  </a:solidFill>
                  <a:latin typeface="Segoe UI Semibold" panose="020B0702040204020203" pitchFamily="34" charset="0"/>
                  <a:cs typeface="Segoe UI Semibold" panose="020B0702040204020203" pitchFamily="34" charset="0"/>
                </a:rPr>
                <a:t>VID1.AVI</a:t>
              </a:r>
            </a:p>
          </p:txBody>
        </p:sp>
        <p:sp>
          <p:nvSpPr>
            <p:cNvPr id="17" name="Rounded Rectangle 22"/>
            <p:cNvSpPr/>
            <p:nvPr/>
          </p:nvSpPr>
          <p:spPr>
            <a:xfrm>
              <a:off x="8611569" y="4390551"/>
              <a:ext cx="1266506" cy="91237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r>
                <a:rPr lang="en-US" sz="1600" dirty="0">
                  <a:solidFill>
                    <a:schemeClr val="bg1">
                      <a:alpha val="99000"/>
                    </a:schemeClr>
                  </a:solidFill>
                  <a:latin typeface="Segoe UI Semibold" panose="020B0702040204020203" pitchFamily="34" charset="0"/>
                  <a:cs typeface="Segoe UI Semibold" panose="020B0702040204020203" pitchFamily="34" charset="0"/>
                </a:rPr>
                <a:t>PIC02.JPG</a:t>
              </a:r>
            </a:p>
          </p:txBody>
        </p:sp>
      </p:grpSp>
      <p:grpSp>
        <p:nvGrpSpPr>
          <p:cNvPr id="29" name="Group 28"/>
          <p:cNvGrpSpPr/>
          <p:nvPr/>
        </p:nvGrpSpPr>
        <p:grpSpPr>
          <a:xfrm>
            <a:off x="4474147" y="2409826"/>
            <a:ext cx="1517339" cy="4059238"/>
            <a:chOff x="4474147" y="2409826"/>
            <a:chExt cx="1517339" cy="4059238"/>
          </a:xfrm>
        </p:grpSpPr>
        <p:sp>
          <p:nvSpPr>
            <p:cNvPr id="8" name="Rounded Rectangle 71"/>
            <p:cNvSpPr/>
            <p:nvPr/>
          </p:nvSpPr>
          <p:spPr>
            <a:xfrm>
              <a:off x="4474147" y="2409826"/>
              <a:ext cx="1517339" cy="4059238"/>
            </a:xfrm>
            <a:prstGeom prst="rect">
              <a:avLst/>
            </a:prstGeom>
            <a:solidFill>
              <a:schemeClr val="bg1"/>
            </a:solidFill>
            <a:ln w="3175">
              <a:solidFill>
                <a:schemeClr val="bg1">
                  <a:lumMod val="7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wrap="square" lIns="73152" tIns="137160" rIns="73152" bIns="45720">
              <a:noAutofit/>
            </a:bodyPr>
            <a:lstStyle/>
            <a:p>
              <a:pPr algn="ctr"/>
              <a:r>
                <a:rPr lang="en-IN" dirty="0" smtClean="0">
                  <a:solidFill>
                    <a:schemeClr val="accent1"/>
                  </a:solidFill>
                  <a:latin typeface="Segoe UI Semibold" panose="020B0702040204020203" pitchFamily="34" charset="0"/>
                  <a:cs typeface="Segoe UI Semibold" panose="020B0702040204020203" pitchFamily="34" charset="0"/>
                </a:rPr>
                <a:t>Account</a:t>
              </a:r>
              <a:endParaRPr lang="en-IN" dirty="0">
                <a:solidFill>
                  <a:schemeClr val="accent1"/>
                </a:solidFill>
                <a:latin typeface="Segoe UI Semibold" panose="020B0702040204020203" pitchFamily="34" charset="0"/>
                <a:cs typeface="Segoe UI Semibold" panose="020B0702040204020203" pitchFamily="34" charset="0"/>
              </a:endParaRPr>
            </a:p>
          </p:txBody>
        </p:sp>
        <p:sp>
          <p:nvSpPr>
            <p:cNvPr id="18" name="Rounded Rectangle 10"/>
            <p:cNvSpPr/>
            <p:nvPr/>
          </p:nvSpPr>
          <p:spPr>
            <a:xfrm>
              <a:off x="4599562" y="4390551"/>
              <a:ext cx="1266506" cy="912371"/>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r>
                <a:rPr lang="en-US" sz="1600" dirty="0">
                  <a:solidFill>
                    <a:schemeClr val="bg1">
                      <a:alpha val="99000"/>
                    </a:schemeClr>
                  </a:solidFill>
                  <a:latin typeface="Segoe UI Semibold" panose="020B0702040204020203" pitchFamily="34" charset="0"/>
                  <a:cs typeface="Segoe UI Semibold" panose="020B0702040204020203" pitchFamily="34" charset="0"/>
                </a:rPr>
                <a:t>Contoso</a:t>
              </a:r>
            </a:p>
          </p:txBody>
        </p:sp>
      </p:grpSp>
      <p:cxnSp>
        <p:nvCxnSpPr>
          <p:cNvPr id="19" name="Straight Arrow Connector 18"/>
          <p:cNvCxnSpPr/>
          <p:nvPr/>
        </p:nvCxnSpPr>
        <p:spPr>
          <a:xfrm flipV="1">
            <a:off x="5991486" y="4288771"/>
            <a:ext cx="488664" cy="367662"/>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5991486" y="5067654"/>
            <a:ext cx="488664" cy="301772"/>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7997488" y="3735814"/>
            <a:ext cx="488664" cy="367662"/>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7997488" y="4514697"/>
            <a:ext cx="488664" cy="301772"/>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7997488" y="5444355"/>
            <a:ext cx="488664" cy="301772"/>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V="1">
            <a:off x="10003490" y="4288771"/>
            <a:ext cx="488664" cy="367662"/>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10003490" y="5067654"/>
            <a:ext cx="488664" cy="301772"/>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11"/>
          </p:nvPr>
        </p:nvSpPr>
        <p:spPr/>
        <p:txBody>
          <a:bodyPr/>
          <a:lstStyle/>
          <a:p>
            <a:pPr>
              <a:defRPr/>
            </a:pPr>
            <a:fld id="{F8A0AC42-AA1D-4944-8D96-660DE70C7E1B}" type="slidenum">
              <a:rPr lang="en-IN" smtClean="0"/>
              <a:pPr>
                <a:defRPr/>
              </a:pPr>
              <a:t>4</a:t>
            </a:fld>
            <a:endParaRPr lang="en-IN" dirty="0"/>
          </a:p>
        </p:txBody>
      </p:sp>
      <p:grpSp>
        <p:nvGrpSpPr>
          <p:cNvPr id="34" name="Group 33"/>
          <p:cNvGrpSpPr/>
          <p:nvPr/>
        </p:nvGrpSpPr>
        <p:grpSpPr>
          <a:xfrm>
            <a:off x="487669" y="1737269"/>
            <a:ext cx="3861060" cy="1446550"/>
            <a:chOff x="603233" y="1238495"/>
            <a:chExt cx="3861060" cy="1446550"/>
          </a:xfrm>
        </p:grpSpPr>
        <p:sp>
          <p:nvSpPr>
            <p:cNvPr id="35" name="Rectangle 34"/>
            <p:cNvSpPr/>
            <p:nvPr/>
          </p:nvSpPr>
          <p:spPr>
            <a:xfrm>
              <a:off x="899886" y="1238495"/>
              <a:ext cx="3564407" cy="1446550"/>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IN" sz="22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tore large amounts of unstructured text or binary data with the fastest read performance</a:t>
              </a:r>
            </a:p>
          </p:txBody>
        </p:sp>
        <p:sp>
          <p:nvSpPr>
            <p:cNvPr id="36" name="Freeform 35"/>
            <p:cNvSpPr>
              <a:spLocks/>
            </p:cNvSpPr>
            <p:nvPr/>
          </p:nvSpPr>
          <p:spPr bwMode="auto">
            <a:xfrm>
              <a:off x="603233" y="136967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sz="2200">
                <a:solidFill>
                  <a:srgbClr val="000000"/>
                </a:solidFill>
              </a:endParaRPr>
            </a:p>
          </p:txBody>
        </p:sp>
      </p:grpSp>
      <p:grpSp>
        <p:nvGrpSpPr>
          <p:cNvPr id="37" name="Group 36"/>
          <p:cNvGrpSpPr/>
          <p:nvPr/>
        </p:nvGrpSpPr>
        <p:grpSpPr>
          <a:xfrm>
            <a:off x="487669" y="3331810"/>
            <a:ext cx="3861060" cy="1107996"/>
            <a:chOff x="603233" y="2288574"/>
            <a:chExt cx="3861060" cy="1107996"/>
          </a:xfrm>
        </p:grpSpPr>
        <p:sp>
          <p:nvSpPr>
            <p:cNvPr id="38" name="Rectangle 37"/>
            <p:cNvSpPr/>
            <p:nvPr/>
          </p:nvSpPr>
          <p:spPr>
            <a:xfrm>
              <a:off x="899886" y="2288574"/>
              <a:ext cx="3564407" cy="1107996"/>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IN" sz="22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ccess a highly scalable, durable, and available file system</a:t>
              </a:r>
            </a:p>
          </p:txBody>
        </p:sp>
        <p:sp>
          <p:nvSpPr>
            <p:cNvPr id="39" name="Freeform 38"/>
            <p:cNvSpPr>
              <a:spLocks/>
            </p:cNvSpPr>
            <p:nvPr/>
          </p:nvSpPr>
          <p:spPr bwMode="auto">
            <a:xfrm>
              <a:off x="603233" y="239837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sz="2200">
                <a:solidFill>
                  <a:srgbClr val="000000"/>
                </a:solidFill>
              </a:endParaRPr>
            </a:p>
          </p:txBody>
        </p:sp>
      </p:grpSp>
      <p:grpSp>
        <p:nvGrpSpPr>
          <p:cNvPr id="40" name="Group 39"/>
          <p:cNvGrpSpPr/>
          <p:nvPr/>
        </p:nvGrpSpPr>
        <p:grpSpPr>
          <a:xfrm>
            <a:off x="487669" y="4587797"/>
            <a:ext cx="3861060" cy="769441"/>
            <a:chOff x="603233" y="3338653"/>
            <a:chExt cx="3861060" cy="769441"/>
          </a:xfrm>
        </p:grpSpPr>
        <p:sp>
          <p:nvSpPr>
            <p:cNvPr id="41" name="Rectangle 40"/>
            <p:cNvSpPr/>
            <p:nvPr/>
          </p:nvSpPr>
          <p:spPr>
            <a:xfrm>
              <a:off x="899886" y="3338653"/>
              <a:ext cx="3564407" cy="769441"/>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IN" sz="22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xpose blobs publically over HTTP</a:t>
              </a:r>
            </a:p>
          </p:txBody>
        </p:sp>
        <p:sp>
          <p:nvSpPr>
            <p:cNvPr id="42" name="Freeform 41"/>
            <p:cNvSpPr>
              <a:spLocks/>
            </p:cNvSpPr>
            <p:nvPr/>
          </p:nvSpPr>
          <p:spPr bwMode="auto">
            <a:xfrm>
              <a:off x="603233" y="3455653"/>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sz="2200">
                <a:solidFill>
                  <a:srgbClr val="000000"/>
                </a:solidFill>
              </a:endParaRPr>
            </a:p>
          </p:txBody>
        </p:sp>
      </p:grpSp>
      <p:grpSp>
        <p:nvGrpSpPr>
          <p:cNvPr id="43" name="Group 42"/>
          <p:cNvGrpSpPr/>
          <p:nvPr/>
        </p:nvGrpSpPr>
        <p:grpSpPr>
          <a:xfrm>
            <a:off x="487669" y="5505230"/>
            <a:ext cx="3861060" cy="769441"/>
            <a:chOff x="603233" y="4388732"/>
            <a:chExt cx="3861060" cy="769441"/>
          </a:xfrm>
        </p:grpSpPr>
        <p:sp>
          <p:nvSpPr>
            <p:cNvPr id="44" name="Rectangle 43"/>
            <p:cNvSpPr/>
            <p:nvPr/>
          </p:nvSpPr>
          <p:spPr>
            <a:xfrm>
              <a:off x="899886" y="4388732"/>
              <a:ext cx="3564407" cy="769441"/>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IN" sz="22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ecurely lock down permissions</a:t>
              </a:r>
            </a:p>
          </p:txBody>
        </p:sp>
        <p:sp>
          <p:nvSpPr>
            <p:cNvPr id="45" name="Freeform 44"/>
            <p:cNvSpPr>
              <a:spLocks/>
            </p:cNvSpPr>
            <p:nvPr/>
          </p:nvSpPr>
          <p:spPr bwMode="auto">
            <a:xfrm>
              <a:off x="603233" y="4503403"/>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sz="2200">
                <a:solidFill>
                  <a:srgbClr val="000000"/>
                </a:solidFill>
              </a:endParaRPr>
            </a:p>
          </p:txBody>
        </p:sp>
      </p:grpSp>
    </p:spTree>
    <p:extLst>
      <p:ext uri="{BB962C8B-B14F-4D97-AF65-F5344CB8AC3E}">
        <p14:creationId xmlns:p14="http://schemas.microsoft.com/office/powerpoint/2010/main" val="143546186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par>
                          <p:cTn id="13" fill="hold">
                            <p:stCondLst>
                              <p:cond delay="500"/>
                            </p:stCondLst>
                            <p:childTnLst>
                              <p:par>
                                <p:cTn id="14" presetID="22" presetClass="entr" presetSubtype="4" fill="hold" grpId="0" nodeType="after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wipe(down)">
                                      <p:cBhvr>
                                        <p:cTn id="16" dur="500"/>
                                        <p:tgtEl>
                                          <p:spTgt spid="26"/>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wipe(left)">
                                      <p:cBhvr>
                                        <p:cTn id="21" dur="500"/>
                                        <p:tgtEl>
                                          <p:spTgt spid="19"/>
                                        </p:tgtEl>
                                      </p:cBhvr>
                                    </p:animEffect>
                                  </p:childTnLst>
                                </p:cTn>
                              </p:par>
                              <p:par>
                                <p:cTn id="22" presetID="22" presetClass="entr" presetSubtype="8" fill="hold"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wipe(left)">
                                      <p:cBhvr>
                                        <p:cTn id="24" dur="500"/>
                                        <p:tgtEl>
                                          <p:spTgt spid="20"/>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500"/>
                                        <p:tgtEl>
                                          <p:spTgt spid="30"/>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wipe(left)">
                                      <p:cBhvr>
                                        <p:cTn id="33" dur="500"/>
                                        <p:tgtEl>
                                          <p:spTgt spid="21"/>
                                        </p:tgtEl>
                                      </p:cBhvr>
                                    </p:animEffect>
                                  </p:childTnLst>
                                </p:cTn>
                              </p:par>
                              <p:par>
                                <p:cTn id="34" presetID="22" presetClass="entr" presetSubtype="8" fill="hold" nodeType="withEffect">
                                  <p:stCondLst>
                                    <p:cond delay="0"/>
                                  </p:stCondLst>
                                  <p:childTnLst>
                                    <p:set>
                                      <p:cBhvr>
                                        <p:cTn id="35" dur="1" fill="hold">
                                          <p:stCondLst>
                                            <p:cond delay="0"/>
                                          </p:stCondLst>
                                        </p:cTn>
                                        <p:tgtEl>
                                          <p:spTgt spid="22"/>
                                        </p:tgtEl>
                                        <p:attrNameLst>
                                          <p:attrName>style.visibility</p:attrName>
                                        </p:attrNameLst>
                                      </p:cBhvr>
                                      <p:to>
                                        <p:strVal val="visible"/>
                                      </p:to>
                                    </p:set>
                                    <p:animEffect transition="in" filter="wipe(left)">
                                      <p:cBhvr>
                                        <p:cTn id="36" dur="500"/>
                                        <p:tgtEl>
                                          <p:spTgt spid="22"/>
                                        </p:tgtEl>
                                      </p:cBhvr>
                                    </p:animEffect>
                                  </p:childTnLst>
                                </p:cTn>
                              </p:par>
                              <p:par>
                                <p:cTn id="37" presetID="22" presetClass="entr" presetSubtype="8" fill="hold" nodeType="with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wipe(left)">
                                      <p:cBhvr>
                                        <p:cTn id="39" dur="500"/>
                                        <p:tgtEl>
                                          <p:spTgt spid="23"/>
                                        </p:tgtEl>
                                      </p:cBhvr>
                                    </p:animEffect>
                                  </p:childTnLst>
                                </p:cTn>
                              </p:par>
                            </p:childTnLst>
                          </p:cTn>
                        </p:par>
                        <p:par>
                          <p:cTn id="40" fill="hold">
                            <p:stCondLst>
                              <p:cond delay="500"/>
                            </p:stCondLst>
                            <p:childTnLst>
                              <p:par>
                                <p:cTn id="41" presetID="10" presetClass="entr" presetSubtype="0" fill="hold" nodeType="after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500"/>
                                        <p:tgtEl>
                                          <p:spTgt spid="31"/>
                                        </p:tgtEl>
                                      </p:cBhvr>
                                    </p:animEffect>
                                  </p:childTnLst>
                                </p:cTn>
                              </p:par>
                            </p:childTnLst>
                          </p:cTn>
                        </p:par>
                        <p:par>
                          <p:cTn id="44" fill="hold">
                            <p:stCondLst>
                              <p:cond delay="1000"/>
                            </p:stCondLst>
                            <p:childTnLst>
                              <p:par>
                                <p:cTn id="45" presetID="22" presetClass="entr" presetSubtype="4" fill="hold" grpId="0" nodeType="afterEffect">
                                  <p:stCondLst>
                                    <p:cond delay="0"/>
                                  </p:stCondLst>
                                  <p:childTnLst>
                                    <p:set>
                                      <p:cBhvr>
                                        <p:cTn id="46" dur="1" fill="hold">
                                          <p:stCondLst>
                                            <p:cond delay="0"/>
                                          </p:stCondLst>
                                        </p:cTn>
                                        <p:tgtEl>
                                          <p:spTgt spid="27"/>
                                        </p:tgtEl>
                                        <p:attrNameLst>
                                          <p:attrName>style.visibility</p:attrName>
                                        </p:attrNameLst>
                                      </p:cBhvr>
                                      <p:to>
                                        <p:strVal val="visible"/>
                                      </p:to>
                                    </p:set>
                                    <p:animEffect transition="in" filter="wipe(down)">
                                      <p:cBhvr>
                                        <p:cTn id="47" dur="500"/>
                                        <p:tgtEl>
                                          <p:spTgt spid="27"/>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nodeType="clickEffect">
                                  <p:stCondLst>
                                    <p:cond delay="0"/>
                                  </p:stCondLst>
                                  <p:childTnLst>
                                    <p:set>
                                      <p:cBhvr>
                                        <p:cTn id="51" dur="1" fill="hold">
                                          <p:stCondLst>
                                            <p:cond delay="0"/>
                                          </p:stCondLst>
                                        </p:cTn>
                                        <p:tgtEl>
                                          <p:spTgt spid="24"/>
                                        </p:tgtEl>
                                        <p:attrNameLst>
                                          <p:attrName>style.visibility</p:attrName>
                                        </p:attrNameLst>
                                      </p:cBhvr>
                                      <p:to>
                                        <p:strVal val="visible"/>
                                      </p:to>
                                    </p:set>
                                    <p:animEffect transition="in" filter="wipe(left)">
                                      <p:cBhvr>
                                        <p:cTn id="52" dur="500"/>
                                        <p:tgtEl>
                                          <p:spTgt spid="24"/>
                                        </p:tgtEl>
                                      </p:cBhvr>
                                    </p:animEffect>
                                  </p:childTnLst>
                                </p:cTn>
                              </p:par>
                              <p:par>
                                <p:cTn id="53" presetID="22" presetClass="entr" presetSubtype="8" fill="hold" nodeType="withEffect">
                                  <p:stCondLst>
                                    <p:cond delay="0"/>
                                  </p:stCondLst>
                                  <p:childTnLst>
                                    <p:set>
                                      <p:cBhvr>
                                        <p:cTn id="54" dur="1" fill="hold">
                                          <p:stCondLst>
                                            <p:cond delay="0"/>
                                          </p:stCondLst>
                                        </p:cTn>
                                        <p:tgtEl>
                                          <p:spTgt spid="25"/>
                                        </p:tgtEl>
                                        <p:attrNameLst>
                                          <p:attrName>style.visibility</p:attrName>
                                        </p:attrNameLst>
                                      </p:cBhvr>
                                      <p:to>
                                        <p:strVal val="visible"/>
                                      </p:to>
                                    </p:set>
                                    <p:animEffect transition="in" filter="wipe(left)">
                                      <p:cBhvr>
                                        <p:cTn id="55" dur="500"/>
                                        <p:tgtEl>
                                          <p:spTgt spid="25"/>
                                        </p:tgtEl>
                                      </p:cBhvr>
                                    </p:animEffect>
                                  </p:childTnLst>
                                </p:cTn>
                              </p:par>
                            </p:childTnLst>
                          </p:cTn>
                        </p:par>
                        <p:par>
                          <p:cTn id="56" fill="hold">
                            <p:stCondLst>
                              <p:cond delay="500"/>
                            </p:stCondLst>
                            <p:childTnLst>
                              <p:par>
                                <p:cTn id="57" presetID="10" presetClass="entr" presetSubtype="0" fill="hold" nodeType="afterEffect">
                                  <p:stCondLst>
                                    <p:cond delay="0"/>
                                  </p:stCondLst>
                                  <p:childTnLst>
                                    <p:set>
                                      <p:cBhvr>
                                        <p:cTn id="58" dur="1" fill="hold">
                                          <p:stCondLst>
                                            <p:cond delay="0"/>
                                          </p:stCondLst>
                                        </p:cTn>
                                        <p:tgtEl>
                                          <p:spTgt spid="3"/>
                                        </p:tgtEl>
                                        <p:attrNameLst>
                                          <p:attrName>style.visibility</p:attrName>
                                        </p:attrNameLst>
                                      </p:cBhvr>
                                      <p:to>
                                        <p:strVal val="visible"/>
                                      </p:to>
                                    </p:set>
                                    <p:animEffect transition="in" filter="fade">
                                      <p:cBhvr>
                                        <p:cTn id="59" dur="500"/>
                                        <p:tgtEl>
                                          <p:spTgt spid="3"/>
                                        </p:tgtEl>
                                      </p:cBhvr>
                                    </p:animEffect>
                                  </p:childTnLst>
                                </p:cTn>
                              </p:par>
                            </p:childTnLst>
                          </p:cTn>
                        </p:par>
                        <p:par>
                          <p:cTn id="60" fill="hold">
                            <p:stCondLst>
                              <p:cond delay="1000"/>
                            </p:stCondLst>
                            <p:childTnLst>
                              <p:par>
                                <p:cTn id="61" presetID="22" presetClass="entr" presetSubtype="4" fill="hold" grpId="0" nodeType="afterEffect">
                                  <p:stCondLst>
                                    <p:cond delay="0"/>
                                  </p:stCondLst>
                                  <p:childTnLst>
                                    <p:set>
                                      <p:cBhvr>
                                        <p:cTn id="62" dur="1" fill="hold">
                                          <p:stCondLst>
                                            <p:cond delay="0"/>
                                          </p:stCondLst>
                                        </p:cTn>
                                        <p:tgtEl>
                                          <p:spTgt spid="28"/>
                                        </p:tgtEl>
                                        <p:attrNameLst>
                                          <p:attrName>style.visibility</p:attrName>
                                        </p:attrNameLst>
                                      </p:cBhvr>
                                      <p:to>
                                        <p:strVal val="visible"/>
                                      </p:to>
                                    </p:set>
                                    <p:animEffect transition="in" filter="wipe(down)">
                                      <p:cBhvr>
                                        <p:cTn id="63" dur="500"/>
                                        <p:tgtEl>
                                          <p:spTgt spid="28"/>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34"/>
                                        </p:tgtEl>
                                        <p:attrNameLst>
                                          <p:attrName>style.visibility</p:attrName>
                                        </p:attrNameLst>
                                      </p:cBhvr>
                                      <p:to>
                                        <p:strVal val="visible"/>
                                      </p:to>
                                    </p:set>
                                    <p:animEffect transition="in" filter="fade">
                                      <p:cBhvr>
                                        <p:cTn id="68" dur="1000"/>
                                        <p:tgtEl>
                                          <p:spTgt spid="34"/>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37"/>
                                        </p:tgtEl>
                                        <p:attrNameLst>
                                          <p:attrName>style.visibility</p:attrName>
                                        </p:attrNameLst>
                                      </p:cBhvr>
                                      <p:to>
                                        <p:strVal val="visible"/>
                                      </p:to>
                                    </p:set>
                                    <p:animEffect transition="in" filter="fade">
                                      <p:cBhvr>
                                        <p:cTn id="73" dur="1000"/>
                                        <p:tgtEl>
                                          <p:spTgt spid="37"/>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nodeType="clickEffect">
                                  <p:stCondLst>
                                    <p:cond delay="0"/>
                                  </p:stCondLst>
                                  <p:childTnLst>
                                    <p:set>
                                      <p:cBhvr>
                                        <p:cTn id="77" dur="1" fill="hold">
                                          <p:stCondLst>
                                            <p:cond delay="0"/>
                                          </p:stCondLst>
                                        </p:cTn>
                                        <p:tgtEl>
                                          <p:spTgt spid="40"/>
                                        </p:tgtEl>
                                        <p:attrNameLst>
                                          <p:attrName>style.visibility</p:attrName>
                                        </p:attrNameLst>
                                      </p:cBhvr>
                                      <p:to>
                                        <p:strVal val="visible"/>
                                      </p:to>
                                    </p:set>
                                    <p:animEffect transition="in" filter="fade">
                                      <p:cBhvr>
                                        <p:cTn id="78" dur="1000"/>
                                        <p:tgtEl>
                                          <p:spTgt spid="40"/>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nodeType="clickEffect">
                                  <p:stCondLst>
                                    <p:cond delay="0"/>
                                  </p:stCondLst>
                                  <p:childTnLst>
                                    <p:set>
                                      <p:cBhvr>
                                        <p:cTn id="82" dur="1" fill="hold">
                                          <p:stCondLst>
                                            <p:cond delay="0"/>
                                          </p:stCondLst>
                                        </p:cTn>
                                        <p:tgtEl>
                                          <p:spTgt spid="43"/>
                                        </p:tgtEl>
                                        <p:attrNameLst>
                                          <p:attrName>style.visibility</p:attrName>
                                        </p:attrNameLst>
                                      </p:cBhvr>
                                      <p:to>
                                        <p:strVal val="visible"/>
                                      </p:to>
                                    </p:set>
                                    <p:animEffect transition="in" filter="fade">
                                      <p:cBhvr>
                                        <p:cTn id="83" dur="10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P spid="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6429983" y="2972"/>
            <a:ext cx="6006492" cy="6946993"/>
            <a:chOff x="6429983" y="-9728"/>
            <a:chExt cx="6006492" cy="6946993"/>
          </a:xfrm>
        </p:grpSpPr>
        <p:sp>
          <p:nvSpPr>
            <p:cNvPr id="1093" name="Freeform 1092"/>
            <p:cNvSpPr>
              <a:spLocks/>
            </p:cNvSpPr>
            <p:nvPr/>
          </p:nvSpPr>
          <p:spPr bwMode="auto">
            <a:xfrm>
              <a:off x="8922686" y="489440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lumMod val="85000"/>
                <a:alpha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372" name="Freeform 23"/>
            <p:cNvSpPr>
              <a:spLocks/>
            </p:cNvSpPr>
            <p:nvPr/>
          </p:nvSpPr>
          <p:spPr bwMode="auto">
            <a:xfrm>
              <a:off x="6951288" y="3547005"/>
              <a:ext cx="95404" cy="25869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3" name="Freeform 24"/>
            <p:cNvSpPr>
              <a:spLocks/>
            </p:cNvSpPr>
            <p:nvPr/>
          </p:nvSpPr>
          <p:spPr bwMode="auto">
            <a:xfrm>
              <a:off x="7118750" y="3547005"/>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4" name="Freeform 29"/>
            <p:cNvSpPr>
              <a:spLocks/>
            </p:cNvSpPr>
            <p:nvPr/>
          </p:nvSpPr>
          <p:spPr bwMode="auto">
            <a:xfrm>
              <a:off x="7286210" y="3547005"/>
              <a:ext cx="95404" cy="25869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5" name="Freeform 17"/>
            <p:cNvSpPr>
              <a:spLocks/>
            </p:cNvSpPr>
            <p:nvPr/>
          </p:nvSpPr>
          <p:spPr bwMode="auto">
            <a:xfrm>
              <a:off x="7453672" y="3547005"/>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76" name="Group 740"/>
            <p:cNvGrpSpPr/>
            <p:nvPr/>
          </p:nvGrpSpPr>
          <p:grpSpPr>
            <a:xfrm>
              <a:off x="6685286" y="3543776"/>
              <a:ext cx="193954" cy="261919"/>
              <a:chOff x="7011958" y="-48945"/>
              <a:chExt cx="557213" cy="752475"/>
            </a:xfrm>
            <a:solidFill>
              <a:schemeClr val="tx1">
                <a:alpha val="12000"/>
              </a:schemeClr>
            </a:solidFill>
          </p:grpSpPr>
          <p:sp>
            <p:nvSpPr>
              <p:cNvPr id="9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7" name="Group 746"/>
            <p:cNvGrpSpPr/>
            <p:nvPr/>
          </p:nvGrpSpPr>
          <p:grpSpPr>
            <a:xfrm>
              <a:off x="8030161" y="3543776"/>
              <a:ext cx="193954" cy="261919"/>
              <a:chOff x="7011958" y="-48945"/>
              <a:chExt cx="557213" cy="752475"/>
            </a:xfrm>
            <a:solidFill>
              <a:schemeClr val="tx1">
                <a:alpha val="7000"/>
              </a:schemeClr>
            </a:solidFill>
          </p:grpSpPr>
          <p:sp>
            <p:nvSpPr>
              <p:cNvPr id="9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78" name="Freeform 19"/>
            <p:cNvSpPr>
              <a:spLocks/>
            </p:cNvSpPr>
            <p:nvPr/>
          </p:nvSpPr>
          <p:spPr bwMode="auto">
            <a:xfrm>
              <a:off x="8296164" y="3547005"/>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85000"/>
                <a:alpha val="5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9" name="Freeform 7"/>
            <p:cNvSpPr>
              <a:spLocks/>
            </p:cNvSpPr>
            <p:nvPr/>
          </p:nvSpPr>
          <p:spPr bwMode="auto">
            <a:xfrm>
              <a:off x="8446955" y="3547005"/>
              <a:ext cx="93570"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alpha val="5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0" name="Freeform 8"/>
            <p:cNvSpPr>
              <a:spLocks/>
            </p:cNvSpPr>
            <p:nvPr/>
          </p:nvSpPr>
          <p:spPr bwMode="auto">
            <a:xfrm>
              <a:off x="8595912" y="3547005"/>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85000"/>
                <a:alpha val="5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86" name="Group 740"/>
            <p:cNvGrpSpPr/>
            <p:nvPr/>
          </p:nvGrpSpPr>
          <p:grpSpPr>
            <a:xfrm>
              <a:off x="8764474" y="3543776"/>
              <a:ext cx="193954" cy="261919"/>
              <a:chOff x="7011958" y="-48945"/>
              <a:chExt cx="557213" cy="752475"/>
            </a:xfrm>
            <a:solidFill>
              <a:schemeClr val="bg1">
                <a:lumMod val="85000"/>
                <a:alpha val="55000"/>
              </a:schemeClr>
            </a:solidFill>
          </p:grpSpPr>
          <p:sp>
            <p:nvSpPr>
              <p:cNvPr id="9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88" name="Freeform 16"/>
            <p:cNvSpPr>
              <a:spLocks noEditPoints="1"/>
            </p:cNvSpPr>
            <p:nvPr/>
          </p:nvSpPr>
          <p:spPr bwMode="auto">
            <a:xfrm>
              <a:off x="10972166" y="3537832"/>
              <a:ext cx="177964" cy="267864"/>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0" name="Freeform 20"/>
            <p:cNvSpPr>
              <a:spLocks noEditPoints="1"/>
            </p:cNvSpPr>
            <p:nvPr/>
          </p:nvSpPr>
          <p:spPr bwMode="auto">
            <a:xfrm>
              <a:off x="11222186" y="3537832"/>
              <a:ext cx="177964" cy="267864"/>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91" name="Group 746"/>
            <p:cNvGrpSpPr/>
            <p:nvPr/>
          </p:nvGrpSpPr>
          <p:grpSpPr>
            <a:xfrm>
              <a:off x="11472215" y="3543776"/>
              <a:ext cx="193954" cy="261919"/>
              <a:chOff x="7011958" y="-48945"/>
              <a:chExt cx="557213" cy="752475"/>
            </a:xfrm>
            <a:solidFill>
              <a:schemeClr val="tx1">
                <a:alpha val="7000"/>
              </a:schemeClr>
            </a:solidFill>
          </p:grpSpPr>
          <p:sp>
            <p:nvSpPr>
              <p:cNvPr id="9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92" name="Freeform 18"/>
            <p:cNvSpPr>
              <a:spLocks noEditPoints="1"/>
            </p:cNvSpPr>
            <p:nvPr/>
          </p:nvSpPr>
          <p:spPr bwMode="auto">
            <a:xfrm>
              <a:off x="12004425" y="3537832"/>
              <a:ext cx="177964" cy="267864"/>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3" name="Freeform 19"/>
            <p:cNvSpPr>
              <a:spLocks/>
            </p:cNvSpPr>
            <p:nvPr/>
          </p:nvSpPr>
          <p:spPr bwMode="auto">
            <a:xfrm>
              <a:off x="12254449" y="3547005"/>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5" name="Freeform 21"/>
            <p:cNvSpPr>
              <a:spLocks noEditPoints="1"/>
            </p:cNvSpPr>
            <p:nvPr/>
          </p:nvSpPr>
          <p:spPr bwMode="auto">
            <a:xfrm>
              <a:off x="11738217" y="3550790"/>
              <a:ext cx="194150" cy="25490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00" name="Freeform 19"/>
            <p:cNvSpPr>
              <a:spLocks/>
            </p:cNvSpPr>
            <p:nvPr/>
          </p:nvSpPr>
          <p:spPr bwMode="auto">
            <a:xfrm>
              <a:off x="11132197" y="3211607"/>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1" name="Freeform 7"/>
            <p:cNvSpPr>
              <a:spLocks/>
            </p:cNvSpPr>
            <p:nvPr/>
          </p:nvSpPr>
          <p:spPr bwMode="auto">
            <a:xfrm>
              <a:off x="11297163" y="3211607"/>
              <a:ext cx="93570"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2" name="Freeform 8"/>
            <p:cNvSpPr>
              <a:spLocks/>
            </p:cNvSpPr>
            <p:nvPr/>
          </p:nvSpPr>
          <p:spPr bwMode="auto">
            <a:xfrm>
              <a:off x="11460294" y="3211607"/>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3" name="Freeform 13"/>
            <p:cNvSpPr>
              <a:spLocks/>
            </p:cNvSpPr>
            <p:nvPr/>
          </p:nvSpPr>
          <p:spPr bwMode="auto">
            <a:xfrm>
              <a:off x="11621589" y="3211607"/>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4" name="Freeform 23"/>
            <p:cNvSpPr>
              <a:spLocks/>
            </p:cNvSpPr>
            <p:nvPr/>
          </p:nvSpPr>
          <p:spPr bwMode="auto">
            <a:xfrm>
              <a:off x="12050069" y="3211607"/>
              <a:ext cx="95404" cy="25869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5" name="Freeform 24"/>
            <p:cNvSpPr>
              <a:spLocks/>
            </p:cNvSpPr>
            <p:nvPr/>
          </p:nvSpPr>
          <p:spPr bwMode="auto">
            <a:xfrm>
              <a:off x="12215038" y="3211607"/>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406" name="Group 740"/>
            <p:cNvGrpSpPr/>
            <p:nvPr/>
          </p:nvGrpSpPr>
          <p:grpSpPr>
            <a:xfrm>
              <a:off x="11786561" y="3208379"/>
              <a:ext cx="193954" cy="261919"/>
              <a:chOff x="7011958" y="-48945"/>
              <a:chExt cx="557213" cy="752475"/>
            </a:xfrm>
            <a:solidFill>
              <a:schemeClr val="tx1">
                <a:alpha val="12000"/>
              </a:schemeClr>
            </a:solidFill>
          </p:grpSpPr>
          <p:sp>
            <p:nvSpPr>
              <p:cNvPr id="9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07" name="Freeform 18"/>
            <p:cNvSpPr>
              <a:spLocks noEditPoints="1"/>
            </p:cNvSpPr>
            <p:nvPr/>
          </p:nvSpPr>
          <p:spPr bwMode="auto">
            <a:xfrm>
              <a:off x="9735263" y="3202434"/>
              <a:ext cx="177964" cy="267864"/>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8" name="Freeform 20"/>
            <p:cNvSpPr>
              <a:spLocks noEditPoints="1"/>
            </p:cNvSpPr>
            <p:nvPr/>
          </p:nvSpPr>
          <p:spPr bwMode="auto">
            <a:xfrm>
              <a:off x="9982788" y="3202434"/>
              <a:ext cx="177964" cy="267864"/>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9" name="Freeform 16"/>
            <p:cNvSpPr>
              <a:spLocks noEditPoints="1"/>
            </p:cNvSpPr>
            <p:nvPr/>
          </p:nvSpPr>
          <p:spPr bwMode="auto">
            <a:xfrm>
              <a:off x="10721540" y="3202434"/>
              <a:ext cx="177964" cy="267864"/>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0" name="Freeform 5"/>
            <p:cNvSpPr>
              <a:spLocks/>
            </p:cNvSpPr>
            <p:nvPr/>
          </p:nvSpPr>
          <p:spPr bwMode="auto">
            <a:xfrm>
              <a:off x="10969066" y="3211608"/>
              <a:ext cx="93570"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1" name="Freeform 23"/>
            <p:cNvSpPr>
              <a:spLocks/>
            </p:cNvSpPr>
            <p:nvPr/>
          </p:nvSpPr>
          <p:spPr bwMode="auto">
            <a:xfrm>
              <a:off x="10230314" y="3211607"/>
              <a:ext cx="95404" cy="25869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2" name="Freeform 24"/>
            <p:cNvSpPr>
              <a:spLocks/>
            </p:cNvSpPr>
            <p:nvPr/>
          </p:nvSpPr>
          <p:spPr bwMode="auto">
            <a:xfrm>
              <a:off x="10395279" y="3211607"/>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3" name="Freeform 17"/>
            <p:cNvSpPr>
              <a:spLocks/>
            </p:cNvSpPr>
            <p:nvPr/>
          </p:nvSpPr>
          <p:spPr bwMode="auto">
            <a:xfrm>
              <a:off x="10560245" y="3211607"/>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417" name="Group 746"/>
            <p:cNvGrpSpPr/>
            <p:nvPr/>
          </p:nvGrpSpPr>
          <p:grpSpPr>
            <a:xfrm>
              <a:off x="7080049" y="3208379"/>
              <a:ext cx="193954" cy="261919"/>
              <a:chOff x="7011958" y="-48945"/>
              <a:chExt cx="557213" cy="752475"/>
            </a:xfrm>
            <a:solidFill>
              <a:schemeClr val="tx1">
                <a:alpha val="7000"/>
              </a:schemeClr>
            </a:solidFill>
          </p:grpSpPr>
          <p:sp>
            <p:nvSpPr>
              <p:cNvPr id="9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18" name="Freeform 19"/>
            <p:cNvSpPr>
              <a:spLocks/>
            </p:cNvSpPr>
            <p:nvPr/>
          </p:nvSpPr>
          <p:spPr bwMode="auto">
            <a:xfrm>
              <a:off x="7343556" y="3211607"/>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9" name="Freeform 7"/>
            <p:cNvSpPr>
              <a:spLocks/>
            </p:cNvSpPr>
            <p:nvPr/>
          </p:nvSpPr>
          <p:spPr bwMode="auto">
            <a:xfrm>
              <a:off x="7508521" y="3211607"/>
              <a:ext cx="93570"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0" name="Freeform 8"/>
            <p:cNvSpPr>
              <a:spLocks/>
            </p:cNvSpPr>
            <p:nvPr/>
          </p:nvSpPr>
          <p:spPr bwMode="auto">
            <a:xfrm>
              <a:off x="7671652" y="3211607"/>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2" name="Freeform 8"/>
            <p:cNvSpPr>
              <a:spLocks/>
            </p:cNvSpPr>
            <p:nvPr/>
          </p:nvSpPr>
          <p:spPr bwMode="auto">
            <a:xfrm>
              <a:off x="7832948" y="3211607"/>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3" name="Freeform 23"/>
            <p:cNvSpPr>
              <a:spLocks/>
            </p:cNvSpPr>
            <p:nvPr/>
          </p:nvSpPr>
          <p:spPr bwMode="auto">
            <a:xfrm>
              <a:off x="8257758" y="3211607"/>
              <a:ext cx="95404" cy="25869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85000"/>
                <a:alpha val="5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4" name="Freeform 24"/>
            <p:cNvSpPr>
              <a:spLocks/>
            </p:cNvSpPr>
            <p:nvPr/>
          </p:nvSpPr>
          <p:spPr bwMode="auto">
            <a:xfrm>
              <a:off x="8422724" y="3211607"/>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alpha val="5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5" name="Freeform 17"/>
            <p:cNvSpPr>
              <a:spLocks/>
            </p:cNvSpPr>
            <p:nvPr/>
          </p:nvSpPr>
          <p:spPr bwMode="auto">
            <a:xfrm>
              <a:off x="8587689" y="3211607"/>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85000"/>
                <a:alpha val="5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426" name="Group 740"/>
            <p:cNvGrpSpPr/>
            <p:nvPr/>
          </p:nvGrpSpPr>
          <p:grpSpPr>
            <a:xfrm>
              <a:off x="7994251" y="3208379"/>
              <a:ext cx="193954" cy="261919"/>
              <a:chOff x="7011958" y="-48945"/>
              <a:chExt cx="557213" cy="752475"/>
            </a:xfrm>
            <a:solidFill>
              <a:schemeClr val="bg1">
                <a:lumMod val="85000"/>
                <a:alpha val="55000"/>
              </a:schemeClr>
            </a:solidFill>
          </p:grpSpPr>
          <p:sp>
            <p:nvSpPr>
              <p:cNvPr id="9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7" name="Freeform 18"/>
            <p:cNvSpPr>
              <a:spLocks noEditPoints="1"/>
            </p:cNvSpPr>
            <p:nvPr/>
          </p:nvSpPr>
          <p:spPr bwMode="auto">
            <a:xfrm>
              <a:off x="8748985" y="3202434"/>
              <a:ext cx="177964" cy="267864"/>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85000"/>
                <a:alpha val="5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8" name="Freeform 20"/>
            <p:cNvSpPr>
              <a:spLocks noEditPoints="1"/>
            </p:cNvSpPr>
            <p:nvPr/>
          </p:nvSpPr>
          <p:spPr bwMode="auto">
            <a:xfrm>
              <a:off x="8996510" y="3202434"/>
              <a:ext cx="177964" cy="267864"/>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9" name="Freeform 23"/>
            <p:cNvSpPr>
              <a:spLocks/>
            </p:cNvSpPr>
            <p:nvPr/>
          </p:nvSpPr>
          <p:spPr bwMode="auto">
            <a:xfrm>
              <a:off x="9244036" y="3211607"/>
              <a:ext cx="95404" cy="25869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0" name="Freeform 24"/>
            <p:cNvSpPr>
              <a:spLocks/>
            </p:cNvSpPr>
            <p:nvPr/>
          </p:nvSpPr>
          <p:spPr bwMode="auto">
            <a:xfrm>
              <a:off x="9409002" y="3211607"/>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1" name="Freeform 17"/>
            <p:cNvSpPr>
              <a:spLocks/>
            </p:cNvSpPr>
            <p:nvPr/>
          </p:nvSpPr>
          <p:spPr bwMode="auto">
            <a:xfrm>
              <a:off x="9573967" y="3211607"/>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2" name="Freeform 18"/>
            <p:cNvSpPr>
              <a:spLocks noEditPoints="1"/>
            </p:cNvSpPr>
            <p:nvPr/>
          </p:nvSpPr>
          <p:spPr bwMode="auto">
            <a:xfrm>
              <a:off x="8907574" y="2819643"/>
              <a:ext cx="177964" cy="267864"/>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3" name="Freeform 19"/>
            <p:cNvSpPr>
              <a:spLocks/>
            </p:cNvSpPr>
            <p:nvPr/>
          </p:nvSpPr>
          <p:spPr bwMode="auto">
            <a:xfrm>
              <a:off x="9157868" y="2828817"/>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4" name="Freeform 7"/>
            <p:cNvSpPr>
              <a:spLocks/>
            </p:cNvSpPr>
            <p:nvPr/>
          </p:nvSpPr>
          <p:spPr bwMode="auto">
            <a:xfrm>
              <a:off x="9325600" y="2828817"/>
              <a:ext cx="93570"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5" name="Freeform 8"/>
            <p:cNvSpPr>
              <a:spLocks/>
            </p:cNvSpPr>
            <p:nvPr/>
          </p:nvSpPr>
          <p:spPr bwMode="auto">
            <a:xfrm>
              <a:off x="9491499" y="2828816"/>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6" name="Freeform 13"/>
            <p:cNvSpPr>
              <a:spLocks/>
            </p:cNvSpPr>
            <p:nvPr/>
          </p:nvSpPr>
          <p:spPr bwMode="auto">
            <a:xfrm>
              <a:off x="9655563" y="2828817"/>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7" name="Freeform 23"/>
            <p:cNvSpPr>
              <a:spLocks/>
            </p:cNvSpPr>
            <p:nvPr/>
          </p:nvSpPr>
          <p:spPr bwMode="auto">
            <a:xfrm>
              <a:off x="10089577" y="2828817"/>
              <a:ext cx="95404" cy="25869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8" name="Freeform 24"/>
            <p:cNvSpPr>
              <a:spLocks/>
            </p:cNvSpPr>
            <p:nvPr/>
          </p:nvSpPr>
          <p:spPr bwMode="auto">
            <a:xfrm>
              <a:off x="10257311" y="2828817"/>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9" name="Freeform 29"/>
            <p:cNvSpPr>
              <a:spLocks/>
            </p:cNvSpPr>
            <p:nvPr/>
          </p:nvSpPr>
          <p:spPr bwMode="auto">
            <a:xfrm>
              <a:off x="10425043" y="2828817"/>
              <a:ext cx="95404" cy="25869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0" name="Freeform 17"/>
            <p:cNvSpPr>
              <a:spLocks/>
            </p:cNvSpPr>
            <p:nvPr/>
          </p:nvSpPr>
          <p:spPr bwMode="auto">
            <a:xfrm>
              <a:off x="10592777" y="2828816"/>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441" name="Group 740"/>
            <p:cNvGrpSpPr/>
            <p:nvPr/>
          </p:nvGrpSpPr>
          <p:grpSpPr>
            <a:xfrm>
              <a:off x="9823303" y="2825587"/>
              <a:ext cx="193954" cy="261919"/>
              <a:chOff x="7011958" y="-48945"/>
              <a:chExt cx="557213" cy="752475"/>
            </a:xfrm>
            <a:solidFill>
              <a:schemeClr val="bg1">
                <a:lumMod val="75000"/>
              </a:schemeClr>
            </a:solidFill>
          </p:grpSpPr>
          <p:sp>
            <p:nvSpPr>
              <p:cNvPr id="9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42" name="Group 746"/>
            <p:cNvGrpSpPr/>
            <p:nvPr/>
          </p:nvGrpSpPr>
          <p:grpSpPr>
            <a:xfrm>
              <a:off x="11169810" y="2825587"/>
              <a:ext cx="193954" cy="261919"/>
              <a:chOff x="7011958" y="-48945"/>
              <a:chExt cx="557213" cy="752475"/>
            </a:xfrm>
            <a:solidFill>
              <a:schemeClr val="tx1">
                <a:alpha val="7000"/>
              </a:schemeClr>
            </a:solidFill>
          </p:grpSpPr>
          <p:sp>
            <p:nvSpPr>
              <p:cNvPr id="9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43" name="Freeform 19"/>
            <p:cNvSpPr>
              <a:spLocks/>
            </p:cNvSpPr>
            <p:nvPr/>
          </p:nvSpPr>
          <p:spPr bwMode="auto">
            <a:xfrm>
              <a:off x="11436084" y="2828817"/>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4" name="Freeform 7"/>
            <p:cNvSpPr>
              <a:spLocks/>
            </p:cNvSpPr>
            <p:nvPr/>
          </p:nvSpPr>
          <p:spPr bwMode="auto">
            <a:xfrm>
              <a:off x="11603818" y="2828817"/>
              <a:ext cx="93570"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5" name="Freeform 8"/>
            <p:cNvSpPr>
              <a:spLocks/>
            </p:cNvSpPr>
            <p:nvPr/>
          </p:nvSpPr>
          <p:spPr bwMode="auto">
            <a:xfrm>
              <a:off x="11769716" y="2828816"/>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6" name="Freeform 23"/>
            <p:cNvSpPr>
              <a:spLocks/>
            </p:cNvSpPr>
            <p:nvPr/>
          </p:nvSpPr>
          <p:spPr bwMode="auto">
            <a:xfrm>
              <a:off x="12200061" y="2828817"/>
              <a:ext cx="95404" cy="25869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447" name="Group 740"/>
            <p:cNvGrpSpPr/>
            <p:nvPr/>
          </p:nvGrpSpPr>
          <p:grpSpPr>
            <a:xfrm>
              <a:off x="11933787" y="2825587"/>
              <a:ext cx="193954" cy="261919"/>
              <a:chOff x="7011958" y="-48945"/>
              <a:chExt cx="557213" cy="752475"/>
            </a:xfrm>
            <a:solidFill>
              <a:schemeClr val="tx1">
                <a:alpha val="12000"/>
              </a:schemeClr>
            </a:solidFill>
          </p:grpSpPr>
          <p:sp>
            <p:nvSpPr>
              <p:cNvPr id="9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53" name="Group 746"/>
            <p:cNvGrpSpPr/>
            <p:nvPr/>
          </p:nvGrpSpPr>
          <p:grpSpPr>
            <a:xfrm>
              <a:off x="10202797" y="2487483"/>
              <a:ext cx="193954" cy="261919"/>
              <a:chOff x="7011958" y="-48945"/>
              <a:chExt cx="557213" cy="752475"/>
            </a:xfrm>
            <a:solidFill>
              <a:schemeClr val="tx1">
                <a:alpha val="7000"/>
              </a:schemeClr>
            </a:solidFill>
          </p:grpSpPr>
          <p:sp>
            <p:nvSpPr>
              <p:cNvPr id="9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54" name="Freeform 19"/>
            <p:cNvSpPr>
              <a:spLocks/>
            </p:cNvSpPr>
            <p:nvPr/>
          </p:nvSpPr>
          <p:spPr bwMode="auto">
            <a:xfrm>
              <a:off x="10466652" y="2490712"/>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5" name="Freeform 7"/>
            <p:cNvSpPr>
              <a:spLocks/>
            </p:cNvSpPr>
            <p:nvPr/>
          </p:nvSpPr>
          <p:spPr bwMode="auto">
            <a:xfrm>
              <a:off x="10631965" y="2490712"/>
              <a:ext cx="93570"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6" name="Freeform 8"/>
            <p:cNvSpPr>
              <a:spLocks/>
            </p:cNvSpPr>
            <p:nvPr/>
          </p:nvSpPr>
          <p:spPr bwMode="auto">
            <a:xfrm>
              <a:off x="10795443" y="2490712"/>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8" name="Freeform 8"/>
            <p:cNvSpPr>
              <a:spLocks/>
            </p:cNvSpPr>
            <p:nvPr/>
          </p:nvSpPr>
          <p:spPr bwMode="auto">
            <a:xfrm>
              <a:off x="10957086" y="2490712"/>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9" name="Freeform 23"/>
            <p:cNvSpPr>
              <a:spLocks/>
            </p:cNvSpPr>
            <p:nvPr/>
          </p:nvSpPr>
          <p:spPr bwMode="auto">
            <a:xfrm>
              <a:off x="11382590" y="2490712"/>
              <a:ext cx="95404" cy="25869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0" name="Freeform 24"/>
            <p:cNvSpPr>
              <a:spLocks/>
            </p:cNvSpPr>
            <p:nvPr/>
          </p:nvSpPr>
          <p:spPr bwMode="auto">
            <a:xfrm>
              <a:off x="11547903" y="2490712"/>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1" name="Freeform 17"/>
            <p:cNvSpPr>
              <a:spLocks/>
            </p:cNvSpPr>
            <p:nvPr/>
          </p:nvSpPr>
          <p:spPr bwMode="auto">
            <a:xfrm>
              <a:off x="11713216" y="2490712"/>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462" name="Group 740"/>
            <p:cNvGrpSpPr/>
            <p:nvPr/>
          </p:nvGrpSpPr>
          <p:grpSpPr>
            <a:xfrm>
              <a:off x="11118735" y="2487483"/>
              <a:ext cx="193954" cy="261919"/>
              <a:chOff x="7011958" y="-48945"/>
              <a:chExt cx="557213" cy="752475"/>
            </a:xfrm>
            <a:solidFill>
              <a:schemeClr val="tx1">
                <a:alpha val="12000"/>
              </a:schemeClr>
            </a:solidFill>
          </p:grpSpPr>
          <p:sp>
            <p:nvSpPr>
              <p:cNvPr id="8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63" name="Freeform 18"/>
            <p:cNvSpPr>
              <a:spLocks noEditPoints="1"/>
            </p:cNvSpPr>
            <p:nvPr/>
          </p:nvSpPr>
          <p:spPr bwMode="auto">
            <a:xfrm>
              <a:off x="11874859" y="2481539"/>
              <a:ext cx="177964" cy="267864"/>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4" name="Freeform 20"/>
            <p:cNvSpPr>
              <a:spLocks noEditPoints="1"/>
            </p:cNvSpPr>
            <p:nvPr/>
          </p:nvSpPr>
          <p:spPr bwMode="auto">
            <a:xfrm>
              <a:off x="12122734" y="2481539"/>
              <a:ext cx="177964" cy="267864"/>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0" name="Freeform 16"/>
            <p:cNvSpPr>
              <a:spLocks noEditPoints="1"/>
            </p:cNvSpPr>
            <p:nvPr/>
          </p:nvSpPr>
          <p:spPr bwMode="auto">
            <a:xfrm>
              <a:off x="7076666" y="2819643"/>
              <a:ext cx="177964" cy="267864"/>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1" name="Freeform 16"/>
            <p:cNvSpPr>
              <a:spLocks noEditPoints="1"/>
            </p:cNvSpPr>
            <p:nvPr/>
          </p:nvSpPr>
          <p:spPr bwMode="auto">
            <a:xfrm>
              <a:off x="7492858" y="2819643"/>
              <a:ext cx="177964" cy="267864"/>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2" name="Freeform 5"/>
            <p:cNvSpPr>
              <a:spLocks/>
            </p:cNvSpPr>
            <p:nvPr/>
          </p:nvSpPr>
          <p:spPr bwMode="auto">
            <a:xfrm>
              <a:off x="7326960" y="2828817"/>
              <a:ext cx="93570"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3" name="Freeform 20"/>
            <p:cNvSpPr>
              <a:spLocks noEditPoints="1"/>
            </p:cNvSpPr>
            <p:nvPr/>
          </p:nvSpPr>
          <p:spPr bwMode="auto">
            <a:xfrm>
              <a:off x="7743151" y="2819643"/>
              <a:ext cx="177964" cy="267864"/>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474" name="Group 746"/>
            <p:cNvGrpSpPr/>
            <p:nvPr/>
          </p:nvGrpSpPr>
          <p:grpSpPr>
            <a:xfrm>
              <a:off x="7993452" y="2825587"/>
              <a:ext cx="193954" cy="261919"/>
              <a:chOff x="7011958" y="-48945"/>
              <a:chExt cx="557213" cy="752475"/>
            </a:xfrm>
            <a:solidFill>
              <a:schemeClr val="bg1">
                <a:lumMod val="85000"/>
                <a:alpha val="55000"/>
              </a:schemeClr>
            </a:solidFill>
          </p:grpSpPr>
          <p:sp>
            <p:nvSpPr>
              <p:cNvPr id="8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75" name="Freeform 18"/>
            <p:cNvSpPr>
              <a:spLocks noEditPoints="1"/>
            </p:cNvSpPr>
            <p:nvPr/>
          </p:nvSpPr>
          <p:spPr bwMode="auto">
            <a:xfrm>
              <a:off x="8526205" y="2819643"/>
              <a:ext cx="177964" cy="267864"/>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85000"/>
                <a:alpha val="5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6" name="Freeform 19"/>
            <p:cNvSpPr>
              <a:spLocks/>
            </p:cNvSpPr>
            <p:nvPr/>
          </p:nvSpPr>
          <p:spPr bwMode="auto">
            <a:xfrm>
              <a:off x="8776495" y="2828817"/>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7" name="Freeform 21"/>
            <p:cNvSpPr>
              <a:spLocks noEditPoints="1"/>
            </p:cNvSpPr>
            <p:nvPr/>
          </p:nvSpPr>
          <p:spPr bwMode="auto">
            <a:xfrm>
              <a:off x="8259726" y="2832602"/>
              <a:ext cx="194150" cy="25490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bg1">
                <a:lumMod val="85000"/>
                <a:alpha val="5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79" name="Freeform 24"/>
            <p:cNvSpPr>
              <a:spLocks/>
            </p:cNvSpPr>
            <p:nvPr/>
          </p:nvSpPr>
          <p:spPr bwMode="auto">
            <a:xfrm>
              <a:off x="6744871" y="2828817"/>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0" name="Freeform 17"/>
            <p:cNvSpPr>
              <a:spLocks/>
            </p:cNvSpPr>
            <p:nvPr/>
          </p:nvSpPr>
          <p:spPr bwMode="auto">
            <a:xfrm>
              <a:off x="6912604" y="2828816"/>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0" name="Freeform 16"/>
            <p:cNvSpPr>
              <a:spLocks noEditPoints="1"/>
            </p:cNvSpPr>
            <p:nvPr/>
          </p:nvSpPr>
          <p:spPr bwMode="auto">
            <a:xfrm>
              <a:off x="7227851" y="2481539"/>
              <a:ext cx="177964" cy="267864"/>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1" name="Freeform 5"/>
            <p:cNvSpPr>
              <a:spLocks/>
            </p:cNvSpPr>
            <p:nvPr/>
          </p:nvSpPr>
          <p:spPr bwMode="auto">
            <a:xfrm>
              <a:off x="7475724" y="2490713"/>
              <a:ext cx="93570"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3" name="Freeform 24"/>
            <p:cNvSpPr>
              <a:spLocks/>
            </p:cNvSpPr>
            <p:nvPr/>
          </p:nvSpPr>
          <p:spPr bwMode="auto">
            <a:xfrm>
              <a:off x="6900895" y="2490712"/>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4" name="Freeform 17"/>
            <p:cNvSpPr>
              <a:spLocks/>
            </p:cNvSpPr>
            <p:nvPr/>
          </p:nvSpPr>
          <p:spPr bwMode="auto">
            <a:xfrm>
              <a:off x="7066208" y="2490712"/>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6" name="Freeform 23"/>
            <p:cNvSpPr>
              <a:spLocks/>
            </p:cNvSpPr>
            <p:nvPr/>
          </p:nvSpPr>
          <p:spPr bwMode="auto">
            <a:xfrm>
              <a:off x="6965424" y="2112281"/>
              <a:ext cx="95404" cy="25869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7" name="Freeform 24"/>
            <p:cNvSpPr>
              <a:spLocks/>
            </p:cNvSpPr>
            <p:nvPr/>
          </p:nvSpPr>
          <p:spPr bwMode="auto">
            <a:xfrm>
              <a:off x="7132885" y="2112281"/>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8" name="Freeform 29"/>
            <p:cNvSpPr>
              <a:spLocks/>
            </p:cNvSpPr>
            <p:nvPr/>
          </p:nvSpPr>
          <p:spPr bwMode="auto">
            <a:xfrm>
              <a:off x="7300346" y="2112281"/>
              <a:ext cx="95404" cy="25869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9" name="Freeform 17"/>
            <p:cNvSpPr>
              <a:spLocks/>
            </p:cNvSpPr>
            <p:nvPr/>
          </p:nvSpPr>
          <p:spPr bwMode="auto">
            <a:xfrm>
              <a:off x="7467807" y="2112281"/>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85000"/>
                <a:alpha val="5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510" name="Group 740"/>
            <p:cNvGrpSpPr/>
            <p:nvPr/>
          </p:nvGrpSpPr>
          <p:grpSpPr>
            <a:xfrm>
              <a:off x="6699422" y="2109052"/>
              <a:ext cx="193954" cy="261919"/>
              <a:chOff x="7011958" y="-48945"/>
              <a:chExt cx="557213" cy="752475"/>
            </a:xfrm>
            <a:solidFill>
              <a:schemeClr val="tx1">
                <a:alpha val="12000"/>
              </a:schemeClr>
            </a:solidFill>
          </p:grpSpPr>
          <p:sp>
            <p:nvSpPr>
              <p:cNvPr id="8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11" name="Group 746"/>
            <p:cNvGrpSpPr/>
            <p:nvPr/>
          </p:nvGrpSpPr>
          <p:grpSpPr>
            <a:xfrm>
              <a:off x="8044296" y="2109052"/>
              <a:ext cx="193954" cy="261919"/>
              <a:chOff x="7011958" y="-48945"/>
              <a:chExt cx="557213" cy="752475"/>
            </a:xfrm>
            <a:solidFill>
              <a:schemeClr val="bg1">
                <a:lumMod val="85000"/>
                <a:alpha val="55000"/>
              </a:schemeClr>
            </a:solidFill>
          </p:grpSpPr>
          <p:sp>
            <p:nvSpPr>
              <p:cNvPr id="88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12" name="Freeform 19"/>
            <p:cNvSpPr>
              <a:spLocks/>
            </p:cNvSpPr>
            <p:nvPr/>
          </p:nvSpPr>
          <p:spPr bwMode="auto">
            <a:xfrm>
              <a:off x="8310299" y="2112281"/>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3" name="Freeform 7"/>
            <p:cNvSpPr>
              <a:spLocks/>
            </p:cNvSpPr>
            <p:nvPr/>
          </p:nvSpPr>
          <p:spPr bwMode="auto">
            <a:xfrm>
              <a:off x="8477759" y="2112281"/>
              <a:ext cx="93570"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4" name="Freeform 8"/>
            <p:cNvSpPr>
              <a:spLocks/>
            </p:cNvSpPr>
            <p:nvPr/>
          </p:nvSpPr>
          <p:spPr bwMode="auto">
            <a:xfrm>
              <a:off x="8643386" y="2112281"/>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6" name="Freeform 18"/>
            <p:cNvSpPr>
              <a:spLocks noEditPoints="1"/>
            </p:cNvSpPr>
            <p:nvPr/>
          </p:nvSpPr>
          <p:spPr bwMode="auto">
            <a:xfrm>
              <a:off x="12018560" y="2103108"/>
              <a:ext cx="177964" cy="267864"/>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7" name="Freeform 19"/>
            <p:cNvSpPr>
              <a:spLocks/>
            </p:cNvSpPr>
            <p:nvPr/>
          </p:nvSpPr>
          <p:spPr bwMode="auto">
            <a:xfrm>
              <a:off x="12254449" y="2112281"/>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9" name="Freeform 21"/>
            <p:cNvSpPr>
              <a:spLocks noEditPoints="1"/>
            </p:cNvSpPr>
            <p:nvPr/>
          </p:nvSpPr>
          <p:spPr bwMode="auto">
            <a:xfrm>
              <a:off x="11752352" y="2116067"/>
              <a:ext cx="194150" cy="25490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34" name="Freeform 19"/>
            <p:cNvSpPr>
              <a:spLocks/>
            </p:cNvSpPr>
            <p:nvPr/>
          </p:nvSpPr>
          <p:spPr bwMode="auto">
            <a:xfrm>
              <a:off x="11146332" y="1741546"/>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5" name="Freeform 7"/>
            <p:cNvSpPr>
              <a:spLocks/>
            </p:cNvSpPr>
            <p:nvPr/>
          </p:nvSpPr>
          <p:spPr bwMode="auto">
            <a:xfrm>
              <a:off x="11311298" y="1741546"/>
              <a:ext cx="93570"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6" name="Freeform 8"/>
            <p:cNvSpPr>
              <a:spLocks/>
            </p:cNvSpPr>
            <p:nvPr/>
          </p:nvSpPr>
          <p:spPr bwMode="auto">
            <a:xfrm>
              <a:off x="11474429" y="1741545"/>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7" name="Freeform 13"/>
            <p:cNvSpPr>
              <a:spLocks/>
            </p:cNvSpPr>
            <p:nvPr/>
          </p:nvSpPr>
          <p:spPr bwMode="auto">
            <a:xfrm>
              <a:off x="11635724" y="1741546"/>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8" name="Freeform 23"/>
            <p:cNvSpPr>
              <a:spLocks/>
            </p:cNvSpPr>
            <p:nvPr/>
          </p:nvSpPr>
          <p:spPr bwMode="auto">
            <a:xfrm>
              <a:off x="12064204" y="1741546"/>
              <a:ext cx="95404" cy="25869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9" name="Freeform 24"/>
            <p:cNvSpPr>
              <a:spLocks/>
            </p:cNvSpPr>
            <p:nvPr/>
          </p:nvSpPr>
          <p:spPr bwMode="auto">
            <a:xfrm>
              <a:off x="12229173" y="1741546"/>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540" name="Group 740"/>
            <p:cNvGrpSpPr/>
            <p:nvPr/>
          </p:nvGrpSpPr>
          <p:grpSpPr>
            <a:xfrm>
              <a:off x="11800697" y="1738317"/>
              <a:ext cx="193954" cy="261919"/>
              <a:chOff x="7011958" y="-48945"/>
              <a:chExt cx="557213" cy="752475"/>
            </a:xfrm>
            <a:solidFill>
              <a:schemeClr val="tx1">
                <a:alpha val="12000"/>
              </a:schemeClr>
            </a:solidFill>
          </p:grpSpPr>
          <p:sp>
            <p:nvSpPr>
              <p:cNvPr id="8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1" name="Freeform 18"/>
            <p:cNvSpPr>
              <a:spLocks noEditPoints="1"/>
            </p:cNvSpPr>
            <p:nvPr/>
          </p:nvSpPr>
          <p:spPr bwMode="auto">
            <a:xfrm>
              <a:off x="9749398" y="1732372"/>
              <a:ext cx="177964" cy="267864"/>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2" name="Freeform 20"/>
            <p:cNvSpPr>
              <a:spLocks noEditPoints="1"/>
            </p:cNvSpPr>
            <p:nvPr/>
          </p:nvSpPr>
          <p:spPr bwMode="auto">
            <a:xfrm>
              <a:off x="9996923" y="1732372"/>
              <a:ext cx="177964" cy="267864"/>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3" name="Freeform 16"/>
            <p:cNvSpPr>
              <a:spLocks noEditPoints="1"/>
            </p:cNvSpPr>
            <p:nvPr/>
          </p:nvSpPr>
          <p:spPr bwMode="auto">
            <a:xfrm>
              <a:off x="10735675" y="1767711"/>
              <a:ext cx="177964" cy="267864"/>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4" name="Freeform 5"/>
            <p:cNvSpPr>
              <a:spLocks/>
            </p:cNvSpPr>
            <p:nvPr/>
          </p:nvSpPr>
          <p:spPr bwMode="auto">
            <a:xfrm>
              <a:off x="10983201" y="1741546"/>
              <a:ext cx="93570"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5" name="Freeform 23"/>
            <p:cNvSpPr>
              <a:spLocks/>
            </p:cNvSpPr>
            <p:nvPr/>
          </p:nvSpPr>
          <p:spPr bwMode="auto">
            <a:xfrm>
              <a:off x="10244449" y="1741546"/>
              <a:ext cx="95404" cy="25869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6" name="Freeform 24"/>
            <p:cNvSpPr>
              <a:spLocks/>
            </p:cNvSpPr>
            <p:nvPr/>
          </p:nvSpPr>
          <p:spPr bwMode="auto">
            <a:xfrm>
              <a:off x="10409414" y="1741546"/>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7" name="Freeform 17"/>
            <p:cNvSpPr>
              <a:spLocks/>
            </p:cNvSpPr>
            <p:nvPr/>
          </p:nvSpPr>
          <p:spPr bwMode="auto">
            <a:xfrm>
              <a:off x="10574380" y="1741545"/>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551" name="Group 746"/>
            <p:cNvGrpSpPr/>
            <p:nvPr/>
          </p:nvGrpSpPr>
          <p:grpSpPr>
            <a:xfrm>
              <a:off x="7094184" y="1738317"/>
              <a:ext cx="193954" cy="261919"/>
              <a:chOff x="7011958" y="-48945"/>
              <a:chExt cx="557213" cy="752475"/>
            </a:xfrm>
            <a:solidFill>
              <a:schemeClr val="bg1">
                <a:lumMod val="85000"/>
                <a:alpha val="55000"/>
              </a:schemeClr>
            </a:solidFill>
          </p:grpSpPr>
          <p:sp>
            <p:nvSpPr>
              <p:cNvPr id="8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52" name="Freeform 19"/>
            <p:cNvSpPr>
              <a:spLocks/>
            </p:cNvSpPr>
            <p:nvPr/>
          </p:nvSpPr>
          <p:spPr bwMode="auto">
            <a:xfrm>
              <a:off x="7357691" y="1741546"/>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85000"/>
                <a:alpha val="5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3" name="Freeform 7"/>
            <p:cNvSpPr>
              <a:spLocks/>
            </p:cNvSpPr>
            <p:nvPr/>
          </p:nvSpPr>
          <p:spPr bwMode="auto">
            <a:xfrm>
              <a:off x="7522656" y="1741546"/>
              <a:ext cx="93570"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alpha val="5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4" name="Freeform 8"/>
            <p:cNvSpPr>
              <a:spLocks/>
            </p:cNvSpPr>
            <p:nvPr/>
          </p:nvSpPr>
          <p:spPr bwMode="auto">
            <a:xfrm>
              <a:off x="7685787" y="1741545"/>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85000"/>
                <a:alpha val="5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6" name="Freeform 8"/>
            <p:cNvSpPr>
              <a:spLocks/>
            </p:cNvSpPr>
            <p:nvPr/>
          </p:nvSpPr>
          <p:spPr bwMode="auto">
            <a:xfrm>
              <a:off x="7847083" y="1741545"/>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85000"/>
                <a:alpha val="5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7" name="Freeform 23"/>
            <p:cNvSpPr>
              <a:spLocks/>
            </p:cNvSpPr>
            <p:nvPr/>
          </p:nvSpPr>
          <p:spPr bwMode="auto">
            <a:xfrm>
              <a:off x="8271893" y="1741546"/>
              <a:ext cx="95404" cy="25869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8" name="Freeform 24"/>
            <p:cNvSpPr>
              <a:spLocks/>
            </p:cNvSpPr>
            <p:nvPr/>
          </p:nvSpPr>
          <p:spPr bwMode="auto">
            <a:xfrm>
              <a:off x="8436859" y="1741546"/>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9" name="Freeform 17"/>
            <p:cNvSpPr>
              <a:spLocks/>
            </p:cNvSpPr>
            <p:nvPr/>
          </p:nvSpPr>
          <p:spPr bwMode="auto">
            <a:xfrm>
              <a:off x="8601825" y="1741545"/>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560" name="Group 740"/>
            <p:cNvGrpSpPr/>
            <p:nvPr/>
          </p:nvGrpSpPr>
          <p:grpSpPr>
            <a:xfrm>
              <a:off x="8008386" y="1738317"/>
              <a:ext cx="193954" cy="261919"/>
              <a:chOff x="7011958" y="-48945"/>
              <a:chExt cx="557213" cy="752475"/>
            </a:xfrm>
            <a:solidFill>
              <a:schemeClr val="bg1">
                <a:lumMod val="85000"/>
                <a:alpha val="55000"/>
              </a:schemeClr>
            </a:solidFill>
          </p:grpSpPr>
          <p:sp>
            <p:nvSpPr>
              <p:cNvPr id="8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61" name="Freeform 18"/>
            <p:cNvSpPr>
              <a:spLocks noEditPoints="1"/>
            </p:cNvSpPr>
            <p:nvPr/>
          </p:nvSpPr>
          <p:spPr bwMode="auto">
            <a:xfrm>
              <a:off x="8763120" y="1732372"/>
              <a:ext cx="177964" cy="267864"/>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2" name="Freeform 20"/>
            <p:cNvSpPr>
              <a:spLocks noEditPoints="1"/>
            </p:cNvSpPr>
            <p:nvPr/>
          </p:nvSpPr>
          <p:spPr bwMode="auto">
            <a:xfrm>
              <a:off x="9010646" y="1732372"/>
              <a:ext cx="177964" cy="267864"/>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3" name="Freeform 23"/>
            <p:cNvSpPr>
              <a:spLocks/>
            </p:cNvSpPr>
            <p:nvPr/>
          </p:nvSpPr>
          <p:spPr bwMode="auto">
            <a:xfrm>
              <a:off x="9258171" y="1741546"/>
              <a:ext cx="95404" cy="25869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4" name="Freeform 24"/>
            <p:cNvSpPr>
              <a:spLocks/>
            </p:cNvSpPr>
            <p:nvPr/>
          </p:nvSpPr>
          <p:spPr bwMode="auto">
            <a:xfrm>
              <a:off x="9423137" y="1741546"/>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5" name="Freeform 17"/>
            <p:cNvSpPr>
              <a:spLocks/>
            </p:cNvSpPr>
            <p:nvPr/>
          </p:nvSpPr>
          <p:spPr bwMode="auto">
            <a:xfrm>
              <a:off x="9588102" y="1741545"/>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3" name="Freeform 29"/>
            <p:cNvSpPr>
              <a:spLocks/>
            </p:cNvSpPr>
            <p:nvPr/>
          </p:nvSpPr>
          <p:spPr bwMode="auto">
            <a:xfrm>
              <a:off x="10439179" y="1394092"/>
              <a:ext cx="95404" cy="25869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4" name="Freeform 17"/>
            <p:cNvSpPr>
              <a:spLocks/>
            </p:cNvSpPr>
            <p:nvPr/>
          </p:nvSpPr>
          <p:spPr bwMode="auto">
            <a:xfrm>
              <a:off x="10606912" y="1394092"/>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576" name="Group 746"/>
            <p:cNvGrpSpPr/>
            <p:nvPr/>
          </p:nvGrpSpPr>
          <p:grpSpPr>
            <a:xfrm>
              <a:off x="11183945" y="1390863"/>
              <a:ext cx="193954" cy="261919"/>
              <a:chOff x="7011958" y="-48945"/>
              <a:chExt cx="557213" cy="752475"/>
            </a:xfrm>
            <a:solidFill>
              <a:schemeClr val="bg1">
                <a:lumMod val="75000"/>
              </a:schemeClr>
            </a:solidFill>
          </p:grpSpPr>
          <p:sp>
            <p:nvSpPr>
              <p:cNvPr id="8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7" name="Freeform 19"/>
            <p:cNvSpPr>
              <a:spLocks/>
            </p:cNvSpPr>
            <p:nvPr/>
          </p:nvSpPr>
          <p:spPr bwMode="auto">
            <a:xfrm>
              <a:off x="11450219" y="1394092"/>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8" name="Freeform 7"/>
            <p:cNvSpPr>
              <a:spLocks/>
            </p:cNvSpPr>
            <p:nvPr/>
          </p:nvSpPr>
          <p:spPr bwMode="auto">
            <a:xfrm>
              <a:off x="11617953" y="1394092"/>
              <a:ext cx="93570"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9" name="Freeform 8"/>
            <p:cNvSpPr>
              <a:spLocks/>
            </p:cNvSpPr>
            <p:nvPr/>
          </p:nvSpPr>
          <p:spPr bwMode="auto">
            <a:xfrm>
              <a:off x="11783852" y="1394092"/>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0" name="Freeform 23"/>
            <p:cNvSpPr>
              <a:spLocks/>
            </p:cNvSpPr>
            <p:nvPr/>
          </p:nvSpPr>
          <p:spPr bwMode="auto">
            <a:xfrm>
              <a:off x="12214196" y="1394092"/>
              <a:ext cx="95404" cy="25869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581" name="Group 740"/>
            <p:cNvGrpSpPr/>
            <p:nvPr/>
          </p:nvGrpSpPr>
          <p:grpSpPr>
            <a:xfrm>
              <a:off x="11947922" y="1390863"/>
              <a:ext cx="193954" cy="261919"/>
              <a:chOff x="7011958" y="-48945"/>
              <a:chExt cx="557213" cy="752475"/>
            </a:xfrm>
            <a:solidFill>
              <a:schemeClr val="tx1">
                <a:alpha val="12000"/>
              </a:schemeClr>
            </a:solidFill>
          </p:grpSpPr>
          <p:sp>
            <p:nvSpPr>
              <p:cNvPr id="8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84" name="Freeform 24"/>
            <p:cNvSpPr>
              <a:spLocks/>
            </p:cNvSpPr>
            <p:nvPr/>
          </p:nvSpPr>
          <p:spPr bwMode="auto">
            <a:xfrm>
              <a:off x="9314114" y="1055988"/>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5" name="Freeform 29"/>
            <p:cNvSpPr>
              <a:spLocks/>
            </p:cNvSpPr>
            <p:nvPr/>
          </p:nvSpPr>
          <p:spPr bwMode="auto">
            <a:xfrm>
              <a:off x="9479427" y="1055988"/>
              <a:ext cx="95404" cy="25869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6" name="Freeform 17"/>
            <p:cNvSpPr>
              <a:spLocks/>
            </p:cNvSpPr>
            <p:nvPr/>
          </p:nvSpPr>
          <p:spPr bwMode="auto">
            <a:xfrm>
              <a:off x="9644739" y="1055987"/>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587" name="Group 746"/>
            <p:cNvGrpSpPr/>
            <p:nvPr/>
          </p:nvGrpSpPr>
          <p:grpSpPr>
            <a:xfrm>
              <a:off x="10216933" y="1052759"/>
              <a:ext cx="193954" cy="261919"/>
              <a:chOff x="7011958" y="-48945"/>
              <a:chExt cx="557213" cy="752475"/>
            </a:xfrm>
            <a:solidFill>
              <a:schemeClr val="bg1">
                <a:lumMod val="75000"/>
              </a:schemeClr>
            </a:solidFill>
          </p:grpSpPr>
          <p:sp>
            <p:nvSpPr>
              <p:cNvPr id="8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88" name="Freeform 19"/>
            <p:cNvSpPr>
              <a:spLocks/>
            </p:cNvSpPr>
            <p:nvPr/>
          </p:nvSpPr>
          <p:spPr bwMode="auto">
            <a:xfrm>
              <a:off x="10480787" y="1055988"/>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9" name="Freeform 7"/>
            <p:cNvSpPr>
              <a:spLocks/>
            </p:cNvSpPr>
            <p:nvPr/>
          </p:nvSpPr>
          <p:spPr bwMode="auto">
            <a:xfrm>
              <a:off x="10646100" y="1055988"/>
              <a:ext cx="93570"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0" name="Freeform 8"/>
            <p:cNvSpPr>
              <a:spLocks/>
            </p:cNvSpPr>
            <p:nvPr/>
          </p:nvSpPr>
          <p:spPr bwMode="auto">
            <a:xfrm>
              <a:off x="10809579" y="1055987"/>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2" name="Freeform 8"/>
            <p:cNvSpPr>
              <a:spLocks/>
            </p:cNvSpPr>
            <p:nvPr/>
          </p:nvSpPr>
          <p:spPr bwMode="auto">
            <a:xfrm>
              <a:off x="10971221" y="1055987"/>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3" name="Freeform 23"/>
            <p:cNvSpPr>
              <a:spLocks/>
            </p:cNvSpPr>
            <p:nvPr/>
          </p:nvSpPr>
          <p:spPr bwMode="auto">
            <a:xfrm>
              <a:off x="11396726" y="1055988"/>
              <a:ext cx="95404" cy="25869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4" name="Freeform 24"/>
            <p:cNvSpPr>
              <a:spLocks/>
            </p:cNvSpPr>
            <p:nvPr/>
          </p:nvSpPr>
          <p:spPr bwMode="auto">
            <a:xfrm>
              <a:off x="11562039" y="1055988"/>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5" name="Freeform 17"/>
            <p:cNvSpPr>
              <a:spLocks/>
            </p:cNvSpPr>
            <p:nvPr/>
          </p:nvSpPr>
          <p:spPr bwMode="auto">
            <a:xfrm>
              <a:off x="11727352" y="1055987"/>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596" name="Group 740"/>
            <p:cNvGrpSpPr/>
            <p:nvPr/>
          </p:nvGrpSpPr>
          <p:grpSpPr>
            <a:xfrm>
              <a:off x="11132871" y="1052759"/>
              <a:ext cx="193954" cy="261919"/>
              <a:chOff x="7011958" y="-48945"/>
              <a:chExt cx="557213" cy="752475"/>
            </a:xfrm>
            <a:solidFill>
              <a:schemeClr val="bg1">
                <a:lumMod val="75000"/>
              </a:schemeClr>
            </a:solidFill>
          </p:grpSpPr>
          <p:sp>
            <p:nvSpPr>
              <p:cNvPr id="8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97" name="Freeform 18"/>
            <p:cNvSpPr>
              <a:spLocks noEditPoints="1"/>
            </p:cNvSpPr>
            <p:nvPr/>
          </p:nvSpPr>
          <p:spPr bwMode="auto">
            <a:xfrm>
              <a:off x="11888994" y="1046814"/>
              <a:ext cx="177964" cy="267864"/>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8" name="Freeform 20"/>
            <p:cNvSpPr>
              <a:spLocks noEditPoints="1"/>
            </p:cNvSpPr>
            <p:nvPr/>
          </p:nvSpPr>
          <p:spPr bwMode="auto">
            <a:xfrm>
              <a:off x="12136869" y="1046814"/>
              <a:ext cx="177964" cy="267864"/>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4" name="Freeform 16"/>
            <p:cNvSpPr>
              <a:spLocks noEditPoints="1"/>
            </p:cNvSpPr>
            <p:nvPr/>
          </p:nvSpPr>
          <p:spPr bwMode="auto">
            <a:xfrm>
              <a:off x="7086600" y="1384919"/>
              <a:ext cx="182167" cy="274190"/>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bg1">
                <a:lumMod val="85000"/>
                <a:alpha val="5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3" name="Freeform 24"/>
            <p:cNvSpPr>
              <a:spLocks/>
            </p:cNvSpPr>
            <p:nvPr/>
          </p:nvSpPr>
          <p:spPr bwMode="auto">
            <a:xfrm>
              <a:off x="6759006" y="1394092"/>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4" name="Freeform 17"/>
            <p:cNvSpPr>
              <a:spLocks/>
            </p:cNvSpPr>
            <p:nvPr/>
          </p:nvSpPr>
          <p:spPr bwMode="auto">
            <a:xfrm>
              <a:off x="6926739" y="1394092"/>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5" name="Freeform 19"/>
            <p:cNvSpPr>
              <a:spLocks/>
            </p:cNvSpPr>
            <p:nvPr/>
          </p:nvSpPr>
          <p:spPr bwMode="auto">
            <a:xfrm>
              <a:off x="7653336" y="1055988"/>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85000"/>
                <a:alpha val="5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6" name="Freeform 7"/>
            <p:cNvSpPr>
              <a:spLocks/>
            </p:cNvSpPr>
            <p:nvPr/>
          </p:nvSpPr>
          <p:spPr bwMode="auto">
            <a:xfrm>
              <a:off x="7818649" y="1055988"/>
              <a:ext cx="93570"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alpha val="5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7" name="Freeform 8"/>
            <p:cNvSpPr>
              <a:spLocks/>
            </p:cNvSpPr>
            <p:nvPr/>
          </p:nvSpPr>
          <p:spPr bwMode="auto">
            <a:xfrm>
              <a:off x="7982128" y="1055987"/>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85000"/>
                <a:alpha val="5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8" name="Freeform 13"/>
            <p:cNvSpPr>
              <a:spLocks/>
            </p:cNvSpPr>
            <p:nvPr/>
          </p:nvSpPr>
          <p:spPr bwMode="auto">
            <a:xfrm>
              <a:off x="8143770" y="1055988"/>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85000"/>
                <a:alpha val="5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9" name="Freeform 23"/>
            <p:cNvSpPr>
              <a:spLocks/>
            </p:cNvSpPr>
            <p:nvPr/>
          </p:nvSpPr>
          <p:spPr bwMode="auto">
            <a:xfrm>
              <a:off x="8572945" y="1055988"/>
              <a:ext cx="95404" cy="25869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0" name="Freeform 24"/>
            <p:cNvSpPr>
              <a:spLocks/>
            </p:cNvSpPr>
            <p:nvPr/>
          </p:nvSpPr>
          <p:spPr bwMode="auto">
            <a:xfrm>
              <a:off x="8738258" y="1055988"/>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21" name="Group 740"/>
            <p:cNvGrpSpPr/>
            <p:nvPr/>
          </p:nvGrpSpPr>
          <p:grpSpPr>
            <a:xfrm>
              <a:off x="8309091" y="1052759"/>
              <a:ext cx="193954" cy="261919"/>
              <a:chOff x="7011958" y="-48945"/>
              <a:chExt cx="557213" cy="752475"/>
            </a:xfrm>
            <a:solidFill>
              <a:schemeClr val="bg1">
                <a:lumMod val="75000"/>
              </a:schemeClr>
            </a:solidFill>
          </p:grpSpPr>
          <p:sp>
            <p:nvSpPr>
              <p:cNvPr id="7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24" name="Freeform 16"/>
            <p:cNvSpPr>
              <a:spLocks noEditPoints="1"/>
            </p:cNvSpPr>
            <p:nvPr/>
          </p:nvSpPr>
          <p:spPr bwMode="auto">
            <a:xfrm>
              <a:off x="7241986" y="1046814"/>
              <a:ext cx="177964" cy="267864"/>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bg1">
                <a:lumMod val="85000"/>
                <a:alpha val="5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5" name="Freeform 5"/>
            <p:cNvSpPr>
              <a:spLocks/>
            </p:cNvSpPr>
            <p:nvPr/>
          </p:nvSpPr>
          <p:spPr bwMode="auto">
            <a:xfrm>
              <a:off x="7489859" y="1055988"/>
              <a:ext cx="93570"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85000"/>
                <a:alpha val="5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6" name="Freeform 23"/>
            <p:cNvSpPr>
              <a:spLocks/>
            </p:cNvSpPr>
            <p:nvPr/>
          </p:nvSpPr>
          <p:spPr bwMode="auto">
            <a:xfrm>
              <a:off x="6749717" y="1055988"/>
              <a:ext cx="95404" cy="25869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7" name="Freeform 24"/>
            <p:cNvSpPr>
              <a:spLocks/>
            </p:cNvSpPr>
            <p:nvPr/>
          </p:nvSpPr>
          <p:spPr bwMode="auto">
            <a:xfrm>
              <a:off x="6915030" y="1055988"/>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8" name="Freeform 17"/>
            <p:cNvSpPr>
              <a:spLocks/>
            </p:cNvSpPr>
            <p:nvPr/>
          </p:nvSpPr>
          <p:spPr bwMode="auto">
            <a:xfrm>
              <a:off x="7080343" y="1055987"/>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85000"/>
                <a:alpha val="5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2" name="Freeform 29"/>
            <p:cNvSpPr>
              <a:spLocks/>
            </p:cNvSpPr>
            <p:nvPr/>
          </p:nvSpPr>
          <p:spPr bwMode="auto">
            <a:xfrm>
              <a:off x="10446246" y="736805"/>
              <a:ext cx="95404" cy="25869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3" name="Freeform 17"/>
            <p:cNvSpPr>
              <a:spLocks/>
            </p:cNvSpPr>
            <p:nvPr/>
          </p:nvSpPr>
          <p:spPr bwMode="auto">
            <a:xfrm>
              <a:off x="10613980" y="736804"/>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45" name="Group 746"/>
            <p:cNvGrpSpPr/>
            <p:nvPr/>
          </p:nvGrpSpPr>
          <p:grpSpPr>
            <a:xfrm>
              <a:off x="11191013" y="733576"/>
              <a:ext cx="193954" cy="261919"/>
              <a:chOff x="7011958" y="-48945"/>
              <a:chExt cx="557213" cy="752475"/>
            </a:xfrm>
            <a:solidFill>
              <a:schemeClr val="bg1">
                <a:lumMod val="75000"/>
              </a:schemeClr>
            </a:solidFill>
          </p:grpSpPr>
          <p:sp>
            <p:nvSpPr>
              <p:cNvPr id="7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46" name="Freeform 19"/>
            <p:cNvSpPr>
              <a:spLocks/>
            </p:cNvSpPr>
            <p:nvPr/>
          </p:nvSpPr>
          <p:spPr bwMode="auto">
            <a:xfrm>
              <a:off x="11457288" y="736805"/>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7" name="Freeform 7"/>
            <p:cNvSpPr>
              <a:spLocks/>
            </p:cNvSpPr>
            <p:nvPr/>
          </p:nvSpPr>
          <p:spPr bwMode="auto">
            <a:xfrm>
              <a:off x="11625021" y="736805"/>
              <a:ext cx="93570"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8" name="Freeform 8"/>
            <p:cNvSpPr>
              <a:spLocks/>
            </p:cNvSpPr>
            <p:nvPr/>
          </p:nvSpPr>
          <p:spPr bwMode="auto">
            <a:xfrm>
              <a:off x="11790920" y="736804"/>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9" name="Freeform 23"/>
            <p:cNvSpPr>
              <a:spLocks/>
            </p:cNvSpPr>
            <p:nvPr/>
          </p:nvSpPr>
          <p:spPr bwMode="auto">
            <a:xfrm>
              <a:off x="12221264" y="736805"/>
              <a:ext cx="95404" cy="25869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50" name="Group 740"/>
            <p:cNvGrpSpPr/>
            <p:nvPr/>
          </p:nvGrpSpPr>
          <p:grpSpPr>
            <a:xfrm>
              <a:off x="11954990" y="733576"/>
              <a:ext cx="193954" cy="261919"/>
              <a:chOff x="7011958" y="-48945"/>
              <a:chExt cx="557213" cy="752475"/>
            </a:xfrm>
            <a:solidFill>
              <a:schemeClr val="tx1">
                <a:alpha val="12000"/>
              </a:schemeClr>
            </a:solidFill>
          </p:grpSpPr>
          <p:sp>
            <p:nvSpPr>
              <p:cNvPr id="7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53" name="Freeform 24"/>
            <p:cNvSpPr>
              <a:spLocks/>
            </p:cNvSpPr>
            <p:nvPr/>
          </p:nvSpPr>
          <p:spPr bwMode="auto">
            <a:xfrm>
              <a:off x="9321182" y="398700"/>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4" name="Freeform 29"/>
            <p:cNvSpPr>
              <a:spLocks/>
            </p:cNvSpPr>
            <p:nvPr/>
          </p:nvSpPr>
          <p:spPr bwMode="auto">
            <a:xfrm>
              <a:off x="9486495" y="398700"/>
              <a:ext cx="95404" cy="25869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5" name="Freeform 17"/>
            <p:cNvSpPr>
              <a:spLocks/>
            </p:cNvSpPr>
            <p:nvPr/>
          </p:nvSpPr>
          <p:spPr bwMode="auto">
            <a:xfrm>
              <a:off x="9651808" y="398700"/>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56" name="Group 746"/>
            <p:cNvGrpSpPr/>
            <p:nvPr/>
          </p:nvGrpSpPr>
          <p:grpSpPr>
            <a:xfrm>
              <a:off x="10224001" y="395472"/>
              <a:ext cx="193954" cy="261919"/>
              <a:chOff x="7011958" y="-48945"/>
              <a:chExt cx="557213" cy="752475"/>
            </a:xfrm>
            <a:solidFill>
              <a:schemeClr val="bg1">
                <a:lumMod val="95000"/>
                <a:alpha val="75000"/>
              </a:schemeClr>
            </a:solidFill>
          </p:grpSpPr>
          <p:sp>
            <p:nvSpPr>
              <p:cNvPr id="7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57" name="Freeform 19"/>
            <p:cNvSpPr>
              <a:spLocks/>
            </p:cNvSpPr>
            <p:nvPr/>
          </p:nvSpPr>
          <p:spPr bwMode="auto">
            <a:xfrm>
              <a:off x="10487855" y="398700"/>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8" name="Freeform 7"/>
            <p:cNvSpPr>
              <a:spLocks/>
            </p:cNvSpPr>
            <p:nvPr/>
          </p:nvSpPr>
          <p:spPr bwMode="auto">
            <a:xfrm>
              <a:off x="10653168" y="398700"/>
              <a:ext cx="93570"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9" name="Freeform 8"/>
            <p:cNvSpPr>
              <a:spLocks/>
            </p:cNvSpPr>
            <p:nvPr/>
          </p:nvSpPr>
          <p:spPr bwMode="auto">
            <a:xfrm>
              <a:off x="10816646" y="398700"/>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1" name="Freeform 8"/>
            <p:cNvSpPr>
              <a:spLocks/>
            </p:cNvSpPr>
            <p:nvPr/>
          </p:nvSpPr>
          <p:spPr bwMode="auto">
            <a:xfrm>
              <a:off x="10978289" y="398700"/>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2" name="Freeform 23"/>
            <p:cNvSpPr>
              <a:spLocks/>
            </p:cNvSpPr>
            <p:nvPr/>
          </p:nvSpPr>
          <p:spPr bwMode="auto">
            <a:xfrm>
              <a:off x="11403793" y="398700"/>
              <a:ext cx="95404" cy="25869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3" name="Freeform 24"/>
            <p:cNvSpPr>
              <a:spLocks/>
            </p:cNvSpPr>
            <p:nvPr/>
          </p:nvSpPr>
          <p:spPr bwMode="auto">
            <a:xfrm>
              <a:off x="11569106" y="398700"/>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4" name="Freeform 17"/>
            <p:cNvSpPr>
              <a:spLocks/>
            </p:cNvSpPr>
            <p:nvPr/>
          </p:nvSpPr>
          <p:spPr bwMode="auto">
            <a:xfrm>
              <a:off x="11734419" y="398700"/>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65" name="Group 740"/>
            <p:cNvGrpSpPr/>
            <p:nvPr/>
          </p:nvGrpSpPr>
          <p:grpSpPr>
            <a:xfrm>
              <a:off x="11139938" y="395472"/>
              <a:ext cx="193954" cy="261919"/>
              <a:chOff x="7011958" y="-48945"/>
              <a:chExt cx="557213" cy="752475"/>
            </a:xfrm>
            <a:solidFill>
              <a:schemeClr val="bg1">
                <a:lumMod val="95000"/>
                <a:alpha val="75000"/>
              </a:schemeClr>
            </a:solidFill>
          </p:grpSpPr>
          <p:sp>
            <p:nvSpPr>
              <p:cNvPr id="7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66" name="Freeform 18"/>
            <p:cNvSpPr>
              <a:spLocks noEditPoints="1"/>
            </p:cNvSpPr>
            <p:nvPr/>
          </p:nvSpPr>
          <p:spPr bwMode="auto">
            <a:xfrm>
              <a:off x="11896062" y="389527"/>
              <a:ext cx="177964" cy="267864"/>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7" name="Freeform 20"/>
            <p:cNvSpPr>
              <a:spLocks noEditPoints="1"/>
            </p:cNvSpPr>
            <p:nvPr/>
          </p:nvSpPr>
          <p:spPr bwMode="auto">
            <a:xfrm>
              <a:off x="12143937" y="389527"/>
              <a:ext cx="177964" cy="267864"/>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2" name="Freeform 24"/>
            <p:cNvSpPr>
              <a:spLocks/>
            </p:cNvSpPr>
            <p:nvPr/>
          </p:nvSpPr>
          <p:spPr bwMode="auto">
            <a:xfrm>
              <a:off x="6766073" y="736805"/>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4" name="Freeform 19"/>
            <p:cNvSpPr>
              <a:spLocks/>
            </p:cNvSpPr>
            <p:nvPr/>
          </p:nvSpPr>
          <p:spPr bwMode="auto">
            <a:xfrm>
              <a:off x="7660404" y="398700"/>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5" name="Freeform 7"/>
            <p:cNvSpPr>
              <a:spLocks/>
            </p:cNvSpPr>
            <p:nvPr/>
          </p:nvSpPr>
          <p:spPr bwMode="auto">
            <a:xfrm>
              <a:off x="7825717" y="398700"/>
              <a:ext cx="93570"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6" name="Freeform 8"/>
            <p:cNvSpPr>
              <a:spLocks/>
            </p:cNvSpPr>
            <p:nvPr/>
          </p:nvSpPr>
          <p:spPr bwMode="auto">
            <a:xfrm>
              <a:off x="7989195" y="398700"/>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7" name="Freeform 13"/>
            <p:cNvSpPr>
              <a:spLocks/>
            </p:cNvSpPr>
            <p:nvPr/>
          </p:nvSpPr>
          <p:spPr bwMode="auto">
            <a:xfrm>
              <a:off x="8150838" y="398700"/>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8" name="Freeform 23"/>
            <p:cNvSpPr>
              <a:spLocks/>
            </p:cNvSpPr>
            <p:nvPr/>
          </p:nvSpPr>
          <p:spPr bwMode="auto">
            <a:xfrm>
              <a:off x="8580013" y="398700"/>
              <a:ext cx="95404" cy="25869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9" name="Freeform 24"/>
            <p:cNvSpPr>
              <a:spLocks/>
            </p:cNvSpPr>
            <p:nvPr/>
          </p:nvSpPr>
          <p:spPr bwMode="auto">
            <a:xfrm>
              <a:off x="8745326" y="398700"/>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90" name="Group 740"/>
            <p:cNvGrpSpPr/>
            <p:nvPr/>
          </p:nvGrpSpPr>
          <p:grpSpPr>
            <a:xfrm>
              <a:off x="8316159" y="395472"/>
              <a:ext cx="193954" cy="261919"/>
              <a:chOff x="7011958" y="-48945"/>
              <a:chExt cx="557213" cy="752475"/>
            </a:xfrm>
            <a:solidFill>
              <a:schemeClr val="bg1">
                <a:lumMod val="95000"/>
                <a:alpha val="75000"/>
              </a:schemeClr>
            </a:solidFill>
          </p:grpSpPr>
          <p:sp>
            <p:nvSpPr>
              <p:cNvPr id="7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93" name="Freeform 16"/>
            <p:cNvSpPr>
              <a:spLocks noEditPoints="1"/>
            </p:cNvSpPr>
            <p:nvPr/>
          </p:nvSpPr>
          <p:spPr bwMode="auto">
            <a:xfrm>
              <a:off x="7249054" y="389527"/>
              <a:ext cx="177964" cy="267864"/>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4" name="Freeform 5"/>
            <p:cNvSpPr>
              <a:spLocks/>
            </p:cNvSpPr>
            <p:nvPr/>
          </p:nvSpPr>
          <p:spPr bwMode="auto">
            <a:xfrm>
              <a:off x="7496927" y="398701"/>
              <a:ext cx="93570"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5" name="Freeform 23"/>
            <p:cNvSpPr>
              <a:spLocks/>
            </p:cNvSpPr>
            <p:nvPr/>
          </p:nvSpPr>
          <p:spPr bwMode="auto">
            <a:xfrm>
              <a:off x="6756785" y="398700"/>
              <a:ext cx="95404" cy="25869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6" name="Freeform 24"/>
            <p:cNvSpPr>
              <a:spLocks/>
            </p:cNvSpPr>
            <p:nvPr/>
          </p:nvSpPr>
          <p:spPr bwMode="auto">
            <a:xfrm>
              <a:off x="6922098" y="398700"/>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7" name="Freeform 17"/>
            <p:cNvSpPr>
              <a:spLocks/>
            </p:cNvSpPr>
            <p:nvPr/>
          </p:nvSpPr>
          <p:spPr bwMode="auto">
            <a:xfrm>
              <a:off x="7087411" y="398700"/>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7" name="Freeform 23"/>
            <p:cNvSpPr>
              <a:spLocks/>
            </p:cNvSpPr>
            <p:nvPr/>
          </p:nvSpPr>
          <p:spPr bwMode="auto">
            <a:xfrm>
              <a:off x="6986627" y="20269"/>
              <a:ext cx="95404" cy="25869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8" name="Freeform 24"/>
            <p:cNvSpPr>
              <a:spLocks/>
            </p:cNvSpPr>
            <p:nvPr/>
          </p:nvSpPr>
          <p:spPr bwMode="auto">
            <a:xfrm>
              <a:off x="7154088" y="20269"/>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9" name="Freeform 29"/>
            <p:cNvSpPr>
              <a:spLocks/>
            </p:cNvSpPr>
            <p:nvPr/>
          </p:nvSpPr>
          <p:spPr bwMode="auto">
            <a:xfrm>
              <a:off x="7321549" y="20269"/>
              <a:ext cx="95404" cy="25869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0" name="Freeform 17"/>
            <p:cNvSpPr>
              <a:spLocks/>
            </p:cNvSpPr>
            <p:nvPr/>
          </p:nvSpPr>
          <p:spPr bwMode="auto">
            <a:xfrm>
              <a:off x="7489010" y="20269"/>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11" name="Group 740"/>
            <p:cNvGrpSpPr/>
            <p:nvPr/>
          </p:nvGrpSpPr>
          <p:grpSpPr>
            <a:xfrm>
              <a:off x="6720625" y="17041"/>
              <a:ext cx="193954" cy="261919"/>
              <a:chOff x="7011958" y="-48945"/>
              <a:chExt cx="557213" cy="752475"/>
            </a:xfrm>
            <a:solidFill>
              <a:schemeClr val="bg1">
                <a:lumMod val="95000"/>
                <a:alpha val="75000"/>
              </a:schemeClr>
            </a:solidFill>
          </p:grpSpPr>
          <p:sp>
            <p:nvSpPr>
              <p:cNvPr id="7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12" name="Group 746"/>
            <p:cNvGrpSpPr/>
            <p:nvPr/>
          </p:nvGrpSpPr>
          <p:grpSpPr>
            <a:xfrm>
              <a:off x="8065499" y="17041"/>
              <a:ext cx="193954" cy="261919"/>
              <a:chOff x="7011958" y="-48945"/>
              <a:chExt cx="557213" cy="752475"/>
            </a:xfrm>
            <a:solidFill>
              <a:schemeClr val="bg1">
                <a:lumMod val="95000"/>
                <a:alpha val="75000"/>
              </a:schemeClr>
            </a:solidFill>
          </p:grpSpPr>
          <p:sp>
            <p:nvSpPr>
              <p:cNvPr id="7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13" name="Freeform 19"/>
            <p:cNvSpPr>
              <a:spLocks/>
            </p:cNvSpPr>
            <p:nvPr/>
          </p:nvSpPr>
          <p:spPr bwMode="auto">
            <a:xfrm>
              <a:off x="8331501" y="20269"/>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4" name="Freeform 7"/>
            <p:cNvSpPr>
              <a:spLocks/>
            </p:cNvSpPr>
            <p:nvPr/>
          </p:nvSpPr>
          <p:spPr bwMode="auto">
            <a:xfrm>
              <a:off x="8498962" y="20269"/>
              <a:ext cx="93570"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5" name="Freeform 8"/>
            <p:cNvSpPr>
              <a:spLocks/>
            </p:cNvSpPr>
            <p:nvPr/>
          </p:nvSpPr>
          <p:spPr bwMode="auto">
            <a:xfrm>
              <a:off x="8664589" y="20269"/>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6" name="Freeform 23"/>
            <p:cNvSpPr>
              <a:spLocks/>
            </p:cNvSpPr>
            <p:nvPr/>
          </p:nvSpPr>
          <p:spPr bwMode="auto">
            <a:xfrm>
              <a:off x="9094390" y="20269"/>
              <a:ext cx="95404" cy="25869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7" name="Freeform 24"/>
            <p:cNvSpPr>
              <a:spLocks/>
            </p:cNvSpPr>
            <p:nvPr/>
          </p:nvSpPr>
          <p:spPr bwMode="auto">
            <a:xfrm>
              <a:off x="9261850" y="20269"/>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4">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8" name="Freeform 17"/>
            <p:cNvSpPr>
              <a:spLocks/>
            </p:cNvSpPr>
            <p:nvPr/>
          </p:nvSpPr>
          <p:spPr bwMode="auto">
            <a:xfrm>
              <a:off x="9429312" y="20269"/>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9" name="Freeform 18"/>
            <p:cNvSpPr>
              <a:spLocks noEditPoints="1"/>
            </p:cNvSpPr>
            <p:nvPr/>
          </p:nvSpPr>
          <p:spPr bwMode="auto">
            <a:xfrm>
              <a:off x="9593102" y="11096"/>
              <a:ext cx="177964" cy="267864"/>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0" name="Freeform 20"/>
            <p:cNvSpPr>
              <a:spLocks noEditPoints="1"/>
            </p:cNvSpPr>
            <p:nvPr/>
          </p:nvSpPr>
          <p:spPr bwMode="auto">
            <a:xfrm>
              <a:off x="9843123" y="11096"/>
              <a:ext cx="177964" cy="267864"/>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21" name="Group 740"/>
            <p:cNvGrpSpPr/>
            <p:nvPr/>
          </p:nvGrpSpPr>
          <p:grpSpPr>
            <a:xfrm>
              <a:off x="8828387" y="17041"/>
              <a:ext cx="193954" cy="261919"/>
              <a:chOff x="7011958" y="-48945"/>
              <a:chExt cx="557213" cy="752475"/>
            </a:xfrm>
            <a:solidFill>
              <a:schemeClr val="bg1">
                <a:lumMod val="95000"/>
                <a:alpha val="75000"/>
              </a:schemeClr>
            </a:solidFill>
          </p:grpSpPr>
          <p:sp>
            <p:nvSpPr>
              <p:cNvPr id="7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22" name="Freeform 16"/>
            <p:cNvSpPr>
              <a:spLocks noEditPoints="1"/>
            </p:cNvSpPr>
            <p:nvPr/>
          </p:nvSpPr>
          <p:spPr bwMode="auto">
            <a:xfrm>
              <a:off x="10591857" y="11096"/>
              <a:ext cx="177964" cy="267864"/>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3" name="Freeform 16"/>
            <p:cNvSpPr>
              <a:spLocks noEditPoints="1"/>
            </p:cNvSpPr>
            <p:nvPr/>
          </p:nvSpPr>
          <p:spPr bwMode="auto">
            <a:xfrm>
              <a:off x="11007504" y="11096"/>
              <a:ext cx="177964" cy="267864"/>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4" name="Freeform 5"/>
            <p:cNvSpPr>
              <a:spLocks/>
            </p:cNvSpPr>
            <p:nvPr/>
          </p:nvSpPr>
          <p:spPr bwMode="auto">
            <a:xfrm>
              <a:off x="10841878" y="20270"/>
              <a:ext cx="93570"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5" name="Freeform 20"/>
            <p:cNvSpPr>
              <a:spLocks noEditPoints="1"/>
            </p:cNvSpPr>
            <p:nvPr/>
          </p:nvSpPr>
          <p:spPr bwMode="auto">
            <a:xfrm>
              <a:off x="11257525" y="11096"/>
              <a:ext cx="177964" cy="267864"/>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26" name="Group 746"/>
            <p:cNvGrpSpPr/>
            <p:nvPr/>
          </p:nvGrpSpPr>
          <p:grpSpPr>
            <a:xfrm>
              <a:off x="11507552" y="17041"/>
              <a:ext cx="193954" cy="261919"/>
              <a:chOff x="7011958" y="-48945"/>
              <a:chExt cx="557213" cy="752475"/>
            </a:xfrm>
            <a:solidFill>
              <a:schemeClr val="bg1">
                <a:lumMod val="95000"/>
                <a:alpha val="75000"/>
              </a:schemeClr>
            </a:solidFill>
          </p:grpSpPr>
          <p:sp>
            <p:nvSpPr>
              <p:cNvPr id="7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27" name="Freeform 18"/>
            <p:cNvSpPr>
              <a:spLocks noEditPoints="1"/>
            </p:cNvSpPr>
            <p:nvPr/>
          </p:nvSpPr>
          <p:spPr bwMode="auto">
            <a:xfrm>
              <a:off x="12039763" y="11096"/>
              <a:ext cx="177964" cy="267864"/>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8" name="Freeform 19"/>
            <p:cNvSpPr>
              <a:spLocks/>
            </p:cNvSpPr>
            <p:nvPr/>
          </p:nvSpPr>
          <p:spPr bwMode="auto">
            <a:xfrm>
              <a:off x="12275651" y="20269"/>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9" name="Freeform 21"/>
            <p:cNvSpPr>
              <a:spLocks noEditPoints="1"/>
            </p:cNvSpPr>
            <p:nvPr/>
          </p:nvSpPr>
          <p:spPr bwMode="auto">
            <a:xfrm>
              <a:off x="11773555" y="24055"/>
              <a:ext cx="194150" cy="25490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4">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1" name="Freeform 23"/>
            <p:cNvSpPr>
              <a:spLocks/>
            </p:cNvSpPr>
            <p:nvPr/>
          </p:nvSpPr>
          <p:spPr bwMode="auto">
            <a:xfrm>
              <a:off x="10093144" y="20269"/>
              <a:ext cx="95404" cy="25869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2" name="Freeform 24"/>
            <p:cNvSpPr>
              <a:spLocks/>
            </p:cNvSpPr>
            <p:nvPr/>
          </p:nvSpPr>
          <p:spPr bwMode="auto">
            <a:xfrm>
              <a:off x="10260605" y="20269"/>
              <a:ext cx="95404" cy="25869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4">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3" name="Freeform 17"/>
            <p:cNvSpPr>
              <a:spLocks/>
            </p:cNvSpPr>
            <p:nvPr/>
          </p:nvSpPr>
          <p:spPr bwMode="auto">
            <a:xfrm>
              <a:off x="10428066" y="20269"/>
              <a:ext cx="91734" cy="25869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alpha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2" name="Freeform 5"/>
            <p:cNvSpPr>
              <a:spLocks/>
            </p:cNvSpPr>
            <p:nvPr/>
          </p:nvSpPr>
          <p:spPr bwMode="auto">
            <a:xfrm>
              <a:off x="12191877" y="4117415"/>
              <a:ext cx="73814" cy="20407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3" name="Freeform 20"/>
            <p:cNvSpPr>
              <a:spLocks noEditPoints="1"/>
            </p:cNvSpPr>
            <p:nvPr/>
          </p:nvSpPr>
          <p:spPr bwMode="auto">
            <a:xfrm>
              <a:off x="10389347" y="4117415"/>
              <a:ext cx="140390" cy="211311"/>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4" name="Freeform 7"/>
            <p:cNvSpPr>
              <a:spLocks/>
            </p:cNvSpPr>
            <p:nvPr/>
          </p:nvSpPr>
          <p:spPr bwMode="auto">
            <a:xfrm>
              <a:off x="10551166" y="4117415"/>
              <a:ext cx="73814" cy="20407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5" name="Freeform 8"/>
            <p:cNvSpPr>
              <a:spLocks/>
            </p:cNvSpPr>
            <p:nvPr/>
          </p:nvSpPr>
          <p:spPr bwMode="auto">
            <a:xfrm>
              <a:off x="10688663" y="4117415"/>
              <a:ext cx="72366" cy="204074"/>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6" name="Freeform 13"/>
            <p:cNvSpPr>
              <a:spLocks/>
            </p:cNvSpPr>
            <p:nvPr/>
          </p:nvSpPr>
          <p:spPr bwMode="auto">
            <a:xfrm>
              <a:off x="10821817" y="4117415"/>
              <a:ext cx="75262" cy="20407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7" name="Freeform 16"/>
            <p:cNvSpPr>
              <a:spLocks noEditPoints="1"/>
            </p:cNvSpPr>
            <p:nvPr/>
          </p:nvSpPr>
          <p:spPr bwMode="auto">
            <a:xfrm>
              <a:off x="10928919" y="4110179"/>
              <a:ext cx="140390" cy="211311"/>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8" name="Freeform 23"/>
            <p:cNvSpPr>
              <a:spLocks/>
            </p:cNvSpPr>
            <p:nvPr/>
          </p:nvSpPr>
          <p:spPr bwMode="auto">
            <a:xfrm>
              <a:off x="11108389" y="4117415"/>
              <a:ext cx="75262" cy="204074"/>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9" name="Freeform 29"/>
            <p:cNvSpPr>
              <a:spLocks/>
            </p:cNvSpPr>
            <p:nvPr/>
          </p:nvSpPr>
          <p:spPr bwMode="auto">
            <a:xfrm>
              <a:off x="11379039" y="4117415"/>
              <a:ext cx="75262" cy="204074"/>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0" name="Freeform 32"/>
            <p:cNvSpPr>
              <a:spLocks noEditPoints="1"/>
            </p:cNvSpPr>
            <p:nvPr/>
          </p:nvSpPr>
          <p:spPr bwMode="auto">
            <a:xfrm>
              <a:off x="11487588" y="4110179"/>
              <a:ext cx="138943" cy="211311"/>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1" name="Freeform 17"/>
            <p:cNvSpPr>
              <a:spLocks/>
            </p:cNvSpPr>
            <p:nvPr/>
          </p:nvSpPr>
          <p:spPr bwMode="auto">
            <a:xfrm>
              <a:off x="11654193" y="4117415"/>
              <a:ext cx="72366" cy="204074"/>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2" name="Freeform 18"/>
            <p:cNvSpPr>
              <a:spLocks noEditPoints="1"/>
            </p:cNvSpPr>
            <p:nvPr/>
          </p:nvSpPr>
          <p:spPr bwMode="auto">
            <a:xfrm>
              <a:off x="11758401" y="4110179"/>
              <a:ext cx="140390" cy="211311"/>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3" name="Freeform 19"/>
            <p:cNvSpPr>
              <a:spLocks/>
            </p:cNvSpPr>
            <p:nvPr/>
          </p:nvSpPr>
          <p:spPr bwMode="auto">
            <a:xfrm>
              <a:off x="11924845" y="4117415"/>
              <a:ext cx="75262" cy="20407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4" name="Freeform 20"/>
            <p:cNvSpPr>
              <a:spLocks noEditPoints="1"/>
            </p:cNvSpPr>
            <p:nvPr/>
          </p:nvSpPr>
          <p:spPr bwMode="auto">
            <a:xfrm>
              <a:off x="12030500" y="4110179"/>
              <a:ext cx="140390" cy="211311"/>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5" name="Freeform 5"/>
            <p:cNvSpPr>
              <a:spLocks/>
            </p:cNvSpPr>
            <p:nvPr/>
          </p:nvSpPr>
          <p:spPr bwMode="auto">
            <a:xfrm>
              <a:off x="12191877" y="3837598"/>
              <a:ext cx="73814" cy="20407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6" name="Freeform 9"/>
            <p:cNvSpPr>
              <a:spLocks noEditPoints="1"/>
            </p:cNvSpPr>
            <p:nvPr/>
          </p:nvSpPr>
          <p:spPr bwMode="auto">
            <a:xfrm>
              <a:off x="12296085" y="3834705"/>
              <a:ext cx="140390" cy="211311"/>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7" name="Freeform 20"/>
            <p:cNvSpPr>
              <a:spLocks noEditPoints="1"/>
            </p:cNvSpPr>
            <p:nvPr/>
          </p:nvSpPr>
          <p:spPr bwMode="auto">
            <a:xfrm>
              <a:off x="10389347" y="3837598"/>
              <a:ext cx="140390" cy="211311"/>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8" name="Freeform 7"/>
            <p:cNvSpPr>
              <a:spLocks/>
            </p:cNvSpPr>
            <p:nvPr/>
          </p:nvSpPr>
          <p:spPr bwMode="auto">
            <a:xfrm>
              <a:off x="10551166" y="3837598"/>
              <a:ext cx="73814" cy="20407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9" name="Freeform 8"/>
            <p:cNvSpPr>
              <a:spLocks/>
            </p:cNvSpPr>
            <p:nvPr/>
          </p:nvSpPr>
          <p:spPr bwMode="auto">
            <a:xfrm>
              <a:off x="10688663" y="3837598"/>
              <a:ext cx="72366" cy="204074"/>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0" name="Freeform 13"/>
            <p:cNvSpPr>
              <a:spLocks/>
            </p:cNvSpPr>
            <p:nvPr/>
          </p:nvSpPr>
          <p:spPr bwMode="auto">
            <a:xfrm>
              <a:off x="10821817" y="3837598"/>
              <a:ext cx="75262" cy="20407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1" name="Freeform 16"/>
            <p:cNvSpPr>
              <a:spLocks noEditPoints="1"/>
            </p:cNvSpPr>
            <p:nvPr/>
          </p:nvSpPr>
          <p:spPr bwMode="auto">
            <a:xfrm>
              <a:off x="10928919" y="3830362"/>
              <a:ext cx="140390" cy="211311"/>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2" name="Freeform 23"/>
            <p:cNvSpPr>
              <a:spLocks/>
            </p:cNvSpPr>
            <p:nvPr/>
          </p:nvSpPr>
          <p:spPr bwMode="auto">
            <a:xfrm>
              <a:off x="11108389" y="3837598"/>
              <a:ext cx="75262" cy="204074"/>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3" name="Freeform 24"/>
            <p:cNvSpPr>
              <a:spLocks/>
            </p:cNvSpPr>
            <p:nvPr/>
          </p:nvSpPr>
          <p:spPr bwMode="auto">
            <a:xfrm>
              <a:off x="11245885" y="3837598"/>
              <a:ext cx="75262" cy="20407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4" name="Freeform 29"/>
            <p:cNvSpPr>
              <a:spLocks/>
            </p:cNvSpPr>
            <p:nvPr/>
          </p:nvSpPr>
          <p:spPr bwMode="auto">
            <a:xfrm>
              <a:off x="11379039" y="3837598"/>
              <a:ext cx="75262" cy="204074"/>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5" name="Freeform 17"/>
            <p:cNvSpPr>
              <a:spLocks/>
            </p:cNvSpPr>
            <p:nvPr/>
          </p:nvSpPr>
          <p:spPr bwMode="auto">
            <a:xfrm>
              <a:off x="11654193" y="3837598"/>
              <a:ext cx="72366" cy="204074"/>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6" name="Freeform 18"/>
            <p:cNvSpPr>
              <a:spLocks noEditPoints="1"/>
            </p:cNvSpPr>
            <p:nvPr/>
          </p:nvSpPr>
          <p:spPr bwMode="auto">
            <a:xfrm>
              <a:off x="11758401" y="3830362"/>
              <a:ext cx="140390" cy="211311"/>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7" name="Freeform 19"/>
            <p:cNvSpPr>
              <a:spLocks/>
            </p:cNvSpPr>
            <p:nvPr/>
          </p:nvSpPr>
          <p:spPr bwMode="auto">
            <a:xfrm>
              <a:off x="11924845" y="3837598"/>
              <a:ext cx="75262" cy="20407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8" name="Freeform 20"/>
            <p:cNvSpPr>
              <a:spLocks noEditPoints="1"/>
            </p:cNvSpPr>
            <p:nvPr/>
          </p:nvSpPr>
          <p:spPr bwMode="auto">
            <a:xfrm>
              <a:off x="12030500" y="3830362"/>
              <a:ext cx="140390" cy="211311"/>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9" name="Freeform 20"/>
            <p:cNvSpPr>
              <a:spLocks noEditPoints="1"/>
            </p:cNvSpPr>
            <p:nvPr/>
          </p:nvSpPr>
          <p:spPr bwMode="auto">
            <a:xfrm>
              <a:off x="11220599" y="4110179"/>
              <a:ext cx="140390" cy="211311"/>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0" name="Freeform 5"/>
            <p:cNvSpPr>
              <a:spLocks/>
            </p:cNvSpPr>
            <p:nvPr/>
          </p:nvSpPr>
          <p:spPr bwMode="auto">
            <a:xfrm>
              <a:off x="12328845" y="4117415"/>
              <a:ext cx="73814" cy="20407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1" name="Freeform 29"/>
            <p:cNvSpPr>
              <a:spLocks/>
            </p:cNvSpPr>
            <p:nvPr/>
          </p:nvSpPr>
          <p:spPr bwMode="auto">
            <a:xfrm>
              <a:off x="11516617" y="3837598"/>
              <a:ext cx="75262" cy="204074"/>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07" name="Freeform 18"/>
            <p:cNvSpPr>
              <a:spLocks noEditPoints="1"/>
            </p:cNvSpPr>
            <p:nvPr/>
          </p:nvSpPr>
          <p:spPr bwMode="auto">
            <a:xfrm>
              <a:off x="8922832" y="6649995"/>
              <a:ext cx="177963" cy="26786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08" name="Freeform 19"/>
            <p:cNvSpPr>
              <a:spLocks/>
            </p:cNvSpPr>
            <p:nvPr/>
          </p:nvSpPr>
          <p:spPr bwMode="auto">
            <a:xfrm>
              <a:off x="9173123" y="6659169"/>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09" name="Freeform 7"/>
            <p:cNvSpPr>
              <a:spLocks/>
            </p:cNvSpPr>
            <p:nvPr/>
          </p:nvSpPr>
          <p:spPr bwMode="auto">
            <a:xfrm>
              <a:off x="9340854" y="6659169"/>
              <a:ext cx="93569"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0" name="Freeform 8"/>
            <p:cNvSpPr>
              <a:spLocks/>
            </p:cNvSpPr>
            <p:nvPr/>
          </p:nvSpPr>
          <p:spPr bwMode="auto">
            <a:xfrm>
              <a:off x="9506752" y="6659168"/>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1" name="Freeform 13"/>
            <p:cNvSpPr>
              <a:spLocks/>
            </p:cNvSpPr>
            <p:nvPr/>
          </p:nvSpPr>
          <p:spPr bwMode="auto">
            <a:xfrm>
              <a:off x="9670813" y="6659169"/>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2" name="Freeform 23"/>
            <p:cNvSpPr>
              <a:spLocks/>
            </p:cNvSpPr>
            <p:nvPr/>
          </p:nvSpPr>
          <p:spPr bwMode="auto">
            <a:xfrm>
              <a:off x="10104826" y="6659169"/>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3" name="Freeform 24"/>
            <p:cNvSpPr>
              <a:spLocks/>
            </p:cNvSpPr>
            <p:nvPr/>
          </p:nvSpPr>
          <p:spPr bwMode="auto">
            <a:xfrm>
              <a:off x="10272558" y="6659169"/>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alpha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4" name="Freeform 29"/>
            <p:cNvSpPr>
              <a:spLocks/>
            </p:cNvSpPr>
            <p:nvPr/>
          </p:nvSpPr>
          <p:spPr bwMode="auto">
            <a:xfrm>
              <a:off x="10440290" y="6659169"/>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5" name="Freeform 17"/>
            <p:cNvSpPr>
              <a:spLocks/>
            </p:cNvSpPr>
            <p:nvPr/>
          </p:nvSpPr>
          <p:spPr bwMode="auto">
            <a:xfrm>
              <a:off x="10608022" y="6659168"/>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716" name="Group 740"/>
            <p:cNvGrpSpPr/>
            <p:nvPr/>
          </p:nvGrpSpPr>
          <p:grpSpPr>
            <a:xfrm>
              <a:off x="9838554" y="6655939"/>
              <a:ext cx="193952" cy="261918"/>
              <a:chOff x="7011958" y="-48945"/>
              <a:chExt cx="557213" cy="752475"/>
            </a:xfrm>
            <a:solidFill>
              <a:schemeClr val="tx1">
                <a:alpha val="6000"/>
              </a:schemeClr>
            </a:solidFill>
          </p:grpSpPr>
          <p:sp>
            <p:nvSpPr>
              <p:cNvPr id="22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17" name="Group 746"/>
            <p:cNvGrpSpPr/>
            <p:nvPr/>
          </p:nvGrpSpPr>
          <p:grpSpPr>
            <a:xfrm>
              <a:off x="11185052" y="6655939"/>
              <a:ext cx="193952" cy="261918"/>
              <a:chOff x="7011958" y="-48945"/>
              <a:chExt cx="557213" cy="752475"/>
            </a:xfrm>
            <a:solidFill>
              <a:schemeClr val="tx1">
                <a:alpha val="7000"/>
              </a:schemeClr>
            </a:solidFill>
          </p:grpSpPr>
          <p:sp>
            <p:nvSpPr>
              <p:cNvPr id="22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18" name="Freeform 19"/>
            <p:cNvSpPr>
              <a:spLocks/>
            </p:cNvSpPr>
            <p:nvPr/>
          </p:nvSpPr>
          <p:spPr bwMode="auto">
            <a:xfrm>
              <a:off x="11451324" y="6659169"/>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9" name="Freeform 7"/>
            <p:cNvSpPr>
              <a:spLocks/>
            </p:cNvSpPr>
            <p:nvPr/>
          </p:nvSpPr>
          <p:spPr bwMode="auto">
            <a:xfrm>
              <a:off x="11619056" y="6659169"/>
              <a:ext cx="93569"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0" name="Freeform 8"/>
            <p:cNvSpPr>
              <a:spLocks/>
            </p:cNvSpPr>
            <p:nvPr/>
          </p:nvSpPr>
          <p:spPr bwMode="auto">
            <a:xfrm>
              <a:off x="11784953" y="6659168"/>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1" name="Freeform 23"/>
            <p:cNvSpPr>
              <a:spLocks/>
            </p:cNvSpPr>
            <p:nvPr/>
          </p:nvSpPr>
          <p:spPr bwMode="auto">
            <a:xfrm>
              <a:off x="12215295" y="6659169"/>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alpha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722" name="Group 740"/>
            <p:cNvGrpSpPr/>
            <p:nvPr/>
          </p:nvGrpSpPr>
          <p:grpSpPr>
            <a:xfrm>
              <a:off x="11949023" y="6655939"/>
              <a:ext cx="193952" cy="261918"/>
              <a:chOff x="7011958" y="-48945"/>
              <a:chExt cx="557213" cy="752475"/>
            </a:xfrm>
            <a:solidFill>
              <a:schemeClr val="tx1">
                <a:alpha val="5000"/>
              </a:schemeClr>
            </a:solidFill>
          </p:grpSpPr>
          <p:sp>
            <p:nvSpPr>
              <p:cNvPr id="21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25" name="Freeform 24"/>
            <p:cNvSpPr>
              <a:spLocks/>
            </p:cNvSpPr>
            <p:nvPr/>
          </p:nvSpPr>
          <p:spPr bwMode="auto">
            <a:xfrm>
              <a:off x="9315233" y="6321065"/>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alpha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6" name="Freeform 29"/>
            <p:cNvSpPr>
              <a:spLocks/>
            </p:cNvSpPr>
            <p:nvPr/>
          </p:nvSpPr>
          <p:spPr bwMode="auto">
            <a:xfrm>
              <a:off x="9480544" y="6321065"/>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7" name="Freeform 17"/>
            <p:cNvSpPr>
              <a:spLocks/>
            </p:cNvSpPr>
            <p:nvPr/>
          </p:nvSpPr>
          <p:spPr bwMode="auto">
            <a:xfrm>
              <a:off x="9645856" y="6321065"/>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728" name="Group 746"/>
            <p:cNvGrpSpPr/>
            <p:nvPr/>
          </p:nvGrpSpPr>
          <p:grpSpPr>
            <a:xfrm>
              <a:off x="10218045" y="6317836"/>
              <a:ext cx="193952" cy="261918"/>
              <a:chOff x="7011958" y="-48945"/>
              <a:chExt cx="557213" cy="752475"/>
            </a:xfrm>
            <a:solidFill>
              <a:schemeClr val="tx1">
                <a:alpha val="6000"/>
              </a:schemeClr>
            </a:solidFill>
          </p:grpSpPr>
          <p:sp>
            <p:nvSpPr>
              <p:cNvPr id="21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29" name="Freeform 19"/>
            <p:cNvSpPr>
              <a:spLocks/>
            </p:cNvSpPr>
            <p:nvPr/>
          </p:nvSpPr>
          <p:spPr bwMode="auto">
            <a:xfrm>
              <a:off x="10481898" y="6321065"/>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0" name="Freeform 7"/>
            <p:cNvSpPr>
              <a:spLocks/>
            </p:cNvSpPr>
            <p:nvPr/>
          </p:nvSpPr>
          <p:spPr bwMode="auto">
            <a:xfrm>
              <a:off x="10647210" y="6321065"/>
              <a:ext cx="93569"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1" name="Freeform 8"/>
            <p:cNvSpPr>
              <a:spLocks/>
            </p:cNvSpPr>
            <p:nvPr/>
          </p:nvSpPr>
          <p:spPr bwMode="auto">
            <a:xfrm>
              <a:off x="10810687" y="6321065"/>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3" name="Freeform 8"/>
            <p:cNvSpPr>
              <a:spLocks/>
            </p:cNvSpPr>
            <p:nvPr/>
          </p:nvSpPr>
          <p:spPr bwMode="auto">
            <a:xfrm>
              <a:off x="10972329" y="6321065"/>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4" name="Freeform 23"/>
            <p:cNvSpPr>
              <a:spLocks/>
            </p:cNvSpPr>
            <p:nvPr/>
          </p:nvSpPr>
          <p:spPr bwMode="auto">
            <a:xfrm>
              <a:off x="11397830" y="6321065"/>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5" name="Freeform 24"/>
            <p:cNvSpPr>
              <a:spLocks/>
            </p:cNvSpPr>
            <p:nvPr/>
          </p:nvSpPr>
          <p:spPr bwMode="auto">
            <a:xfrm>
              <a:off x="11563142" y="6321065"/>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alpha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6" name="Freeform 17"/>
            <p:cNvSpPr>
              <a:spLocks/>
            </p:cNvSpPr>
            <p:nvPr/>
          </p:nvSpPr>
          <p:spPr bwMode="auto">
            <a:xfrm>
              <a:off x="11728454" y="6321065"/>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737" name="Group 740"/>
            <p:cNvGrpSpPr/>
            <p:nvPr/>
          </p:nvGrpSpPr>
          <p:grpSpPr>
            <a:xfrm>
              <a:off x="11133977" y="6317836"/>
              <a:ext cx="193952" cy="261918"/>
              <a:chOff x="7011958" y="-48945"/>
              <a:chExt cx="557213" cy="752475"/>
            </a:xfrm>
            <a:solidFill>
              <a:schemeClr val="tx1">
                <a:alpha val="6000"/>
              </a:schemeClr>
            </a:solidFill>
          </p:grpSpPr>
          <p:sp>
            <p:nvSpPr>
              <p:cNvPr id="21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38" name="Freeform 18"/>
            <p:cNvSpPr>
              <a:spLocks noEditPoints="1"/>
            </p:cNvSpPr>
            <p:nvPr/>
          </p:nvSpPr>
          <p:spPr bwMode="auto">
            <a:xfrm>
              <a:off x="11890095" y="6311892"/>
              <a:ext cx="177963" cy="26786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9" name="Freeform 20"/>
            <p:cNvSpPr>
              <a:spLocks noEditPoints="1"/>
            </p:cNvSpPr>
            <p:nvPr/>
          </p:nvSpPr>
          <p:spPr bwMode="auto">
            <a:xfrm>
              <a:off x="12137969" y="6311892"/>
              <a:ext cx="177963" cy="26786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45" name="Freeform 16"/>
            <p:cNvSpPr>
              <a:spLocks noEditPoints="1"/>
            </p:cNvSpPr>
            <p:nvPr/>
          </p:nvSpPr>
          <p:spPr bwMode="auto">
            <a:xfrm>
              <a:off x="7091936" y="6649995"/>
              <a:ext cx="177963" cy="26786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alpha val="18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46" name="Freeform 16"/>
            <p:cNvSpPr>
              <a:spLocks noEditPoints="1"/>
            </p:cNvSpPr>
            <p:nvPr/>
          </p:nvSpPr>
          <p:spPr bwMode="auto">
            <a:xfrm>
              <a:off x="7508124" y="6649995"/>
              <a:ext cx="177963" cy="26786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alpha val="18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47" name="Freeform 5"/>
            <p:cNvSpPr>
              <a:spLocks/>
            </p:cNvSpPr>
            <p:nvPr/>
          </p:nvSpPr>
          <p:spPr bwMode="auto">
            <a:xfrm>
              <a:off x="7342227" y="6659169"/>
              <a:ext cx="93569" cy="25868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48" name="Freeform 20"/>
            <p:cNvSpPr>
              <a:spLocks noEditPoints="1"/>
            </p:cNvSpPr>
            <p:nvPr/>
          </p:nvSpPr>
          <p:spPr bwMode="auto">
            <a:xfrm>
              <a:off x="7758415" y="6649995"/>
              <a:ext cx="177963" cy="26786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749" name="Group 746"/>
            <p:cNvGrpSpPr/>
            <p:nvPr/>
          </p:nvGrpSpPr>
          <p:grpSpPr>
            <a:xfrm>
              <a:off x="8008714" y="6655939"/>
              <a:ext cx="193952" cy="261918"/>
              <a:chOff x="7011958" y="-48945"/>
              <a:chExt cx="557213" cy="752475"/>
            </a:xfrm>
            <a:solidFill>
              <a:schemeClr val="tx1">
                <a:alpha val="6000"/>
              </a:schemeClr>
            </a:solidFill>
          </p:grpSpPr>
          <p:sp>
            <p:nvSpPr>
              <p:cNvPr id="21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50" name="Freeform 18"/>
            <p:cNvSpPr>
              <a:spLocks noEditPoints="1"/>
            </p:cNvSpPr>
            <p:nvPr/>
          </p:nvSpPr>
          <p:spPr bwMode="auto">
            <a:xfrm>
              <a:off x="8541464" y="6649995"/>
              <a:ext cx="177963" cy="26786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1" name="Freeform 19"/>
            <p:cNvSpPr>
              <a:spLocks/>
            </p:cNvSpPr>
            <p:nvPr/>
          </p:nvSpPr>
          <p:spPr bwMode="auto">
            <a:xfrm>
              <a:off x="8791752" y="6659169"/>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2" name="Freeform 21"/>
            <p:cNvSpPr>
              <a:spLocks noEditPoints="1"/>
            </p:cNvSpPr>
            <p:nvPr/>
          </p:nvSpPr>
          <p:spPr bwMode="auto">
            <a:xfrm>
              <a:off x="8274987" y="6662954"/>
              <a:ext cx="194149" cy="254904"/>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bg1">
                <a:lumMod val="85000"/>
                <a:alpha val="2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754" name="Freeform 24"/>
            <p:cNvSpPr>
              <a:spLocks/>
            </p:cNvSpPr>
            <p:nvPr/>
          </p:nvSpPr>
          <p:spPr bwMode="auto">
            <a:xfrm>
              <a:off x="6760142" y="6659169"/>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alpha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5" name="Freeform 17"/>
            <p:cNvSpPr>
              <a:spLocks/>
            </p:cNvSpPr>
            <p:nvPr/>
          </p:nvSpPr>
          <p:spPr bwMode="auto">
            <a:xfrm>
              <a:off x="6927874" y="6659168"/>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6" name="Freeform 19"/>
            <p:cNvSpPr>
              <a:spLocks/>
            </p:cNvSpPr>
            <p:nvPr/>
          </p:nvSpPr>
          <p:spPr bwMode="auto">
            <a:xfrm>
              <a:off x="7654467" y="6321065"/>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7" name="Freeform 7"/>
            <p:cNvSpPr>
              <a:spLocks/>
            </p:cNvSpPr>
            <p:nvPr/>
          </p:nvSpPr>
          <p:spPr bwMode="auto">
            <a:xfrm>
              <a:off x="7819778" y="6321065"/>
              <a:ext cx="93569"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8" name="Freeform 8"/>
            <p:cNvSpPr>
              <a:spLocks/>
            </p:cNvSpPr>
            <p:nvPr/>
          </p:nvSpPr>
          <p:spPr bwMode="auto">
            <a:xfrm>
              <a:off x="7983255" y="6321065"/>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9" name="Freeform 13"/>
            <p:cNvSpPr>
              <a:spLocks/>
            </p:cNvSpPr>
            <p:nvPr/>
          </p:nvSpPr>
          <p:spPr bwMode="auto">
            <a:xfrm>
              <a:off x="8144897" y="6321065"/>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0" name="Freeform 23"/>
            <p:cNvSpPr>
              <a:spLocks/>
            </p:cNvSpPr>
            <p:nvPr/>
          </p:nvSpPr>
          <p:spPr bwMode="auto">
            <a:xfrm>
              <a:off x="8574069" y="6321065"/>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1" name="Freeform 24"/>
            <p:cNvSpPr>
              <a:spLocks/>
            </p:cNvSpPr>
            <p:nvPr/>
          </p:nvSpPr>
          <p:spPr bwMode="auto">
            <a:xfrm>
              <a:off x="8739381" y="6321065"/>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alpha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762" name="Group 740"/>
            <p:cNvGrpSpPr/>
            <p:nvPr/>
          </p:nvGrpSpPr>
          <p:grpSpPr>
            <a:xfrm>
              <a:off x="8310217" y="6317836"/>
              <a:ext cx="193952" cy="261918"/>
              <a:chOff x="7011958" y="-48945"/>
              <a:chExt cx="557213" cy="752475"/>
            </a:xfrm>
            <a:solidFill>
              <a:schemeClr val="bg1">
                <a:lumMod val="85000"/>
                <a:alpha val="25000"/>
              </a:schemeClr>
            </a:solidFill>
          </p:grpSpPr>
          <p:sp>
            <p:nvSpPr>
              <p:cNvPr id="21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65" name="Freeform 16"/>
            <p:cNvSpPr>
              <a:spLocks noEditPoints="1"/>
            </p:cNvSpPr>
            <p:nvPr/>
          </p:nvSpPr>
          <p:spPr bwMode="auto">
            <a:xfrm>
              <a:off x="7243119" y="6311892"/>
              <a:ext cx="177963" cy="26786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alpha val="18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6" name="Freeform 5"/>
            <p:cNvSpPr>
              <a:spLocks/>
            </p:cNvSpPr>
            <p:nvPr/>
          </p:nvSpPr>
          <p:spPr bwMode="auto">
            <a:xfrm>
              <a:off x="7490990" y="6321066"/>
              <a:ext cx="93569" cy="25868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7" name="Freeform 23"/>
            <p:cNvSpPr>
              <a:spLocks/>
            </p:cNvSpPr>
            <p:nvPr/>
          </p:nvSpPr>
          <p:spPr bwMode="auto">
            <a:xfrm>
              <a:off x="6750854" y="6321065"/>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8" name="Freeform 24"/>
            <p:cNvSpPr>
              <a:spLocks/>
            </p:cNvSpPr>
            <p:nvPr/>
          </p:nvSpPr>
          <p:spPr bwMode="auto">
            <a:xfrm>
              <a:off x="6916166" y="6321065"/>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alpha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9" name="Freeform 17"/>
            <p:cNvSpPr>
              <a:spLocks/>
            </p:cNvSpPr>
            <p:nvPr/>
          </p:nvSpPr>
          <p:spPr bwMode="auto">
            <a:xfrm>
              <a:off x="7081476" y="6321065"/>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1" name="Freeform 23"/>
            <p:cNvSpPr>
              <a:spLocks/>
            </p:cNvSpPr>
            <p:nvPr/>
          </p:nvSpPr>
          <p:spPr bwMode="auto">
            <a:xfrm>
              <a:off x="6980694" y="5942635"/>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2" name="Freeform 24"/>
            <p:cNvSpPr>
              <a:spLocks/>
            </p:cNvSpPr>
            <p:nvPr/>
          </p:nvSpPr>
          <p:spPr bwMode="auto">
            <a:xfrm>
              <a:off x="7148153" y="5942635"/>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alpha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3" name="Freeform 29"/>
            <p:cNvSpPr>
              <a:spLocks/>
            </p:cNvSpPr>
            <p:nvPr/>
          </p:nvSpPr>
          <p:spPr bwMode="auto">
            <a:xfrm>
              <a:off x="7315614" y="5942635"/>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4" name="Freeform 17"/>
            <p:cNvSpPr>
              <a:spLocks/>
            </p:cNvSpPr>
            <p:nvPr/>
          </p:nvSpPr>
          <p:spPr bwMode="auto">
            <a:xfrm>
              <a:off x="7483073" y="5942635"/>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785" name="Group 740"/>
            <p:cNvGrpSpPr/>
            <p:nvPr/>
          </p:nvGrpSpPr>
          <p:grpSpPr>
            <a:xfrm>
              <a:off x="6714692" y="5939406"/>
              <a:ext cx="193952" cy="261918"/>
              <a:chOff x="7011958" y="-48945"/>
              <a:chExt cx="557213" cy="752475"/>
            </a:xfrm>
            <a:solidFill>
              <a:schemeClr val="bg1">
                <a:lumMod val="85000"/>
                <a:alpha val="25000"/>
              </a:schemeClr>
            </a:solidFill>
          </p:grpSpPr>
          <p:sp>
            <p:nvSpPr>
              <p:cNvPr id="21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86" name="Group 746"/>
            <p:cNvGrpSpPr/>
            <p:nvPr/>
          </p:nvGrpSpPr>
          <p:grpSpPr>
            <a:xfrm>
              <a:off x="8059559" y="5939406"/>
              <a:ext cx="193952" cy="261918"/>
              <a:chOff x="7011958" y="-48945"/>
              <a:chExt cx="557213" cy="752475"/>
            </a:xfrm>
            <a:solidFill>
              <a:schemeClr val="bg1">
                <a:lumMod val="85000"/>
                <a:alpha val="25000"/>
              </a:schemeClr>
            </a:solidFill>
          </p:grpSpPr>
          <p:sp>
            <p:nvSpPr>
              <p:cNvPr id="215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87" name="Freeform 19"/>
            <p:cNvSpPr>
              <a:spLocks/>
            </p:cNvSpPr>
            <p:nvPr/>
          </p:nvSpPr>
          <p:spPr bwMode="auto">
            <a:xfrm>
              <a:off x="8325559" y="5942635"/>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8" name="Freeform 7"/>
            <p:cNvSpPr>
              <a:spLocks/>
            </p:cNvSpPr>
            <p:nvPr/>
          </p:nvSpPr>
          <p:spPr bwMode="auto">
            <a:xfrm>
              <a:off x="8493019" y="5942635"/>
              <a:ext cx="93569"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9" name="Freeform 8"/>
            <p:cNvSpPr>
              <a:spLocks/>
            </p:cNvSpPr>
            <p:nvPr/>
          </p:nvSpPr>
          <p:spPr bwMode="auto">
            <a:xfrm>
              <a:off x="8658645" y="5942635"/>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0" name="Freeform 23"/>
            <p:cNvSpPr>
              <a:spLocks/>
            </p:cNvSpPr>
            <p:nvPr/>
          </p:nvSpPr>
          <p:spPr bwMode="auto">
            <a:xfrm>
              <a:off x="9088442" y="5942635"/>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1" name="Freeform 24"/>
            <p:cNvSpPr>
              <a:spLocks/>
            </p:cNvSpPr>
            <p:nvPr/>
          </p:nvSpPr>
          <p:spPr bwMode="auto">
            <a:xfrm>
              <a:off x="9255901" y="5942635"/>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alpha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2" name="Freeform 17"/>
            <p:cNvSpPr>
              <a:spLocks/>
            </p:cNvSpPr>
            <p:nvPr/>
          </p:nvSpPr>
          <p:spPr bwMode="auto">
            <a:xfrm>
              <a:off x="9423362" y="5942635"/>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3" name="Freeform 18"/>
            <p:cNvSpPr>
              <a:spLocks noEditPoints="1"/>
            </p:cNvSpPr>
            <p:nvPr/>
          </p:nvSpPr>
          <p:spPr bwMode="auto">
            <a:xfrm>
              <a:off x="9587151" y="5933462"/>
              <a:ext cx="177963" cy="26786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4" name="Freeform 20"/>
            <p:cNvSpPr>
              <a:spLocks noEditPoints="1"/>
            </p:cNvSpPr>
            <p:nvPr/>
          </p:nvSpPr>
          <p:spPr bwMode="auto">
            <a:xfrm>
              <a:off x="9837171" y="5933462"/>
              <a:ext cx="177963" cy="26786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795" name="Group 740"/>
            <p:cNvGrpSpPr/>
            <p:nvPr/>
          </p:nvGrpSpPr>
          <p:grpSpPr>
            <a:xfrm>
              <a:off x="8822442" y="5939406"/>
              <a:ext cx="193952" cy="261918"/>
              <a:chOff x="7011958" y="-48945"/>
              <a:chExt cx="557213" cy="752475"/>
            </a:xfrm>
            <a:solidFill>
              <a:schemeClr val="bg1">
                <a:lumMod val="85000"/>
                <a:alpha val="25000"/>
              </a:schemeClr>
            </a:solidFill>
          </p:grpSpPr>
          <p:sp>
            <p:nvSpPr>
              <p:cNvPr id="215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96" name="Freeform 16"/>
            <p:cNvSpPr>
              <a:spLocks noEditPoints="1"/>
            </p:cNvSpPr>
            <p:nvPr/>
          </p:nvSpPr>
          <p:spPr bwMode="auto">
            <a:xfrm>
              <a:off x="10585899" y="5933462"/>
              <a:ext cx="177963" cy="26786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alpha val="18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7" name="Freeform 16"/>
            <p:cNvSpPr>
              <a:spLocks noEditPoints="1"/>
            </p:cNvSpPr>
            <p:nvPr/>
          </p:nvSpPr>
          <p:spPr bwMode="auto">
            <a:xfrm>
              <a:off x="11001544" y="5933462"/>
              <a:ext cx="177963" cy="26786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alpha val="18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8" name="Freeform 5"/>
            <p:cNvSpPr>
              <a:spLocks/>
            </p:cNvSpPr>
            <p:nvPr/>
          </p:nvSpPr>
          <p:spPr bwMode="auto">
            <a:xfrm>
              <a:off x="10835919" y="5942636"/>
              <a:ext cx="93569" cy="25868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9" name="Freeform 20"/>
            <p:cNvSpPr>
              <a:spLocks noEditPoints="1"/>
            </p:cNvSpPr>
            <p:nvPr/>
          </p:nvSpPr>
          <p:spPr bwMode="auto">
            <a:xfrm>
              <a:off x="11251563" y="5933462"/>
              <a:ext cx="177963" cy="26786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800" name="Group 746"/>
            <p:cNvGrpSpPr/>
            <p:nvPr/>
          </p:nvGrpSpPr>
          <p:grpSpPr>
            <a:xfrm>
              <a:off x="11501589" y="5939406"/>
              <a:ext cx="193952" cy="261918"/>
              <a:chOff x="7011958" y="-48945"/>
              <a:chExt cx="557213" cy="752475"/>
            </a:xfrm>
            <a:solidFill>
              <a:schemeClr val="tx1">
                <a:alpha val="7000"/>
              </a:schemeClr>
            </a:solidFill>
          </p:grpSpPr>
          <p:sp>
            <p:nvSpPr>
              <p:cNvPr id="21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01" name="Freeform 18"/>
            <p:cNvSpPr>
              <a:spLocks noEditPoints="1"/>
            </p:cNvSpPr>
            <p:nvPr/>
          </p:nvSpPr>
          <p:spPr bwMode="auto">
            <a:xfrm>
              <a:off x="12033795" y="5933462"/>
              <a:ext cx="177963" cy="26786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02" name="Freeform 19"/>
            <p:cNvSpPr>
              <a:spLocks/>
            </p:cNvSpPr>
            <p:nvPr/>
          </p:nvSpPr>
          <p:spPr bwMode="auto">
            <a:xfrm>
              <a:off x="12269683" y="5942635"/>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04" name="Freeform 21"/>
            <p:cNvSpPr>
              <a:spLocks noEditPoints="1"/>
            </p:cNvSpPr>
            <p:nvPr/>
          </p:nvSpPr>
          <p:spPr bwMode="auto">
            <a:xfrm>
              <a:off x="11767589" y="5946421"/>
              <a:ext cx="194149" cy="254904"/>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bg1">
                <a:lumMod val="85000"/>
                <a:alpha val="2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06" name="Freeform 23"/>
            <p:cNvSpPr>
              <a:spLocks/>
            </p:cNvSpPr>
            <p:nvPr/>
          </p:nvSpPr>
          <p:spPr bwMode="auto">
            <a:xfrm>
              <a:off x="10087190" y="5942635"/>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alpha val="2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07" name="Freeform 24"/>
            <p:cNvSpPr>
              <a:spLocks/>
            </p:cNvSpPr>
            <p:nvPr/>
          </p:nvSpPr>
          <p:spPr bwMode="auto">
            <a:xfrm>
              <a:off x="10254650" y="5942635"/>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alpha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08" name="Freeform 17"/>
            <p:cNvSpPr>
              <a:spLocks/>
            </p:cNvSpPr>
            <p:nvPr/>
          </p:nvSpPr>
          <p:spPr bwMode="auto">
            <a:xfrm>
              <a:off x="10422110" y="5942635"/>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09" name="Freeform 19"/>
            <p:cNvSpPr>
              <a:spLocks/>
            </p:cNvSpPr>
            <p:nvPr/>
          </p:nvSpPr>
          <p:spPr bwMode="auto">
            <a:xfrm>
              <a:off x="11161574" y="5571901"/>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10" name="Freeform 7"/>
            <p:cNvSpPr>
              <a:spLocks/>
            </p:cNvSpPr>
            <p:nvPr/>
          </p:nvSpPr>
          <p:spPr bwMode="auto">
            <a:xfrm>
              <a:off x="11326538" y="5571901"/>
              <a:ext cx="93569"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11" name="Freeform 8"/>
            <p:cNvSpPr>
              <a:spLocks/>
            </p:cNvSpPr>
            <p:nvPr/>
          </p:nvSpPr>
          <p:spPr bwMode="auto">
            <a:xfrm>
              <a:off x="11489668" y="5571901"/>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12" name="Freeform 13"/>
            <p:cNvSpPr>
              <a:spLocks/>
            </p:cNvSpPr>
            <p:nvPr/>
          </p:nvSpPr>
          <p:spPr bwMode="auto">
            <a:xfrm>
              <a:off x="11650962" y="5571901"/>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13" name="Freeform 23"/>
            <p:cNvSpPr>
              <a:spLocks/>
            </p:cNvSpPr>
            <p:nvPr/>
          </p:nvSpPr>
          <p:spPr bwMode="auto">
            <a:xfrm>
              <a:off x="12079439" y="5571901"/>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14" name="Freeform 24"/>
            <p:cNvSpPr>
              <a:spLocks/>
            </p:cNvSpPr>
            <p:nvPr/>
          </p:nvSpPr>
          <p:spPr bwMode="auto">
            <a:xfrm>
              <a:off x="12244407" y="5571901"/>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alpha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815" name="Group 740"/>
            <p:cNvGrpSpPr/>
            <p:nvPr/>
          </p:nvGrpSpPr>
          <p:grpSpPr>
            <a:xfrm>
              <a:off x="11815934" y="5568672"/>
              <a:ext cx="193952" cy="261918"/>
              <a:chOff x="7011958" y="-48945"/>
              <a:chExt cx="557213" cy="752475"/>
            </a:xfrm>
            <a:solidFill>
              <a:schemeClr val="bg1">
                <a:lumMod val="85000"/>
                <a:alpha val="25000"/>
              </a:schemeClr>
            </a:solidFill>
          </p:grpSpPr>
          <p:sp>
            <p:nvSpPr>
              <p:cNvPr id="21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16" name="Freeform 18"/>
            <p:cNvSpPr>
              <a:spLocks noEditPoints="1"/>
            </p:cNvSpPr>
            <p:nvPr/>
          </p:nvSpPr>
          <p:spPr bwMode="auto">
            <a:xfrm>
              <a:off x="9764648" y="5562728"/>
              <a:ext cx="177963" cy="26786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17" name="Freeform 20"/>
            <p:cNvSpPr>
              <a:spLocks noEditPoints="1"/>
            </p:cNvSpPr>
            <p:nvPr/>
          </p:nvSpPr>
          <p:spPr bwMode="auto">
            <a:xfrm>
              <a:off x="10012173" y="5562728"/>
              <a:ext cx="177963" cy="26786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18" name="Freeform 16"/>
            <p:cNvSpPr>
              <a:spLocks noEditPoints="1"/>
            </p:cNvSpPr>
            <p:nvPr/>
          </p:nvSpPr>
          <p:spPr bwMode="auto">
            <a:xfrm>
              <a:off x="10750919" y="5598066"/>
              <a:ext cx="177963" cy="26786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alpha val="18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19" name="Freeform 5"/>
            <p:cNvSpPr>
              <a:spLocks/>
            </p:cNvSpPr>
            <p:nvPr/>
          </p:nvSpPr>
          <p:spPr bwMode="auto">
            <a:xfrm>
              <a:off x="10998444" y="5571902"/>
              <a:ext cx="93569" cy="25868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20" name="Freeform 23"/>
            <p:cNvSpPr>
              <a:spLocks/>
            </p:cNvSpPr>
            <p:nvPr/>
          </p:nvSpPr>
          <p:spPr bwMode="auto">
            <a:xfrm>
              <a:off x="10259696" y="5571901"/>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21" name="Freeform 24"/>
            <p:cNvSpPr>
              <a:spLocks/>
            </p:cNvSpPr>
            <p:nvPr/>
          </p:nvSpPr>
          <p:spPr bwMode="auto">
            <a:xfrm>
              <a:off x="10424661" y="5571901"/>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alpha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22" name="Freeform 17"/>
            <p:cNvSpPr>
              <a:spLocks/>
            </p:cNvSpPr>
            <p:nvPr/>
          </p:nvSpPr>
          <p:spPr bwMode="auto">
            <a:xfrm>
              <a:off x="10589625" y="5571901"/>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826" name="Group 746"/>
            <p:cNvGrpSpPr/>
            <p:nvPr/>
          </p:nvGrpSpPr>
          <p:grpSpPr>
            <a:xfrm>
              <a:off x="7109453" y="5568672"/>
              <a:ext cx="193952" cy="261918"/>
              <a:chOff x="7011958" y="-48945"/>
              <a:chExt cx="557213" cy="752475"/>
            </a:xfrm>
            <a:solidFill>
              <a:schemeClr val="bg1">
                <a:lumMod val="85000"/>
                <a:alpha val="25000"/>
              </a:schemeClr>
            </a:solidFill>
          </p:grpSpPr>
          <p:sp>
            <p:nvSpPr>
              <p:cNvPr id="21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27" name="Freeform 19"/>
            <p:cNvSpPr>
              <a:spLocks/>
            </p:cNvSpPr>
            <p:nvPr/>
          </p:nvSpPr>
          <p:spPr bwMode="auto">
            <a:xfrm>
              <a:off x="7372958" y="5571901"/>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28" name="Freeform 7"/>
            <p:cNvSpPr>
              <a:spLocks/>
            </p:cNvSpPr>
            <p:nvPr/>
          </p:nvSpPr>
          <p:spPr bwMode="auto">
            <a:xfrm>
              <a:off x="7537922" y="5571901"/>
              <a:ext cx="93569"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29" name="Freeform 8"/>
            <p:cNvSpPr>
              <a:spLocks/>
            </p:cNvSpPr>
            <p:nvPr/>
          </p:nvSpPr>
          <p:spPr bwMode="auto">
            <a:xfrm>
              <a:off x="7701052" y="5571901"/>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1" name="Freeform 8"/>
            <p:cNvSpPr>
              <a:spLocks/>
            </p:cNvSpPr>
            <p:nvPr/>
          </p:nvSpPr>
          <p:spPr bwMode="auto">
            <a:xfrm>
              <a:off x="7862347" y="5571901"/>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2" name="Freeform 23"/>
            <p:cNvSpPr>
              <a:spLocks/>
            </p:cNvSpPr>
            <p:nvPr/>
          </p:nvSpPr>
          <p:spPr bwMode="auto">
            <a:xfrm>
              <a:off x="8287154" y="5571901"/>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3" name="Freeform 24"/>
            <p:cNvSpPr>
              <a:spLocks/>
            </p:cNvSpPr>
            <p:nvPr/>
          </p:nvSpPr>
          <p:spPr bwMode="auto">
            <a:xfrm>
              <a:off x="8452118" y="5571901"/>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alpha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4" name="Freeform 17"/>
            <p:cNvSpPr>
              <a:spLocks/>
            </p:cNvSpPr>
            <p:nvPr/>
          </p:nvSpPr>
          <p:spPr bwMode="auto">
            <a:xfrm>
              <a:off x="8617083" y="5571901"/>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835" name="Group 740"/>
            <p:cNvGrpSpPr/>
            <p:nvPr/>
          </p:nvGrpSpPr>
          <p:grpSpPr>
            <a:xfrm>
              <a:off x="8023649" y="5568672"/>
              <a:ext cx="193952" cy="261918"/>
              <a:chOff x="7011958" y="-48945"/>
              <a:chExt cx="557213" cy="752475"/>
            </a:xfrm>
            <a:solidFill>
              <a:schemeClr val="bg1">
                <a:lumMod val="85000"/>
                <a:alpha val="25000"/>
              </a:schemeClr>
            </a:solidFill>
          </p:grpSpPr>
          <p:sp>
            <p:nvSpPr>
              <p:cNvPr id="21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36" name="Freeform 18"/>
            <p:cNvSpPr>
              <a:spLocks noEditPoints="1"/>
            </p:cNvSpPr>
            <p:nvPr/>
          </p:nvSpPr>
          <p:spPr bwMode="auto">
            <a:xfrm>
              <a:off x="8778377" y="5562728"/>
              <a:ext cx="177963" cy="26786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7" name="Freeform 20"/>
            <p:cNvSpPr>
              <a:spLocks noEditPoints="1"/>
            </p:cNvSpPr>
            <p:nvPr/>
          </p:nvSpPr>
          <p:spPr bwMode="auto">
            <a:xfrm>
              <a:off x="9025902" y="5562728"/>
              <a:ext cx="177963" cy="26786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8" name="Freeform 23"/>
            <p:cNvSpPr>
              <a:spLocks/>
            </p:cNvSpPr>
            <p:nvPr/>
          </p:nvSpPr>
          <p:spPr bwMode="auto">
            <a:xfrm>
              <a:off x="9273425" y="5571901"/>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9" name="Freeform 24"/>
            <p:cNvSpPr>
              <a:spLocks/>
            </p:cNvSpPr>
            <p:nvPr/>
          </p:nvSpPr>
          <p:spPr bwMode="auto">
            <a:xfrm>
              <a:off x="9438389" y="5571901"/>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0" name="Freeform 17"/>
            <p:cNvSpPr>
              <a:spLocks/>
            </p:cNvSpPr>
            <p:nvPr/>
          </p:nvSpPr>
          <p:spPr bwMode="auto">
            <a:xfrm>
              <a:off x="9603354" y="5571901"/>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1" name="Freeform 18"/>
            <p:cNvSpPr>
              <a:spLocks noEditPoints="1"/>
            </p:cNvSpPr>
            <p:nvPr/>
          </p:nvSpPr>
          <p:spPr bwMode="auto">
            <a:xfrm>
              <a:off x="8936967" y="5215277"/>
              <a:ext cx="177963" cy="26786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2" name="Freeform 19"/>
            <p:cNvSpPr>
              <a:spLocks/>
            </p:cNvSpPr>
            <p:nvPr/>
          </p:nvSpPr>
          <p:spPr bwMode="auto">
            <a:xfrm>
              <a:off x="9187258" y="5224450"/>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3" name="Freeform 7"/>
            <p:cNvSpPr>
              <a:spLocks/>
            </p:cNvSpPr>
            <p:nvPr/>
          </p:nvSpPr>
          <p:spPr bwMode="auto">
            <a:xfrm>
              <a:off x="9354989" y="5224450"/>
              <a:ext cx="93569"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4" name="Freeform 8"/>
            <p:cNvSpPr>
              <a:spLocks/>
            </p:cNvSpPr>
            <p:nvPr/>
          </p:nvSpPr>
          <p:spPr bwMode="auto">
            <a:xfrm>
              <a:off x="9520887" y="5224450"/>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5" name="Freeform 13"/>
            <p:cNvSpPr>
              <a:spLocks/>
            </p:cNvSpPr>
            <p:nvPr/>
          </p:nvSpPr>
          <p:spPr bwMode="auto">
            <a:xfrm>
              <a:off x="9684948" y="5224450"/>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6" name="Freeform 23"/>
            <p:cNvSpPr>
              <a:spLocks/>
            </p:cNvSpPr>
            <p:nvPr/>
          </p:nvSpPr>
          <p:spPr bwMode="auto">
            <a:xfrm>
              <a:off x="10118961" y="5224450"/>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7" name="Freeform 24"/>
            <p:cNvSpPr>
              <a:spLocks/>
            </p:cNvSpPr>
            <p:nvPr/>
          </p:nvSpPr>
          <p:spPr bwMode="auto">
            <a:xfrm>
              <a:off x="10286693" y="5224450"/>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8" name="Freeform 29"/>
            <p:cNvSpPr>
              <a:spLocks/>
            </p:cNvSpPr>
            <p:nvPr/>
          </p:nvSpPr>
          <p:spPr bwMode="auto">
            <a:xfrm>
              <a:off x="10454425" y="5224450"/>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9" name="Freeform 17"/>
            <p:cNvSpPr>
              <a:spLocks/>
            </p:cNvSpPr>
            <p:nvPr/>
          </p:nvSpPr>
          <p:spPr bwMode="auto">
            <a:xfrm>
              <a:off x="10622157" y="5224450"/>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850" name="Group 740"/>
            <p:cNvGrpSpPr/>
            <p:nvPr/>
          </p:nvGrpSpPr>
          <p:grpSpPr>
            <a:xfrm>
              <a:off x="9852689" y="5221221"/>
              <a:ext cx="193952" cy="261918"/>
              <a:chOff x="7011958" y="-48945"/>
              <a:chExt cx="557213" cy="752475"/>
            </a:xfrm>
            <a:solidFill>
              <a:schemeClr val="tx1">
                <a:alpha val="12000"/>
              </a:schemeClr>
            </a:solidFill>
          </p:grpSpPr>
          <p:sp>
            <p:nvSpPr>
              <p:cNvPr id="21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51" name="Group 746"/>
            <p:cNvGrpSpPr/>
            <p:nvPr/>
          </p:nvGrpSpPr>
          <p:grpSpPr>
            <a:xfrm>
              <a:off x="11199187" y="5221221"/>
              <a:ext cx="193952" cy="261918"/>
              <a:chOff x="7011958" y="-48945"/>
              <a:chExt cx="557213" cy="752475"/>
            </a:xfrm>
            <a:solidFill>
              <a:schemeClr val="tx1">
                <a:alpha val="7000"/>
              </a:schemeClr>
            </a:solidFill>
          </p:grpSpPr>
          <p:sp>
            <p:nvSpPr>
              <p:cNvPr id="21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52" name="Freeform 19"/>
            <p:cNvSpPr>
              <a:spLocks/>
            </p:cNvSpPr>
            <p:nvPr/>
          </p:nvSpPr>
          <p:spPr bwMode="auto">
            <a:xfrm>
              <a:off x="11465459" y="5224450"/>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53" name="Freeform 7"/>
            <p:cNvSpPr>
              <a:spLocks/>
            </p:cNvSpPr>
            <p:nvPr/>
          </p:nvSpPr>
          <p:spPr bwMode="auto">
            <a:xfrm>
              <a:off x="11633191" y="5224450"/>
              <a:ext cx="93569"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54" name="Freeform 8"/>
            <p:cNvSpPr>
              <a:spLocks/>
            </p:cNvSpPr>
            <p:nvPr/>
          </p:nvSpPr>
          <p:spPr bwMode="auto">
            <a:xfrm>
              <a:off x="11799088" y="5224450"/>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55" name="Freeform 23"/>
            <p:cNvSpPr>
              <a:spLocks/>
            </p:cNvSpPr>
            <p:nvPr/>
          </p:nvSpPr>
          <p:spPr bwMode="auto">
            <a:xfrm>
              <a:off x="12229430" y="5224450"/>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856" name="Group 740"/>
            <p:cNvGrpSpPr/>
            <p:nvPr/>
          </p:nvGrpSpPr>
          <p:grpSpPr>
            <a:xfrm>
              <a:off x="11963158" y="5221221"/>
              <a:ext cx="193952" cy="261918"/>
              <a:chOff x="7011958" y="-48945"/>
              <a:chExt cx="557213" cy="752475"/>
            </a:xfrm>
            <a:solidFill>
              <a:schemeClr val="tx1">
                <a:alpha val="7000"/>
              </a:schemeClr>
            </a:solidFill>
          </p:grpSpPr>
          <p:sp>
            <p:nvSpPr>
              <p:cNvPr id="21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59" name="Freeform 24"/>
            <p:cNvSpPr>
              <a:spLocks/>
            </p:cNvSpPr>
            <p:nvPr/>
          </p:nvSpPr>
          <p:spPr bwMode="auto">
            <a:xfrm>
              <a:off x="9329368" y="4886346"/>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0" name="Freeform 29"/>
            <p:cNvSpPr>
              <a:spLocks/>
            </p:cNvSpPr>
            <p:nvPr/>
          </p:nvSpPr>
          <p:spPr bwMode="auto">
            <a:xfrm>
              <a:off x="9494679" y="4886346"/>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1" name="Freeform 17"/>
            <p:cNvSpPr>
              <a:spLocks/>
            </p:cNvSpPr>
            <p:nvPr/>
          </p:nvSpPr>
          <p:spPr bwMode="auto">
            <a:xfrm>
              <a:off x="9659991" y="4886345"/>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862" name="Group 746"/>
            <p:cNvGrpSpPr/>
            <p:nvPr/>
          </p:nvGrpSpPr>
          <p:grpSpPr>
            <a:xfrm>
              <a:off x="10232180" y="4883117"/>
              <a:ext cx="193952" cy="261918"/>
              <a:chOff x="7011958" y="-48945"/>
              <a:chExt cx="557213" cy="752475"/>
            </a:xfrm>
            <a:solidFill>
              <a:schemeClr val="tx1">
                <a:alpha val="7000"/>
              </a:schemeClr>
            </a:solidFill>
          </p:grpSpPr>
          <p:sp>
            <p:nvSpPr>
              <p:cNvPr id="20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63" name="Freeform 19"/>
            <p:cNvSpPr>
              <a:spLocks/>
            </p:cNvSpPr>
            <p:nvPr/>
          </p:nvSpPr>
          <p:spPr bwMode="auto">
            <a:xfrm>
              <a:off x="10496033" y="4886346"/>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4" name="Freeform 7"/>
            <p:cNvSpPr>
              <a:spLocks/>
            </p:cNvSpPr>
            <p:nvPr/>
          </p:nvSpPr>
          <p:spPr bwMode="auto">
            <a:xfrm>
              <a:off x="10661345" y="4886346"/>
              <a:ext cx="93569"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5" name="Freeform 8"/>
            <p:cNvSpPr>
              <a:spLocks/>
            </p:cNvSpPr>
            <p:nvPr/>
          </p:nvSpPr>
          <p:spPr bwMode="auto">
            <a:xfrm>
              <a:off x="10824822" y="4886345"/>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7" name="Freeform 8"/>
            <p:cNvSpPr>
              <a:spLocks/>
            </p:cNvSpPr>
            <p:nvPr/>
          </p:nvSpPr>
          <p:spPr bwMode="auto">
            <a:xfrm>
              <a:off x="10986464" y="4886345"/>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8" name="Freeform 23"/>
            <p:cNvSpPr>
              <a:spLocks/>
            </p:cNvSpPr>
            <p:nvPr/>
          </p:nvSpPr>
          <p:spPr bwMode="auto">
            <a:xfrm>
              <a:off x="11411965" y="4886346"/>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9" name="Freeform 24"/>
            <p:cNvSpPr>
              <a:spLocks/>
            </p:cNvSpPr>
            <p:nvPr/>
          </p:nvSpPr>
          <p:spPr bwMode="auto">
            <a:xfrm>
              <a:off x="11577277" y="4886346"/>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70" name="Freeform 17"/>
            <p:cNvSpPr>
              <a:spLocks/>
            </p:cNvSpPr>
            <p:nvPr/>
          </p:nvSpPr>
          <p:spPr bwMode="auto">
            <a:xfrm>
              <a:off x="11742589" y="4886345"/>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871" name="Group 740"/>
            <p:cNvGrpSpPr/>
            <p:nvPr/>
          </p:nvGrpSpPr>
          <p:grpSpPr>
            <a:xfrm>
              <a:off x="11148112" y="4883117"/>
              <a:ext cx="193952" cy="261918"/>
              <a:chOff x="7011958" y="-48945"/>
              <a:chExt cx="557213" cy="752475"/>
            </a:xfrm>
            <a:solidFill>
              <a:schemeClr val="tx1">
                <a:alpha val="7000"/>
              </a:schemeClr>
            </a:solidFill>
          </p:grpSpPr>
          <p:sp>
            <p:nvSpPr>
              <p:cNvPr id="20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72" name="Freeform 18"/>
            <p:cNvSpPr>
              <a:spLocks noEditPoints="1"/>
            </p:cNvSpPr>
            <p:nvPr/>
          </p:nvSpPr>
          <p:spPr bwMode="auto">
            <a:xfrm>
              <a:off x="11904230" y="4877172"/>
              <a:ext cx="177963" cy="26786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73" name="Freeform 20"/>
            <p:cNvSpPr>
              <a:spLocks noEditPoints="1"/>
            </p:cNvSpPr>
            <p:nvPr/>
          </p:nvSpPr>
          <p:spPr bwMode="auto">
            <a:xfrm>
              <a:off x="12152104" y="4877172"/>
              <a:ext cx="177963" cy="26786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79" name="Freeform 16"/>
            <p:cNvSpPr>
              <a:spLocks noEditPoints="1"/>
            </p:cNvSpPr>
            <p:nvPr/>
          </p:nvSpPr>
          <p:spPr bwMode="auto">
            <a:xfrm>
              <a:off x="7106071" y="5215277"/>
              <a:ext cx="177963" cy="26786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80" name="Freeform 16"/>
            <p:cNvSpPr>
              <a:spLocks noEditPoints="1"/>
            </p:cNvSpPr>
            <p:nvPr/>
          </p:nvSpPr>
          <p:spPr bwMode="auto">
            <a:xfrm>
              <a:off x="7522259" y="5215277"/>
              <a:ext cx="177963" cy="26786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81" name="Freeform 5"/>
            <p:cNvSpPr>
              <a:spLocks/>
            </p:cNvSpPr>
            <p:nvPr/>
          </p:nvSpPr>
          <p:spPr bwMode="auto">
            <a:xfrm>
              <a:off x="7356362" y="5224451"/>
              <a:ext cx="93569" cy="25868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82" name="Freeform 20"/>
            <p:cNvSpPr>
              <a:spLocks noEditPoints="1"/>
            </p:cNvSpPr>
            <p:nvPr/>
          </p:nvSpPr>
          <p:spPr bwMode="auto">
            <a:xfrm>
              <a:off x="7772550" y="5215277"/>
              <a:ext cx="177963" cy="26786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883" name="Group 746"/>
            <p:cNvGrpSpPr/>
            <p:nvPr/>
          </p:nvGrpSpPr>
          <p:grpSpPr>
            <a:xfrm>
              <a:off x="8022849" y="5221221"/>
              <a:ext cx="193952" cy="261918"/>
              <a:chOff x="7011958" y="-48945"/>
              <a:chExt cx="557213" cy="752475"/>
            </a:xfrm>
            <a:solidFill>
              <a:schemeClr val="tx1">
                <a:alpha val="7000"/>
              </a:schemeClr>
            </a:solidFill>
          </p:grpSpPr>
          <p:sp>
            <p:nvSpPr>
              <p:cNvPr id="20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84" name="Freeform 18"/>
            <p:cNvSpPr>
              <a:spLocks noEditPoints="1"/>
            </p:cNvSpPr>
            <p:nvPr/>
          </p:nvSpPr>
          <p:spPr bwMode="auto">
            <a:xfrm>
              <a:off x="8555599" y="5215277"/>
              <a:ext cx="177963" cy="26786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85" name="Freeform 19"/>
            <p:cNvSpPr>
              <a:spLocks/>
            </p:cNvSpPr>
            <p:nvPr/>
          </p:nvSpPr>
          <p:spPr bwMode="auto">
            <a:xfrm>
              <a:off x="8805887" y="5224450"/>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86" name="Freeform 21"/>
            <p:cNvSpPr>
              <a:spLocks noEditPoints="1"/>
            </p:cNvSpPr>
            <p:nvPr/>
          </p:nvSpPr>
          <p:spPr bwMode="auto">
            <a:xfrm>
              <a:off x="8289122" y="5228235"/>
              <a:ext cx="194149" cy="254904"/>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88" name="Freeform 24"/>
            <p:cNvSpPr>
              <a:spLocks/>
            </p:cNvSpPr>
            <p:nvPr/>
          </p:nvSpPr>
          <p:spPr bwMode="auto">
            <a:xfrm>
              <a:off x="6774277" y="5224450"/>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89" name="Freeform 17"/>
            <p:cNvSpPr>
              <a:spLocks/>
            </p:cNvSpPr>
            <p:nvPr/>
          </p:nvSpPr>
          <p:spPr bwMode="auto">
            <a:xfrm>
              <a:off x="6942009" y="5224450"/>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90" name="Freeform 19"/>
            <p:cNvSpPr>
              <a:spLocks/>
            </p:cNvSpPr>
            <p:nvPr/>
          </p:nvSpPr>
          <p:spPr bwMode="auto">
            <a:xfrm>
              <a:off x="7668602" y="4886346"/>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91" name="Freeform 7"/>
            <p:cNvSpPr>
              <a:spLocks/>
            </p:cNvSpPr>
            <p:nvPr/>
          </p:nvSpPr>
          <p:spPr bwMode="auto">
            <a:xfrm>
              <a:off x="7833913" y="4886346"/>
              <a:ext cx="93569"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92" name="Freeform 8"/>
            <p:cNvSpPr>
              <a:spLocks/>
            </p:cNvSpPr>
            <p:nvPr/>
          </p:nvSpPr>
          <p:spPr bwMode="auto">
            <a:xfrm>
              <a:off x="7997390" y="4886345"/>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93" name="Freeform 13"/>
            <p:cNvSpPr>
              <a:spLocks/>
            </p:cNvSpPr>
            <p:nvPr/>
          </p:nvSpPr>
          <p:spPr bwMode="auto">
            <a:xfrm>
              <a:off x="8159032" y="4886346"/>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94" name="Freeform 23"/>
            <p:cNvSpPr>
              <a:spLocks/>
            </p:cNvSpPr>
            <p:nvPr/>
          </p:nvSpPr>
          <p:spPr bwMode="auto">
            <a:xfrm>
              <a:off x="8588204" y="4886346"/>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95" name="Freeform 24"/>
            <p:cNvSpPr>
              <a:spLocks/>
            </p:cNvSpPr>
            <p:nvPr/>
          </p:nvSpPr>
          <p:spPr bwMode="auto">
            <a:xfrm>
              <a:off x="8753516" y="4886346"/>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896" name="Group 740"/>
            <p:cNvGrpSpPr/>
            <p:nvPr/>
          </p:nvGrpSpPr>
          <p:grpSpPr>
            <a:xfrm>
              <a:off x="8324352" y="4883117"/>
              <a:ext cx="193952" cy="261918"/>
              <a:chOff x="7011958" y="-48945"/>
              <a:chExt cx="557213" cy="752475"/>
            </a:xfrm>
            <a:solidFill>
              <a:schemeClr val="tx1">
                <a:alpha val="12000"/>
              </a:schemeClr>
            </a:solidFill>
          </p:grpSpPr>
          <p:sp>
            <p:nvSpPr>
              <p:cNvPr id="20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99" name="Freeform 16"/>
            <p:cNvSpPr>
              <a:spLocks noEditPoints="1"/>
            </p:cNvSpPr>
            <p:nvPr/>
          </p:nvSpPr>
          <p:spPr bwMode="auto">
            <a:xfrm>
              <a:off x="7257254" y="4877172"/>
              <a:ext cx="177963" cy="26786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00" name="Freeform 5"/>
            <p:cNvSpPr>
              <a:spLocks/>
            </p:cNvSpPr>
            <p:nvPr/>
          </p:nvSpPr>
          <p:spPr bwMode="auto">
            <a:xfrm>
              <a:off x="7505125" y="4886346"/>
              <a:ext cx="93569" cy="25868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01" name="Freeform 23"/>
            <p:cNvSpPr>
              <a:spLocks/>
            </p:cNvSpPr>
            <p:nvPr/>
          </p:nvSpPr>
          <p:spPr bwMode="auto">
            <a:xfrm>
              <a:off x="6764989" y="4886346"/>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02" name="Freeform 24"/>
            <p:cNvSpPr>
              <a:spLocks/>
            </p:cNvSpPr>
            <p:nvPr/>
          </p:nvSpPr>
          <p:spPr bwMode="auto">
            <a:xfrm>
              <a:off x="6930301" y="4886346"/>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03" name="Freeform 17"/>
            <p:cNvSpPr>
              <a:spLocks/>
            </p:cNvSpPr>
            <p:nvPr/>
          </p:nvSpPr>
          <p:spPr bwMode="auto">
            <a:xfrm>
              <a:off x="7095612" y="4886345"/>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10" name="Freeform 18"/>
            <p:cNvSpPr>
              <a:spLocks noEditPoints="1"/>
            </p:cNvSpPr>
            <p:nvPr/>
          </p:nvSpPr>
          <p:spPr bwMode="auto">
            <a:xfrm>
              <a:off x="8944034" y="4557991"/>
              <a:ext cx="177963" cy="26786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11" name="Freeform 19"/>
            <p:cNvSpPr>
              <a:spLocks/>
            </p:cNvSpPr>
            <p:nvPr/>
          </p:nvSpPr>
          <p:spPr bwMode="auto">
            <a:xfrm>
              <a:off x="9194326" y="4567164"/>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12" name="Freeform 7"/>
            <p:cNvSpPr>
              <a:spLocks/>
            </p:cNvSpPr>
            <p:nvPr/>
          </p:nvSpPr>
          <p:spPr bwMode="auto">
            <a:xfrm>
              <a:off x="9362057" y="4567164"/>
              <a:ext cx="93569"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13" name="Freeform 8"/>
            <p:cNvSpPr>
              <a:spLocks/>
            </p:cNvSpPr>
            <p:nvPr/>
          </p:nvSpPr>
          <p:spPr bwMode="auto">
            <a:xfrm>
              <a:off x="9527955" y="4567164"/>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14" name="Freeform 13"/>
            <p:cNvSpPr>
              <a:spLocks/>
            </p:cNvSpPr>
            <p:nvPr/>
          </p:nvSpPr>
          <p:spPr bwMode="auto">
            <a:xfrm>
              <a:off x="9692016" y="4567164"/>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15" name="Freeform 23"/>
            <p:cNvSpPr>
              <a:spLocks/>
            </p:cNvSpPr>
            <p:nvPr/>
          </p:nvSpPr>
          <p:spPr bwMode="auto">
            <a:xfrm>
              <a:off x="10126028" y="4567164"/>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16" name="Freeform 24"/>
            <p:cNvSpPr>
              <a:spLocks/>
            </p:cNvSpPr>
            <p:nvPr/>
          </p:nvSpPr>
          <p:spPr bwMode="auto">
            <a:xfrm>
              <a:off x="10293761" y="4567164"/>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17" name="Freeform 29"/>
            <p:cNvSpPr>
              <a:spLocks/>
            </p:cNvSpPr>
            <p:nvPr/>
          </p:nvSpPr>
          <p:spPr bwMode="auto">
            <a:xfrm>
              <a:off x="10461492" y="4567164"/>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18" name="Freeform 17"/>
            <p:cNvSpPr>
              <a:spLocks/>
            </p:cNvSpPr>
            <p:nvPr/>
          </p:nvSpPr>
          <p:spPr bwMode="auto">
            <a:xfrm>
              <a:off x="10629225" y="4567164"/>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19" name="Group 740"/>
            <p:cNvGrpSpPr/>
            <p:nvPr/>
          </p:nvGrpSpPr>
          <p:grpSpPr>
            <a:xfrm>
              <a:off x="9859756" y="4563936"/>
              <a:ext cx="193952" cy="261918"/>
              <a:chOff x="7011958" y="-48945"/>
              <a:chExt cx="557213" cy="752475"/>
            </a:xfrm>
            <a:solidFill>
              <a:schemeClr val="bg1">
                <a:lumMod val="75000"/>
              </a:schemeClr>
            </a:solidFill>
          </p:grpSpPr>
          <p:sp>
            <p:nvSpPr>
              <p:cNvPr id="20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20" name="Group 746"/>
            <p:cNvGrpSpPr/>
            <p:nvPr/>
          </p:nvGrpSpPr>
          <p:grpSpPr>
            <a:xfrm>
              <a:off x="11206254" y="4563936"/>
              <a:ext cx="193952" cy="261918"/>
              <a:chOff x="7011958" y="-48945"/>
              <a:chExt cx="557213" cy="752475"/>
            </a:xfrm>
            <a:solidFill>
              <a:schemeClr val="tx1">
                <a:alpha val="7000"/>
              </a:schemeClr>
            </a:solidFill>
          </p:grpSpPr>
          <p:sp>
            <p:nvSpPr>
              <p:cNvPr id="20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21" name="Freeform 19"/>
            <p:cNvSpPr>
              <a:spLocks/>
            </p:cNvSpPr>
            <p:nvPr/>
          </p:nvSpPr>
          <p:spPr bwMode="auto">
            <a:xfrm>
              <a:off x="11472526" y="4567164"/>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2" name="Freeform 7"/>
            <p:cNvSpPr>
              <a:spLocks/>
            </p:cNvSpPr>
            <p:nvPr/>
          </p:nvSpPr>
          <p:spPr bwMode="auto">
            <a:xfrm>
              <a:off x="11640259" y="4567164"/>
              <a:ext cx="93569"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3" name="Freeform 8"/>
            <p:cNvSpPr>
              <a:spLocks/>
            </p:cNvSpPr>
            <p:nvPr/>
          </p:nvSpPr>
          <p:spPr bwMode="auto">
            <a:xfrm>
              <a:off x="11806156" y="4567164"/>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4" name="Freeform 23"/>
            <p:cNvSpPr>
              <a:spLocks/>
            </p:cNvSpPr>
            <p:nvPr/>
          </p:nvSpPr>
          <p:spPr bwMode="auto">
            <a:xfrm>
              <a:off x="12236498" y="4567164"/>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25" name="Group 740"/>
            <p:cNvGrpSpPr/>
            <p:nvPr/>
          </p:nvGrpSpPr>
          <p:grpSpPr>
            <a:xfrm>
              <a:off x="11970226" y="4563936"/>
              <a:ext cx="193952" cy="261918"/>
              <a:chOff x="7011958" y="-48945"/>
              <a:chExt cx="557213" cy="752475"/>
            </a:xfrm>
            <a:solidFill>
              <a:schemeClr val="tx1">
                <a:alpha val="12000"/>
              </a:schemeClr>
            </a:solidFill>
          </p:grpSpPr>
          <p:sp>
            <p:nvSpPr>
              <p:cNvPr id="20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28" name="Freeform 24"/>
            <p:cNvSpPr>
              <a:spLocks/>
            </p:cNvSpPr>
            <p:nvPr/>
          </p:nvSpPr>
          <p:spPr bwMode="auto">
            <a:xfrm>
              <a:off x="9336436" y="4229061"/>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9" name="Freeform 29"/>
            <p:cNvSpPr>
              <a:spLocks/>
            </p:cNvSpPr>
            <p:nvPr/>
          </p:nvSpPr>
          <p:spPr bwMode="auto">
            <a:xfrm>
              <a:off x="9501747" y="4229061"/>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0" name="Freeform 17"/>
            <p:cNvSpPr>
              <a:spLocks/>
            </p:cNvSpPr>
            <p:nvPr/>
          </p:nvSpPr>
          <p:spPr bwMode="auto">
            <a:xfrm>
              <a:off x="9667059" y="4229060"/>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31" name="Group 746"/>
            <p:cNvGrpSpPr/>
            <p:nvPr/>
          </p:nvGrpSpPr>
          <p:grpSpPr>
            <a:xfrm>
              <a:off x="10239248" y="4225832"/>
              <a:ext cx="193952" cy="261918"/>
              <a:chOff x="7011958" y="-48945"/>
              <a:chExt cx="557213" cy="752475"/>
            </a:xfrm>
            <a:solidFill>
              <a:schemeClr val="tx1">
                <a:alpha val="7000"/>
              </a:schemeClr>
            </a:solidFill>
          </p:grpSpPr>
          <p:sp>
            <p:nvSpPr>
              <p:cNvPr id="20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32" name="Freeform 19"/>
            <p:cNvSpPr>
              <a:spLocks/>
            </p:cNvSpPr>
            <p:nvPr/>
          </p:nvSpPr>
          <p:spPr bwMode="auto">
            <a:xfrm>
              <a:off x="10503101" y="4229061"/>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3" name="Freeform 7"/>
            <p:cNvSpPr>
              <a:spLocks/>
            </p:cNvSpPr>
            <p:nvPr/>
          </p:nvSpPr>
          <p:spPr bwMode="auto">
            <a:xfrm>
              <a:off x="10668413" y="4229061"/>
              <a:ext cx="93569"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4" name="Freeform 8"/>
            <p:cNvSpPr>
              <a:spLocks/>
            </p:cNvSpPr>
            <p:nvPr/>
          </p:nvSpPr>
          <p:spPr bwMode="auto">
            <a:xfrm>
              <a:off x="10831890" y="4229060"/>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6" name="Freeform 8"/>
            <p:cNvSpPr>
              <a:spLocks/>
            </p:cNvSpPr>
            <p:nvPr/>
          </p:nvSpPr>
          <p:spPr bwMode="auto">
            <a:xfrm>
              <a:off x="10993532" y="4229060"/>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7" name="Freeform 23"/>
            <p:cNvSpPr>
              <a:spLocks/>
            </p:cNvSpPr>
            <p:nvPr/>
          </p:nvSpPr>
          <p:spPr bwMode="auto">
            <a:xfrm>
              <a:off x="11419032" y="4229061"/>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8" name="Freeform 24"/>
            <p:cNvSpPr>
              <a:spLocks/>
            </p:cNvSpPr>
            <p:nvPr/>
          </p:nvSpPr>
          <p:spPr bwMode="auto">
            <a:xfrm>
              <a:off x="11584344" y="4229061"/>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9" name="Freeform 17"/>
            <p:cNvSpPr>
              <a:spLocks/>
            </p:cNvSpPr>
            <p:nvPr/>
          </p:nvSpPr>
          <p:spPr bwMode="auto">
            <a:xfrm>
              <a:off x="11749656" y="4229060"/>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40" name="Group 740"/>
            <p:cNvGrpSpPr/>
            <p:nvPr/>
          </p:nvGrpSpPr>
          <p:grpSpPr>
            <a:xfrm>
              <a:off x="11155180" y="4225832"/>
              <a:ext cx="193952" cy="261918"/>
              <a:chOff x="7011958" y="-48945"/>
              <a:chExt cx="557213" cy="752475"/>
            </a:xfrm>
            <a:solidFill>
              <a:schemeClr val="tx1">
                <a:alpha val="12000"/>
              </a:schemeClr>
            </a:solidFill>
          </p:grpSpPr>
          <p:sp>
            <p:nvSpPr>
              <p:cNvPr id="20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41" name="Freeform 18"/>
            <p:cNvSpPr>
              <a:spLocks noEditPoints="1"/>
            </p:cNvSpPr>
            <p:nvPr/>
          </p:nvSpPr>
          <p:spPr bwMode="auto">
            <a:xfrm>
              <a:off x="11911298" y="4219888"/>
              <a:ext cx="177963" cy="26786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2" name="Freeform 20"/>
            <p:cNvSpPr>
              <a:spLocks noEditPoints="1"/>
            </p:cNvSpPr>
            <p:nvPr/>
          </p:nvSpPr>
          <p:spPr bwMode="auto">
            <a:xfrm>
              <a:off x="12159172" y="4219888"/>
              <a:ext cx="177963" cy="26786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8" name="Freeform 16"/>
            <p:cNvSpPr>
              <a:spLocks noEditPoints="1"/>
            </p:cNvSpPr>
            <p:nvPr/>
          </p:nvSpPr>
          <p:spPr bwMode="auto">
            <a:xfrm>
              <a:off x="7113138" y="4557991"/>
              <a:ext cx="177963" cy="26786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9" name="Freeform 16"/>
            <p:cNvSpPr>
              <a:spLocks noEditPoints="1"/>
            </p:cNvSpPr>
            <p:nvPr/>
          </p:nvSpPr>
          <p:spPr bwMode="auto">
            <a:xfrm>
              <a:off x="7529327" y="4557991"/>
              <a:ext cx="177963" cy="26786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0" name="Freeform 5"/>
            <p:cNvSpPr>
              <a:spLocks/>
            </p:cNvSpPr>
            <p:nvPr/>
          </p:nvSpPr>
          <p:spPr bwMode="auto">
            <a:xfrm>
              <a:off x="7363430" y="4567165"/>
              <a:ext cx="93569" cy="25868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1" name="Freeform 20"/>
            <p:cNvSpPr>
              <a:spLocks noEditPoints="1"/>
            </p:cNvSpPr>
            <p:nvPr/>
          </p:nvSpPr>
          <p:spPr bwMode="auto">
            <a:xfrm>
              <a:off x="7779618" y="4557991"/>
              <a:ext cx="177963" cy="26786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52" name="Group 746"/>
            <p:cNvGrpSpPr/>
            <p:nvPr/>
          </p:nvGrpSpPr>
          <p:grpSpPr>
            <a:xfrm>
              <a:off x="8029917" y="4563936"/>
              <a:ext cx="193952" cy="261918"/>
              <a:chOff x="7011958" y="-48945"/>
              <a:chExt cx="557213" cy="752475"/>
            </a:xfrm>
            <a:solidFill>
              <a:schemeClr val="tx1">
                <a:alpha val="7000"/>
              </a:schemeClr>
            </a:solidFill>
          </p:grpSpPr>
          <p:sp>
            <p:nvSpPr>
              <p:cNvPr id="20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53" name="Freeform 18"/>
            <p:cNvSpPr>
              <a:spLocks noEditPoints="1"/>
            </p:cNvSpPr>
            <p:nvPr/>
          </p:nvSpPr>
          <p:spPr bwMode="auto">
            <a:xfrm>
              <a:off x="8562667" y="4557991"/>
              <a:ext cx="177963" cy="26786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4" name="Freeform 19"/>
            <p:cNvSpPr>
              <a:spLocks/>
            </p:cNvSpPr>
            <p:nvPr/>
          </p:nvSpPr>
          <p:spPr bwMode="auto">
            <a:xfrm>
              <a:off x="8812955" y="4567164"/>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5" name="Freeform 21"/>
            <p:cNvSpPr>
              <a:spLocks noEditPoints="1"/>
            </p:cNvSpPr>
            <p:nvPr/>
          </p:nvSpPr>
          <p:spPr bwMode="auto">
            <a:xfrm>
              <a:off x="8296189" y="4570950"/>
              <a:ext cx="194149" cy="254904"/>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57" name="Freeform 24"/>
            <p:cNvSpPr>
              <a:spLocks/>
            </p:cNvSpPr>
            <p:nvPr/>
          </p:nvSpPr>
          <p:spPr bwMode="auto">
            <a:xfrm>
              <a:off x="6781345" y="4567164"/>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8" name="Freeform 17"/>
            <p:cNvSpPr>
              <a:spLocks/>
            </p:cNvSpPr>
            <p:nvPr/>
          </p:nvSpPr>
          <p:spPr bwMode="auto">
            <a:xfrm>
              <a:off x="6949076" y="4567164"/>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9" name="Freeform 19"/>
            <p:cNvSpPr>
              <a:spLocks/>
            </p:cNvSpPr>
            <p:nvPr/>
          </p:nvSpPr>
          <p:spPr bwMode="auto">
            <a:xfrm>
              <a:off x="7675670" y="4229061"/>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0" name="Freeform 7"/>
            <p:cNvSpPr>
              <a:spLocks/>
            </p:cNvSpPr>
            <p:nvPr/>
          </p:nvSpPr>
          <p:spPr bwMode="auto">
            <a:xfrm>
              <a:off x="7840981" y="4229061"/>
              <a:ext cx="93569"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1" name="Freeform 8"/>
            <p:cNvSpPr>
              <a:spLocks/>
            </p:cNvSpPr>
            <p:nvPr/>
          </p:nvSpPr>
          <p:spPr bwMode="auto">
            <a:xfrm>
              <a:off x="8004458" y="4229060"/>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2" name="Freeform 13"/>
            <p:cNvSpPr>
              <a:spLocks/>
            </p:cNvSpPr>
            <p:nvPr/>
          </p:nvSpPr>
          <p:spPr bwMode="auto">
            <a:xfrm>
              <a:off x="8166100" y="4229061"/>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3" name="Freeform 23"/>
            <p:cNvSpPr>
              <a:spLocks/>
            </p:cNvSpPr>
            <p:nvPr/>
          </p:nvSpPr>
          <p:spPr bwMode="auto">
            <a:xfrm>
              <a:off x="8595272" y="4229061"/>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4" name="Freeform 24"/>
            <p:cNvSpPr>
              <a:spLocks/>
            </p:cNvSpPr>
            <p:nvPr/>
          </p:nvSpPr>
          <p:spPr bwMode="auto">
            <a:xfrm>
              <a:off x="8760584" y="4229061"/>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alpha val="5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65" name="Group 740"/>
            <p:cNvGrpSpPr/>
            <p:nvPr/>
          </p:nvGrpSpPr>
          <p:grpSpPr>
            <a:xfrm>
              <a:off x="8331419" y="4225832"/>
              <a:ext cx="193952" cy="261918"/>
              <a:chOff x="7011958" y="-48945"/>
              <a:chExt cx="557213" cy="752475"/>
            </a:xfrm>
            <a:solidFill>
              <a:schemeClr val="tx1">
                <a:alpha val="12000"/>
              </a:schemeClr>
            </a:solidFill>
          </p:grpSpPr>
          <p:sp>
            <p:nvSpPr>
              <p:cNvPr id="20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68" name="Freeform 16"/>
            <p:cNvSpPr>
              <a:spLocks noEditPoints="1"/>
            </p:cNvSpPr>
            <p:nvPr/>
          </p:nvSpPr>
          <p:spPr bwMode="auto">
            <a:xfrm>
              <a:off x="7264322" y="4219888"/>
              <a:ext cx="177963" cy="26786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9" name="Freeform 5"/>
            <p:cNvSpPr>
              <a:spLocks/>
            </p:cNvSpPr>
            <p:nvPr/>
          </p:nvSpPr>
          <p:spPr bwMode="auto">
            <a:xfrm>
              <a:off x="7512193" y="4229061"/>
              <a:ext cx="93569" cy="25868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0" name="Freeform 23"/>
            <p:cNvSpPr>
              <a:spLocks/>
            </p:cNvSpPr>
            <p:nvPr/>
          </p:nvSpPr>
          <p:spPr bwMode="auto">
            <a:xfrm>
              <a:off x="6772056" y="4229061"/>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1" name="Freeform 24"/>
            <p:cNvSpPr>
              <a:spLocks/>
            </p:cNvSpPr>
            <p:nvPr/>
          </p:nvSpPr>
          <p:spPr bwMode="auto">
            <a:xfrm>
              <a:off x="6937368" y="4229061"/>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2" name="Freeform 17"/>
            <p:cNvSpPr>
              <a:spLocks/>
            </p:cNvSpPr>
            <p:nvPr/>
          </p:nvSpPr>
          <p:spPr bwMode="auto">
            <a:xfrm>
              <a:off x="7102679" y="4229060"/>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2" name="Freeform 23"/>
            <p:cNvSpPr>
              <a:spLocks/>
            </p:cNvSpPr>
            <p:nvPr/>
          </p:nvSpPr>
          <p:spPr bwMode="auto">
            <a:xfrm>
              <a:off x="7001896" y="3850631"/>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3" name="Freeform 24"/>
            <p:cNvSpPr>
              <a:spLocks/>
            </p:cNvSpPr>
            <p:nvPr/>
          </p:nvSpPr>
          <p:spPr bwMode="auto">
            <a:xfrm>
              <a:off x="7169356" y="3850631"/>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4" name="Freeform 29"/>
            <p:cNvSpPr>
              <a:spLocks/>
            </p:cNvSpPr>
            <p:nvPr/>
          </p:nvSpPr>
          <p:spPr bwMode="auto">
            <a:xfrm>
              <a:off x="7336817" y="3850631"/>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5" name="Freeform 17"/>
            <p:cNvSpPr>
              <a:spLocks/>
            </p:cNvSpPr>
            <p:nvPr/>
          </p:nvSpPr>
          <p:spPr bwMode="auto">
            <a:xfrm>
              <a:off x="7504276" y="3850631"/>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86" name="Group 740"/>
            <p:cNvGrpSpPr/>
            <p:nvPr/>
          </p:nvGrpSpPr>
          <p:grpSpPr>
            <a:xfrm>
              <a:off x="6735895" y="3847403"/>
              <a:ext cx="193952" cy="261918"/>
              <a:chOff x="7011958" y="-48945"/>
              <a:chExt cx="557213" cy="752475"/>
            </a:xfrm>
            <a:solidFill>
              <a:schemeClr val="tx1">
                <a:alpha val="12000"/>
              </a:schemeClr>
            </a:solidFill>
          </p:grpSpPr>
          <p:sp>
            <p:nvSpPr>
              <p:cNvPr id="20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87" name="Group 746"/>
            <p:cNvGrpSpPr/>
            <p:nvPr/>
          </p:nvGrpSpPr>
          <p:grpSpPr>
            <a:xfrm>
              <a:off x="8080762" y="3847403"/>
              <a:ext cx="193952" cy="261918"/>
              <a:chOff x="7011958" y="-48945"/>
              <a:chExt cx="557213" cy="752475"/>
            </a:xfrm>
            <a:solidFill>
              <a:schemeClr val="tx1">
                <a:alpha val="7000"/>
              </a:schemeClr>
            </a:solidFill>
          </p:grpSpPr>
          <p:sp>
            <p:nvSpPr>
              <p:cNvPr id="20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88" name="Freeform 19"/>
            <p:cNvSpPr>
              <a:spLocks/>
            </p:cNvSpPr>
            <p:nvPr/>
          </p:nvSpPr>
          <p:spPr bwMode="auto">
            <a:xfrm>
              <a:off x="8346762" y="3850631"/>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9" name="Freeform 7"/>
            <p:cNvSpPr>
              <a:spLocks/>
            </p:cNvSpPr>
            <p:nvPr/>
          </p:nvSpPr>
          <p:spPr bwMode="auto">
            <a:xfrm>
              <a:off x="8514221" y="3850631"/>
              <a:ext cx="93569"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alpha val="5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0" name="Freeform 8"/>
            <p:cNvSpPr>
              <a:spLocks/>
            </p:cNvSpPr>
            <p:nvPr/>
          </p:nvSpPr>
          <p:spPr bwMode="auto">
            <a:xfrm>
              <a:off x="8679847" y="3850631"/>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85000"/>
                <a:alpha val="5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1" name="Freeform 23"/>
            <p:cNvSpPr>
              <a:spLocks/>
            </p:cNvSpPr>
            <p:nvPr/>
          </p:nvSpPr>
          <p:spPr bwMode="auto">
            <a:xfrm>
              <a:off x="9109645" y="3850631"/>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2" name="Freeform 24"/>
            <p:cNvSpPr>
              <a:spLocks/>
            </p:cNvSpPr>
            <p:nvPr/>
          </p:nvSpPr>
          <p:spPr bwMode="auto">
            <a:xfrm>
              <a:off x="9277104" y="3850631"/>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3" name="Freeform 17"/>
            <p:cNvSpPr>
              <a:spLocks/>
            </p:cNvSpPr>
            <p:nvPr/>
          </p:nvSpPr>
          <p:spPr bwMode="auto">
            <a:xfrm>
              <a:off x="9444565" y="3850631"/>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4" name="Freeform 18"/>
            <p:cNvSpPr>
              <a:spLocks noEditPoints="1"/>
            </p:cNvSpPr>
            <p:nvPr/>
          </p:nvSpPr>
          <p:spPr bwMode="auto">
            <a:xfrm>
              <a:off x="9608354" y="3841458"/>
              <a:ext cx="177963" cy="26786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5" name="Freeform 20"/>
            <p:cNvSpPr>
              <a:spLocks noEditPoints="1"/>
            </p:cNvSpPr>
            <p:nvPr/>
          </p:nvSpPr>
          <p:spPr bwMode="auto">
            <a:xfrm>
              <a:off x="9858373" y="3841458"/>
              <a:ext cx="177963" cy="26786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96" name="Group 740"/>
            <p:cNvGrpSpPr/>
            <p:nvPr/>
          </p:nvGrpSpPr>
          <p:grpSpPr>
            <a:xfrm>
              <a:off x="8843644" y="3847403"/>
              <a:ext cx="193952" cy="261918"/>
              <a:chOff x="7011958" y="-48945"/>
              <a:chExt cx="557213" cy="752475"/>
            </a:xfrm>
            <a:solidFill>
              <a:schemeClr val="bg1">
                <a:lumMod val="85000"/>
                <a:alpha val="55000"/>
              </a:schemeClr>
            </a:solidFill>
          </p:grpSpPr>
          <p:sp>
            <p:nvSpPr>
              <p:cNvPr id="20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97" name="Freeform 16"/>
            <p:cNvSpPr>
              <a:spLocks noEditPoints="1"/>
            </p:cNvSpPr>
            <p:nvPr/>
          </p:nvSpPr>
          <p:spPr bwMode="auto">
            <a:xfrm>
              <a:off x="10607102" y="3841458"/>
              <a:ext cx="177963" cy="26786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8" name="Freeform 16"/>
            <p:cNvSpPr>
              <a:spLocks noEditPoints="1"/>
            </p:cNvSpPr>
            <p:nvPr/>
          </p:nvSpPr>
          <p:spPr bwMode="auto">
            <a:xfrm>
              <a:off x="11022746" y="3841458"/>
              <a:ext cx="177963" cy="26786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9" name="Freeform 5"/>
            <p:cNvSpPr>
              <a:spLocks/>
            </p:cNvSpPr>
            <p:nvPr/>
          </p:nvSpPr>
          <p:spPr bwMode="auto">
            <a:xfrm>
              <a:off x="10857121" y="3850632"/>
              <a:ext cx="93569" cy="25868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0" name="Freeform 20"/>
            <p:cNvSpPr>
              <a:spLocks noEditPoints="1"/>
            </p:cNvSpPr>
            <p:nvPr/>
          </p:nvSpPr>
          <p:spPr bwMode="auto">
            <a:xfrm>
              <a:off x="11272766" y="3841458"/>
              <a:ext cx="177963" cy="26786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01" name="Group 746"/>
            <p:cNvGrpSpPr/>
            <p:nvPr/>
          </p:nvGrpSpPr>
          <p:grpSpPr>
            <a:xfrm>
              <a:off x="11522792" y="3847403"/>
              <a:ext cx="193952" cy="261918"/>
              <a:chOff x="7011958" y="-48945"/>
              <a:chExt cx="557213" cy="752475"/>
            </a:xfrm>
            <a:solidFill>
              <a:schemeClr val="tx1">
                <a:alpha val="7000"/>
              </a:schemeClr>
            </a:solidFill>
          </p:grpSpPr>
          <p:sp>
            <p:nvSpPr>
              <p:cNvPr id="20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02" name="Freeform 18"/>
            <p:cNvSpPr>
              <a:spLocks noEditPoints="1"/>
            </p:cNvSpPr>
            <p:nvPr/>
          </p:nvSpPr>
          <p:spPr bwMode="auto">
            <a:xfrm>
              <a:off x="12054998" y="3841458"/>
              <a:ext cx="177963" cy="26786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3" name="Freeform 19"/>
            <p:cNvSpPr>
              <a:spLocks/>
            </p:cNvSpPr>
            <p:nvPr/>
          </p:nvSpPr>
          <p:spPr bwMode="auto">
            <a:xfrm>
              <a:off x="12290885" y="3850631"/>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4" name="Freeform 21"/>
            <p:cNvSpPr>
              <a:spLocks noEditPoints="1"/>
            </p:cNvSpPr>
            <p:nvPr/>
          </p:nvSpPr>
          <p:spPr bwMode="auto">
            <a:xfrm>
              <a:off x="11788792" y="3854417"/>
              <a:ext cx="194149" cy="254904"/>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06" name="Freeform 23"/>
            <p:cNvSpPr>
              <a:spLocks/>
            </p:cNvSpPr>
            <p:nvPr/>
          </p:nvSpPr>
          <p:spPr bwMode="auto">
            <a:xfrm>
              <a:off x="10108393" y="3850631"/>
              <a:ext cx="95403" cy="25869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7" name="Freeform 24"/>
            <p:cNvSpPr>
              <a:spLocks/>
            </p:cNvSpPr>
            <p:nvPr/>
          </p:nvSpPr>
          <p:spPr bwMode="auto">
            <a:xfrm>
              <a:off x="10275852" y="3850631"/>
              <a:ext cx="95403" cy="25869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8" name="Freeform 17"/>
            <p:cNvSpPr>
              <a:spLocks/>
            </p:cNvSpPr>
            <p:nvPr/>
          </p:nvSpPr>
          <p:spPr bwMode="auto">
            <a:xfrm>
              <a:off x="10443313" y="3850631"/>
              <a:ext cx="91734" cy="25869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67" name="Freeform 1066"/>
            <p:cNvSpPr>
              <a:spLocks/>
            </p:cNvSpPr>
            <p:nvPr/>
          </p:nvSpPr>
          <p:spPr bwMode="auto">
            <a:xfrm>
              <a:off x="7661416" y="32213"/>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4">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68" name="Freeform 1067"/>
            <p:cNvSpPr>
              <a:spLocks/>
            </p:cNvSpPr>
            <p:nvPr/>
          </p:nvSpPr>
          <p:spPr bwMode="auto">
            <a:xfrm>
              <a:off x="8912366" y="397337"/>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lumMod val="75000"/>
                <a:alpha val="15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69" name="Freeform 1068"/>
            <p:cNvSpPr>
              <a:spLocks/>
            </p:cNvSpPr>
            <p:nvPr/>
          </p:nvSpPr>
          <p:spPr bwMode="auto">
            <a:xfrm>
              <a:off x="9817241" y="39971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4">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72" name="Freeform 1071"/>
            <p:cNvSpPr>
              <a:spLocks/>
            </p:cNvSpPr>
            <p:nvPr/>
          </p:nvSpPr>
          <p:spPr bwMode="auto">
            <a:xfrm>
              <a:off x="9802954" y="1045037"/>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4">
                <a:lumMod val="40000"/>
                <a:lumOff val="60000"/>
                <a:alpha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74" name="Freeform 1073"/>
            <p:cNvSpPr>
              <a:spLocks/>
            </p:cNvSpPr>
            <p:nvPr/>
          </p:nvSpPr>
          <p:spPr bwMode="auto">
            <a:xfrm>
              <a:off x="8907604" y="1045037"/>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lumMod val="75000"/>
                <a:alpha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76" name="Freeform 1075"/>
            <p:cNvSpPr>
              <a:spLocks/>
            </p:cNvSpPr>
            <p:nvPr/>
          </p:nvSpPr>
          <p:spPr bwMode="auto">
            <a:xfrm>
              <a:off x="10764979" y="1391112"/>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lumMod val="75000"/>
                <a:alpha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78" name="Freeform 1077"/>
            <p:cNvSpPr>
              <a:spLocks/>
            </p:cNvSpPr>
            <p:nvPr/>
          </p:nvSpPr>
          <p:spPr bwMode="auto">
            <a:xfrm>
              <a:off x="10764979" y="736269"/>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lumMod val="75000"/>
                <a:alpha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81" name="Freeform 1080"/>
            <p:cNvSpPr>
              <a:spLocks/>
            </p:cNvSpPr>
            <p:nvPr/>
          </p:nvSpPr>
          <p:spPr bwMode="auto">
            <a:xfrm>
              <a:off x="9793429" y="2486487"/>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lumMod val="75000"/>
                <a:alpha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85" name="Freeform 1084"/>
            <p:cNvSpPr>
              <a:spLocks/>
            </p:cNvSpPr>
            <p:nvPr/>
          </p:nvSpPr>
          <p:spPr bwMode="auto">
            <a:xfrm>
              <a:off x="10753073" y="2827006"/>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lumMod val="50000"/>
                <a:lumOff val="50000"/>
                <a:alpha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87" name="Freeform 1086"/>
            <p:cNvSpPr>
              <a:spLocks/>
            </p:cNvSpPr>
            <p:nvPr/>
          </p:nvSpPr>
          <p:spPr bwMode="auto">
            <a:xfrm>
              <a:off x="9832323" y="422241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4">
                <a:lumMod val="40000"/>
                <a:lumOff val="60000"/>
                <a:alpha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89" name="Freeform 1088"/>
            <p:cNvSpPr>
              <a:spLocks/>
            </p:cNvSpPr>
            <p:nvPr/>
          </p:nvSpPr>
          <p:spPr bwMode="auto">
            <a:xfrm>
              <a:off x="8922686" y="422241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lumMod val="85000"/>
                <a:alpha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92" name="Freeform 1091"/>
            <p:cNvSpPr>
              <a:spLocks/>
            </p:cNvSpPr>
            <p:nvPr/>
          </p:nvSpPr>
          <p:spPr bwMode="auto">
            <a:xfrm>
              <a:off x="7626491" y="2111837"/>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lumMod val="85000"/>
                <a:alpha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94" name="Freeform 1093"/>
            <p:cNvSpPr>
              <a:spLocks/>
            </p:cNvSpPr>
            <p:nvPr/>
          </p:nvSpPr>
          <p:spPr bwMode="auto">
            <a:xfrm>
              <a:off x="9827561" y="489440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lumMod val="85000"/>
                <a:alpha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95" name="Freeform 1094"/>
            <p:cNvSpPr>
              <a:spLocks/>
            </p:cNvSpPr>
            <p:nvPr/>
          </p:nvSpPr>
          <p:spPr bwMode="auto">
            <a:xfrm>
              <a:off x="10814986" y="455896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4">
                <a:lumMod val="20000"/>
                <a:lumOff val="80000"/>
                <a:alpha val="4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96" name="Freeform 1095"/>
            <p:cNvSpPr>
              <a:spLocks/>
            </p:cNvSpPr>
            <p:nvPr/>
          </p:nvSpPr>
          <p:spPr bwMode="auto">
            <a:xfrm>
              <a:off x="10814986" y="5230481"/>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4">
                <a:lumMod val="20000"/>
                <a:lumOff val="80000"/>
                <a:alpha val="4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97" name="Freeform 1096"/>
            <p:cNvSpPr>
              <a:spLocks/>
            </p:cNvSpPr>
            <p:nvPr/>
          </p:nvSpPr>
          <p:spPr bwMode="auto">
            <a:xfrm>
              <a:off x="10814986" y="6678281"/>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4">
                <a:lumMod val="20000"/>
                <a:lumOff val="80000"/>
                <a:alpha val="4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98" name="Freeform 1097"/>
            <p:cNvSpPr>
              <a:spLocks/>
            </p:cNvSpPr>
            <p:nvPr/>
          </p:nvSpPr>
          <p:spPr bwMode="auto">
            <a:xfrm>
              <a:off x="9837086" y="6325856"/>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4">
                <a:lumMod val="20000"/>
                <a:lumOff val="80000"/>
                <a:alpha val="4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99" name="Freeform 1098"/>
            <p:cNvSpPr>
              <a:spLocks/>
            </p:cNvSpPr>
            <p:nvPr/>
          </p:nvSpPr>
          <p:spPr bwMode="auto">
            <a:xfrm>
              <a:off x="8908399" y="6325856"/>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lumMod val="85000"/>
                <a:alpha val="4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100" name="Freeform 1099"/>
            <p:cNvSpPr>
              <a:spLocks/>
            </p:cNvSpPr>
            <p:nvPr/>
          </p:nvSpPr>
          <p:spPr bwMode="auto">
            <a:xfrm>
              <a:off x="7620936" y="5944856"/>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4">
                <a:lumMod val="20000"/>
                <a:lumOff val="80000"/>
                <a:alpha val="4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101" name="Freeform 1100"/>
            <p:cNvSpPr>
              <a:spLocks/>
            </p:cNvSpPr>
            <p:nvPr/>
          </p:nvSpPr>
          <p:spPr bwMode="auto">
            <a:xfrm>
              <a:off x="6691455" y="5582112"/>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4">
                <a:lumMod val="20000"/>
                <a:lumOff val="80000"/>
                <a:alpha val="4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102" name="Freeform 1101"/>
            <p:cNvSpPr>
              <a:spLocks/>
            </p:cNvSpPr>
            <p:nvPr/>
          </p:nvSpPr>
          <p:spPr bwMode="auto">
            <a:xfrm>
              <a:off x="7675705" y="385411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4">
                <a:lumMod val="20000"/>
                <a:lumOff val="80000"/>
                <a:alpha val="4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103" name="Freeform 1102"/>
            <p:cNvSpPr>
              <a:spLocks/>
            </p:cNvSpPr>
            <p:nvPr/>
          </p:nvSpPr>
          <p:spPr bwMode="auto">
            <a:xfrm>
              <a:off x="7675705" y="3546937"/>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4">
                <a:lumMod val="20000"/>
                <a:lumOff val="80000"/>
                <a:alpha val="4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104" name="Freeform 1103"/>
            <p:cNvSpPr>
              <a:spLocks/>
            </p:cNvSpPr>
            <p:nvPr/>
          </p:nvSpPr>
          <p:spPr bwMode="auto">
            <a:xfrm>
              <a:off x="6695423" y="3217531"/>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4">
                <a:lumMod val="20000"/>
                <a:lumOff val="80000"/>
                <a:alpha val="4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105" name="Freeform 1104"/>
            <p:cNvSpPr>
              <a:spLocks/>
            </p:cNvSpPr>
            <p:nvPr/>
          </p:nvSpPr>
          <p:spPr bwMode="auto">
            <a:xfrm>
              <a:off x="6695423" y="174972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4">
                <a:lumMod val="20000"/>
                <a:lumOff val="80000"/>
                <a:alpha val="4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106" name="Freeform 1105"/>
            <p:cNvSpPr/>
            <p:nvPr/>
          </p:nvSpPr>
          <p:spPr bwMode="auto">
            <a:xfrm>
              <a:off x="6429983" y="-9728"/>
              <a:ext cx="6001966" cy="6946993"/>
            </a:xfrm>
            <a:custGeom>
              <a:avLst/>
              <a:gdLst>
                <a:gd name="connsiteX0" fmla="*/ 5787957 w 6001966"/>
                <a:gd name="connsiteY0" fmla="*/ 0 h 7013642"/>
                <a:gd name="connsiteX1" fmla="*/ 5787957 w 6001966"/>
                <a:gd name="connsiteY1" fmla="*/ 661481 h 7013642"/>
                <a:gd name="connsiteX2" fmla="*/ 5690681 w 6001966"/>
                <a:gd name="connsiteY2" fmla="*/ 661481 h 7013642"/>
                <a:gd name="connsiteX3" fmla="*/ 5690681 w 6001966"/>
                <a:gd name="connsiteY3" fmla="*/ 1799617 h 7013642"/>
                <a:gd name="connsiteX4" fmla="*/ 3793787 w 6001966"/>
                <a:gd name="connsiteY4" fmla="*/ 4640093 h 7013642"/>
                <a:gd name="connsiteX5" fmla="*/ 3793787 w 6001966"/>
                <a:gd name="connsiteY5" fmla="*/ 5077838 h 7013642"/>
                <a:gd name="connsiteX6" fmla="*/ 2529191 w 6001966"/>
                <a:gd name="connsiteY6" fmla="*/ 5077838 h 7013642"/>
                <a:gd name="connsiteX7" fmla="*/ 2529191 w 6001966"/>
                <a:gd name="connsiteY7" fmla="*/ 4649821 h 7013642"/>
                <a:gd name="connsiteX8" fmla="*/ 651753 w 6001966"/>
                <a:gd name="connsiteY8" fmla="*/ 1799617 h 7013642"/>
                <a:gd name="connsiteX9" fmla="*/ 651753 w 6001966"/>
                <a:gd name="connsiteY9" fmla="*/ 671208 h 7013642"/>
                <a:gd name="connsiteX10" fmla="*/ 564204 w 6001966"/>
                <a:gd name="connsiteY10" fmla="*/ 671208 h 7013642"/>
                <a:gd name="connsiteX11" fmla="*/ 564204 w 6001966"/>
                <a:gd name="connsiteY11" fmla="*/ 9727 h 7013642"/>
                <a:gd name="connsiteX12" fmla="*/ 0 w 6001966"/>
                <a:gd name="connsiteY12" fmla="*/ 9727 h 7013642"/>
                <a:gd name="connsiteX13" fmla="*/ 0 w 6001966"/>
                <a:gd name="connsiteY13" fmla="*/ 7013642 h 7013642"/>
                <a:gd name="connsiteX14" fmla="*/ 6001966 w 6001966"/>
                <a:gd name="connsiteY14" fmla="*/ 7013642 h 7013642"/>
                <a:gd name="connsiteX15" fmla="*/ 6001966 w 6001966"/>
                <a:gd name="connsiteY15" fmla="*/ 19455 h 7013642"/>
                <a:gd name="connsiteX16" fmla="*/ 5787957 w 6001966"/>
                <a:gd name="connsiteY16" fmla="*/ 0 h 7013642"/>
                <a:gd name="connsiteX0" fmla="*/ 5787957 w 6001966"/>
                <a:gd name="connsiteY0" fmla="*/ 0 h 7013642"/>
                <a:gd name="connsiteX1" fmla="*/ 5787957 w 6001966"/>
                <a:gd name="connsiteY1" fmla="*/ 661481 h 7013642"/>
                <a:gd name="connsiteX2" fmla="*/ 5690681 w 6001966"/>
                <a:gd name="connsiteY2" fmla="*/ 661481 h 7013642"/>
                <a:gd name="connsiteX3" fmla="*/ 5690681 w 6001966"/>
                <a:gd name="connsiteY3" fmla="*/ 1799617 h 7013642"/>
                <a:gd name="connsiteX4" fmla="*/ 3793787 w 6001966"/>
                <a:gd name="connsiteY4" fmla="*/ 4640093 h 7013642"/>
                <a:gd name="connsiteX5" fmla="*/ 3793787 w 6001966"/>
                <a:gd name="connsiteY5" fmla="*/ 5077838 h 7013642"/>
                <a:gd name="connsiteX6" fmla="*/ 2521571 w 6001966"/>
                <a:gd name="connsiteY6" fmla="*/ 4910198 h 7013642"/>
                <a:gd name="connsiteX7" fmla="*/ 2529191 w 6001966"/>
                <a:gd name="connsiteY7" fmla="*/ 4649821 h 7013642"/>
                <a:gd name="connsiteX8" fmla="*/ 651753 w 6001966"/>
                <a:gd name="connsiteY8" fmla="*/ 1799617 h 7013642"/>
                <a:gd name="connsiteX9" fmla="*/ 651753 w 6001966"/>
                <a:gd name="connsiteY9" fmla="*/ 671208 h 7013642"/>
                <a:gd name="connsiteX10" fmla="*/ 564204 w 6001966"/>
                <a:gd name="connsiteY10" fmla="*/ 671208 h 7013642"/>
                <a:gd name="connsiteX11" fmla="*/ 564204 w 6001966"/>
                <a:gd name="connsiteY11" fmla="*/ 9727 h 7013642"/>
                <a:gd name="connsiteX12" fmla="*/ 0 w 6001966"/>
                <a:gd name="connsiteY12" fmla="*/ 9727 h 7013642"/>
                <a:gd name="connsiteX13" fmla="*/ 0 w 6001966"/>
                <a:gd name="connsiteY13" fmla="*/ 7013642 h 7013642"/>
                <a:gd name="connsiteX14" fmla="*/ 6001966 w 6001966"/>
                <a:gd name="connsiteY14" fmla="*/ 7013642 h 7013642"/>
                <a:gd name="connsiteX15" fmla="*/ 6001966 w 6001966"/>
                <a:gd name="connsiteY15" fmla="*/ 19455 h 7013642"/>
                <a:gd name="connsiteX16" fmla="*/ 5787957 w 6001966"/>
                <a:gd name="connsiteY16" fmla="*/ 0 h 7013642"/>
                <a:gd name="connsiteX0" fmla="*/ 5787957 w 6001966"/>
                <a:gd name="connsiteY0" fmla="*/ 0 h 7013642"/>
                <a:gd name="connsiteX1" fmla="*/ 5787957 w 6001966"/>
                <a:gd name="connsiteY1" fmla="*/ 661481 h 7013642"/>
                <a:gd name="connsiteX2" fmla="*/ 5690681 w 6001966"/>
                <a:gd name="connsiteY2" fmla="*/ 661481 h 7013642"/>
                <a:gd name="connsiteX3" fmla="*/ 5690681 w 6001966"/>
                <a:gd name="connsiteY3" fmla="*/ 1799617 h 7013642"/>
                <a:gd name="connsiteX4" fmla="*/ 3793787 w 6001966"/>
                <a:gd name="connsiteY4" fmla="*/ 4640093 h 7013642"/>
                <a:gd name="connsiteX5" fmla="*/ 3831887 w 6001966"/>
                <a:gd name="connsiteY5" fmla="*/ 4902578 h 7013642"/>
                <a:gd name="connsiteX6" fmla="*/ 2521571 w 6001966"/>
                <a:gd name="connsiteY6" fmla="*/ 4910198 h 7013642"/>
                <a:gd name="connsiteX7" fmla="*/ 2529191 w 6001966"/>
                <a:gd name="connsiteY7" fmla="*/ 4649821 h 7013642"/>
                <a:gd name="connsiteX8" fmla="*/ 651753 w 6001966"/>
                <a:gd name="connsiteY8" fmla="*/ 1799617 h 7013642"/>
                <a:gd name="connsiteX9" fmla="*/ 651753 w 6001966"/>
                <a:gd name="connsiteY9" fmla="*/ 671208 h 7013642"/>
                <a:gd name="connsiteX10" fmla="*/ 564204 w 6001966"/>
                <a:gd name="connsiteY10" fmla="*/ 671208 h 7013642"/>
                <a:gd name="connsiteX11" fmla="*/ 564204 w 6001966"/>
                <a:gd name="connsiteY11" fmla="*/ 9727 h 7013642"/>
                <a:gd name="connsiteX12" fmla="*/ 0 w 6001966"/>
                <a:gd name="connsiteY12" fmla="*/ 9727 h 7013642"/>
                <a:gd name="connsiteX13" fmla="*/ 0 w 6001966"/>
                <a:gd name="connsiteY13" fmla="*/ 7013642 h 7013642"/>
                <a:gd name="connsiteX14" fmla="*/ 6001966 w 6001966"/>
                <a:gd name="connsiteY14" fmla="*/ 7013642 h 7013642"/>
                <a:gd name="connsiteX15" fmla="*/ 6001966 w 6001966"/>
                <a:gd name="connsiteY15" fmla="*/ 19455 h 7013642"/>
                <a:gd name="connsiteX16" fmla="*/ 5787957 w 6001966"/>
                <a:gd name="connsiteY16" fmla="*/ 0 h 7013642"/>
                <a:gd name="connsiteX0" fmla="*/ 5787957 w 6001966"/>
                <a:gd name="connsiteY0" fmla="*/ 0 h 7013642"/>
                <a:gd name="connsiteX1" fmla="*/ 5787957 w 6001966"/>
                <a:gd name="connsiteY1" fmla="*/ 661481 h 7013642"/>
                <a:gd name="connsiteX2" fmla="*/ 5690681 w 6001966"/>
                <a:gd name="connsiteY2" fmla="*/ 661481 h 7013642"/>
                <a:gd name="connsiteX3" fmla="*/ 5690681 w 6001966"/>
                <a:gd name="connsiteY3" fmla="*/ 1799617 h 7013642"/>
                <a:gd name="connsiteX4" fmla="*/ 3793787 w 6001966"/>
                <a:gd name="connsiteY4" fmla="*/ 4640093 h 7013642"/>
                <a:gd name="connsiteX5" fmla="*/ 3801407 w 6001966"/>
                <a:gd name="connsiteY5" fmla="*/ 4925438 h 7013642"/>
                <a:gd name="connsiteX6" fmla="*/ 2521571 w 6001966"/>
                <a:gd name="connsiteY6" fmla="*/ 4910198 h 7013642"/>
                <a:gd name="connsiteX7" fmla="*/ 2529191 w 6001966"/>
                <a:gd name="connsiteY7" fmla="*/ 4649821 h 7013642"/>
                <a:gd name="connsiteX8" fmla="*/ 651753 w 6001966"/>
                <a:gd name="connsiteY8" fmla="*/ 1799617 h 7013642"/>
                <a:gd name="connsiteX9" fmla="*/ 651753 w 6001966"/>
                <a:gd name="connsiteY9" fmla="*/ 671208 h 7013642"/>
                <a:gd name="connsiteX10" fmla="*/ 564204 w 6001966"/>
                <a:gd name="connsiteY10" fmla="*/ 671208 h 7013642"/>
                <a:gd name="connsiteX11" fmla="*/ 564204 w 6001966"/>
                <a:gd name="connsiteY11" fmla="*/ 9727 h 7013642"/>
                <a:gd name="connsiteX12" fmla="*/ 0 w 6001966"/>
                <a:gd name="connsiteY12" fmla="*/ 9727 h 7013642"/>
                <a:gd name="connsiteX13" fmla="*/ 0 w 6001966"/>
                <a:gd name="connsiteY13" fmla="*/ 7013642 h 7013642"/>
                <a:gd name="connsiteX14" fmla="*/ 6001966 w 6001966"/>
                <a:gd name="connsiteY14" fmla="*/ 7013642 h 7013642"/>
                <a:gd name="connsiteX15" fmla="*/ 6001966 w 6001966"/>
                <a:gd name="connsiteY15" fmla="*/ 19455 h 7013642"/>
                <a:gd name="connsiteX16" fmla="*/ 5787957 w 6001966"/>
                <a:gd name="connsiteY16" fmla="*/ 0 h 7013642"/>
                <a:gd name="connsiteX0" fmla="*/ 5787957 w 6001966"/>
                <a:gd name="connsiteY0" fmla="*/ 0 h 7013642"/>
                <a:gd name="connsiteX1" fmla="*/ 5787957 w 6001966"/>
                <a:gd name="connsiteY1" fmla="*/ 661481 h 7013642"/>
                <a:gd name="connsiteX2" fmla="*/ 5690681 w 6001966"/>
                <a:gd name="connsiteY2" fmla="*/ 661481 h 7013642"/>
                <a:gd name="connsiteX3" fmla="*/ 5690681 w 6001966"/>
                <a:gd name="connsiteY3" fmla="*/ 1799617 h 7013642"/>
                <a:gd name="connsiteX4" fmla="*/ 3793787 w 6001966"/>
                <a:gd name="connsiteY4" fmla="*/ 4640093 h 7013642"/>
                <a:gd name="connsiteX5" fmla="*/ 3801407 w 6001966"/>
                <a:gd name="connsiteY5" fmla="*/ 4917818 h 7013642"/>
                <a:gd name="connsiteX6" fmla="*/ 2521571 w 6001966"/>
                <a:gd name="connsiteY6" fmla="*/ 4910198 h 7013642"/>
                <a:gd name="connsiteX7" fmla="*/ 2529191 w 6001966"/>
                <a:gd name="connsiteY7" fmla="*/ 4649821 h 7013642"/>
                <a:gd name="connsiteX8" fmla="*/ 651753 w 6001966"/>
                <a:gd name="connsiteY8" fmla="*/ 1799617 h 7013642"/>
                <a:gd name="connsiteX9" fmla="*/ 651753 w 6001966"/>
                <a:gd name="connsiteY9" fmla="*/ 671208 h 7013642"/>
                <a:gd name="connsiteX10" fmla="*/ 564204 w 6001966"/>
                <a:gd name="connsiteY10" fmla="*/ 671208 h 7013642"/>
                <a:gd name="connsiteX11" fmla="*/ 564204 w 6001966"/>
                <a:gd name="connsiteY11" fmla="*/ 9727 h 7013642"/>
                <a:gd name="connsiteX12" fmla="*/ 0 w 6001966"/>
                <a:gd name="connsiteY12" fmla="*/ 9727 h 7013642"/>
                <a:gd name="connsiteX13" fmla="*/ 0 w 6001966"/>
                <a:gd name="connsiteY13" fmla="*/ 7013642 h 7013642"/>
                <a:gd name="connsiteX14" fmla="*/ 6001966 w 6001966"/>
                <a:gd name="connsiteY14" fmla="*/ 7013642 h 7013642"/>
                <a:gd name="connsiteX15" fmla="*/ 6001966 w 6001966"/>
                <a:gd name="connsiteY15" fmla="*/ 19455 h 7013642"/>
                <a:gd name="connsiteX16" fmla="*/ 5787957 w 6001966"/>
                <a:gd name="connsiteY16" fmla="*/ 0 h 7013642"/>
                <a:gd name="connsiteX0" fmla="*/ 5787957 w 6001966"/>
                <a:gd name="connsiteY0" fmla="*/ 0 h 7013642"/>
                <a:gd name="connsiteX1" fmla="*/ 5787957 w 6001966"/>
                <a:gd name="connsiteY1" fmla="*/ 661481 h 7013642"/>
                <a:gd name="connsiteX2" fmla="*/ 5690681 w 6001966"/>
                <a:gd name="connsiteY2" fmla="*/ 661481 h 7013642"/>
                <a:gd name="connsiteX3" fmla="*/ 5690681 w 6001966"/>
                <a:gd name="connsiteY3" fmla="*/ 1799617 h 7013642"/>
                <a:gd name="connsiteX4" fmla="*/ 3793787 w 6001966"/>
                <a:gd name="connsiteY4" fmla="*/ 4640093 h 7013642"/>
                <a:gd name="connsiteX5" fmla="*/ 3801407 w 6001966"/>
                <a:gd name="connsiteY5" fmla="*/ 4925438 h 7013642"/>
                <a:gd name="connsiteX6" fmla="*/ 2521571 w 6001966"/>
                <a:gd name="connsiteY6" fmla="*/ 4910198 h 7013642"/>
                <a:gd name="connsiteX7" fmla="*/ 2529191 w 6001966"/>
                <a:gd name="connsiteY7" fmla="*/ 4649821 h 7013642"/>
                <a:gd name="connsiteX8" fmla="*/ 651753 w 6001966"/>
                <a:gd name="connsiteY8" fmla="*/ 1799617 h 7013642"/>
                <a:gd name="connsiteX9" fmla="*/ 651753 w 6001966"/>
                <a:gd name="connsiteY9" fmla="*/ 671208 h 7013642"/>
                <a:gd name="connsiteX10" fmla="*/ 564204 w 6001966"/>
                <a:gd name="connsiteY10" fmla="*/ 671208 h 7013642"/>
                <a:gd name="connsiteX11" fmla="*/ 564204 w 6001966"/>
                <a:gd name="connsiteY11" fmla="*/ 9727 h 7013642"/>
                <a:gd name="connsiteX12" fmla="*/ 0 w 6001966"/>
                <a:gd name="connsiteY12" fmla="*/ 9727 h 7013642"/>
                <a:gd name="connsiteX13" fmla="*/ 0 w 6001966"/>
                <a:gd name="connsiteY13" fmla="*/ 7013642 h 7013642"/>
                <a:gd name="connsiteX14" fmla="*/ 6001966 w 6001966"/>
                <a:gd name="connsiteY14" fmla="*/ 7013642 h 7013642"/>
                <a:gd name="connsiteX15" fmla="*/ 6001966 w 6001966"/>
                <a:gd name="connsiteY15" fmla="*/ 19455 h 7013642"/>
                <a:gd name="connsiteX16" fmla="*/ 5787957 w 6001966"/>
                <a:gd name="connsiteY16" fmla="*/ 0 h 7013642"/>
                <a:gd name="connsiteX0" fmla="*/ 5787957 w 6001966"/>
                <a:gd name="connsiteY0" fmla="*/ 0 h 7013642"/>
                <a:gd name="connsiteX1" fmla="*/ 5787957 w 6001966"/>
                <a:gd name="connsiteY1" fmla="*/ 661481 h 7013642"/>
                <a:gd name="connsiteX2" fmla="*/ 5690681 w 6001966"/>
                <a:gd name="connsiteY2" fmla="*/ 661481 h 7013642"/>
                <a:gd name="connsiteX3" fmla="*/ 5690681 w 6001966"/>
                <a:gd name="connsiteY3" fmla="*/ 1799617 h 7013642"/>
                <a:gd name="connsiteX4" fmla="*/ 3793787 w 6001966"/>
                <a:gd name="connsiteY4" fmla="*/ 4640093 h 7013642"/>
                <a:gd name="connsiteX5" fmla="*/ 3801407 w 6001966"/>
                <a:gd name="connsiteY5" fmla="*/ 4917818 h 7013642"/>
                <a:gd name="connsiteX6" fmla="*/ 2521571 w 6001966"/>
                <a:gd name="connsiteY6" fmla="*/ 4910198 h 7013642"/>
                <a:gd name="connsiteX7" fmla="*/ 2529191 w 6001966"/>
                <a:gd name="connsiteY7" fmla="*/ 4649821 h 7013642"/>
                <a:gd name="connsiteX8" fmla="*/ 651753 w 6001966"/>
                <a:gd name="connsiteY8" fmla="*/ 1799617 h 7013642"/>
                <a:gd name="connsiteX9" fmla="*/ 651753 w 6001966"/>
                <a:gd name="connsiteY9" fmla="*/ 671208 h 7013642"/>
                <a:gd name="connsiteX10" fmla="*/ 564204 w 6001966"/>
                <a:gd name="connsiteY10" fmla="*/ 671208 h 7013642"/>
                <a:gd name="connsiteX11" fmla="*/ 564204 w 6001966"/>
                <a:gd name="connsiteY11" fmla="*/ 9727 h 7013642"/>
                <a:gd name="connsiteX12" fmla="*/ 0 w 6001966"/>
                <a:gd name="connsiteY12" fmla="*/ 9727 h 7013642"/>
                <a:gd name="connsiteX13" fmla="*/ 0 w 6001966"/>
                <a:gd name="connsiteY13" fmla="*/ 7013642 h 7013642"/>
                <a:gd name="connsiteX14" fmla="*/ 6001966 w 6001966"/>
                <a:gd name="connsiteY14" fmla="*/ 7013642 h 7013642"/>
                <a:gd name="connsiteX15" fmla="*/ 6001966 w 6001966"/>
                <a:gd name="connsiteY15" fmla="*/ 19455 h 7013642"/>
                <a:gd name="connsiteX16" fmla="*/ 5787957 w 6001966"/>
                <a:gd name="connsiteY16" fmla="*/ 0 h 7013642"/>
                <a:gd name="connsiteX0" fmla="*/ 5787957 w 6001966"/>
                <a:gd name="connsiteY0" fmla="*/ 0 h 7013642"/>
                <a:gd name="connsiteX1" fmla="*/ 5787957 w 6001966"/>
                <a:gd name="connsiteY1" fmla="*/ 661481 h 7013642"/>
                <a:gd name="connsiteX2" fmla="*/ 5690681 w 6001966"/>
                <a:gd name="connsiteY2" fmla="*/ 661481 h 7013642"/>
                <a:gd name="connsiteX3" fmla="*/ 5690681 w 6001966"/>
                <a:gd name="connsiteY3" fmla="*/ 1799617 h 7013642"/>
                <a:gd name="connsiteX4" fmla="*/ 3793787 w 6001966"/>
                <a:gd name="connsiteY4" fmla="*/ 4640093 h 7013642"/>
                <a:gd name="connsiteX5" fmla="*/ 3801407 w 6001966"/>
                <a:gd name="connsiteY5" fmla="*/ 4910198 h 7013642"/>
                <a:gd name="connsiteX6" fmla="*/ 2521571 w 6001966"/>
                <a:gd name="connsiteY6" fmla="*/ 4910198 h 7013642"/>
                <a:gd name="connsiteX7" fmla="*/ 2529191 w 6001966"/>
                <a:gd name="connsiteY7" fmla="*/ 4649821 h 7013642"/>
                <a:gd name="connsiteX8" fmla="*/ 651753 w 6001966"/>
                <a:gd name="connsiteY8" fmla="*/ 1799617 h 7013642"/>
                <a:gd name="connsiteX9" fmla="*/ 651753 w 6001966"/>
                <a:gd name="connsiteY9" fmla="*/ 671208 h 7013642"/>
                <a:gd name="connsiteX10" fmla="*/ 564204 w 6001966"/>
                <a:gd name="connsiteY10" fmla="*/ 671208 h 7013642"/>
                <a:gd name="connsiteX11" fmla="*/ 564204 w 6001966"/>
                <a:gd name="connsiteY11" fmla="*/ 9727 h 7013642"/>
                <a:gd name="connsiteX12" fmla="*/ 0 w 6001966"/>
                <a:gd name="connsiteY12" fmla="*/ 9727 h 7013642"/>
                <a:gd name="connsiteX13" fmla="*/ 0 w 6001966"/>
                <a:gd name="connsiteY13" fmla="*/ 7013642 h 7013642"/>
                <a:gd name="connsiteX14" fmla="*/ 6001966 w 6001966"/>
                <a:gd name="connsiteY14" fmla="*/ 7013642 h 7013642"/>
                <a:gd name="connsiteX15" fmla="*/ 6001966 w 6001966"/>
                <a:gd name="connsiteY15" fmla="*/ 19455 h 7013642"/>
                <a:gd name="connsiteX16" fmla="*/ 5787957 w 6001966"/>
                <a:gd name="connsiteY16" fmla="*/ 0 h 7013642"/>
                <a:gd name="connsiteX0" fmla="*/ 5787957 w 6001966"/>
                <a:gd name="connsiteY0" fmla="*/ 0 h 7013642"/>
                <a:gd name="connsiteX1" fmla="*/ 5787957 w 6001966"/>
                <a:gd name="connsiteY1" fmla="*/ 661481 h 7013642"/>
                <a:gd name="connsiteX2" fmla="*/ 5690681 w 6001966"/>
                <a:gd name="connsiteY2" fmla="*/ 661481 h 7013642"/>
                <a:gd name="connsiteX3" fmla="*/ 5690681 w 6001966"/>
                <a:gd name="connsiteY3" fmla="*/ 1799617 h 7013642"/>
                <a:gd name="connsiteX4" fmla="*/ 3793787 w 6001966"/>
                <a:gd name="connsiteY4" fmla="*/ 4640093 h 7013642"/>
                <a:gd name="connsiteX5" fmla="*/ 3793787 w 6001966"/>
                <a:gd name="connsiteY5" fmla="*/ 4902578 h 7013642"/>
                <a:gd name="connsiteX6" fmla="*/ 2521571 w 6001966"/>
                <a:gd name="connsiteY6" fmla="*/ 4910198 h 7013642"/>
                <a:gd name="connsiteX7" fmla="*/ 2529191 w 6001966"/>
                <a:gd name="connsiteY7" fmla="*/ 4649821 h 7013642"/>
                <a:gd name="connsiteX8" fmla="*/ 651753 w 6001966"/>
                <a:gd name="connsiteY8" fmla="*/ 1799617 h 7013642"/>
                <a:gd name="connsiteX9" fmla="*/ 651753 w 6001966"/>
                <a:gd name="connsiteY9" fmla="*/ 671208 h 7013642"/>
                <a:gd name="connsiteX10" fmla="*/ 564204 w 6001966"/>
                <a:gd name="connsiteY10" fmla="*/ 671208 h 7013642"/>
                <a:gd name="connsiteX11" fmla="*/ 564204 w 6001966"/>
                <a:gd name="connsiteY11" fmla="*/ 9727 h 7013642"/>
                <a:gd name="connsiteX12" fmla="*/ 0 w 6001966"/>
                <a:gd name="connsiteY12" fmla="*/ 9727 h 7013642"/>
                <a:gd name="connsiteX13" fmla="*/ 0 w 6001966"/>
                <a:gd name="connsiteY13" fmla="*/ 7013642 h 7013642"/>
                <a:gd name="connsiteX14" fmla="*/ 6001966 w 6001966"/>
                <a:gd name="connsiteY14" fmla="*/ 7013642 h 7013642"/>
                <a:gd name="connsiteX15" fmla="*/ 6001966 w 6001966"/>
                <a:gd name="connsiteY15" fmla="*/ 19455 h 7013642"/>
                <a:gd name="connsiteX16" fmla="*/ 5787957 w 6001966"/>
                <a:gd name="connsiteY16" fmla="*/ 0 h 7013642"/>
                <a:gd name="connsiteX0" fmla="*/ 5787957 w 6001966"/>
                <a:gd name="connsiteY0" fmla="*/ 0 h 7013642"/>
                <a:gd name="connsiteX1" fmla="*/ 5787957 w 6001966"/>
                <a:gd name="connsiteY1" fmla="*/ 661481 h 7013642"/>
                <a:gd name="connsiteX2" fmla="*/ 5690681 w 6001966"/>
                <a:gd name="connsiteY2" fmla="*/ 661481 h 7013642"/>
                <a:gd name="connsiteX3" fmla="*/ 5690681 w 6001966"/>
                <a:gd name="connsiteY3" fmla="*/ 1799617 h 7013642"/>
                <a:gd name="connsiteX4" fmla="*/ 3793787 w 6001966"/>
                <a:gd name="connsiteY4" fmla="*/ 4640093 h 7013642"/>
                <a:gd name="connsiteX5" fmla="*/ 3793787 w 6001966"/>
                <a:gd name="connsiteY5" fmla="*/ 4902578 h 7013642"/>
                <a:gd name="connsiteX6" fmla="*/ 2521571 w 6001966"/>
                <a:gd name="connsiteY6" fmla="*/ 4897498 h 7013642"/>
                <a:gd name="connsiteX7" fmla="*/ 2529191 w 6001966"/>
                <a:gd name="connsiteY7" fmla="*/ 4649821 h 7013642"/>
                <a:gd name="connsiteX8" fmla="*/ 651753 w 6001966"/>
                <a:gd name="connsiteY8" fmla="*/ 1799617 h 7013642"/>
                <a:gd name="connsiteX9" fmla="*/ 651753 w 6001966"/>
                <a:gd name="connsiteY9" fmla="*/ 671208 h 7013642"/>
                <a:gd name="connsiteX10" fmla="*/ 564204 w 6001966"/>
                <a:gd name="connsiteY10" fmla="*/ 671208 h 7013642"/>
                <a:gd name="connsiteX11" fmla="*/ 564204 w 6001966"/>
                <a:gd name="connsiteY11" fmla="*/ 9727 h 7013642"/>
                <a:gd name="connsiteX12" fmla="*/ 0 w 6001966"/>
                <a:gd name="connsiteY12" fmla="*/ 9727 h 7013642"/>
                <a:gd name="connsiteX13" fmla="*/ 0 w 6001966"/>
                <a:gd name="connsiteY13" fmla="*/ 7013642 h 7013642"/>
                <a:gd name="connsiteX14" fmla="*/ 6001966 w 6001966"/>
                <a:gd name="connsiteY14" fmla="*/ 7013642 h 7013642"/>
                <a:gd name="connsiteX15" fmla="*/ 6001966 w 6001966"/>
                <a:gd name="connsiteY15" fmla="*/ 19455 h 7013642"/>
                <a:gd name="connsiteX16" fmla="*/ 5787957 w 6001966"/>
                <a:gd name="connsiteY16" fmla="*/ 0 h 7013642"/>
                <a:gd name="connsiteX0" fmla="*/ 5787957 w 6001966"/>
                <a:gd name="connsiteY0" fmla="*/ 0 h 7013642"/>
                <a:gd name="connsiteX1" fmla="*/ 5787957 w 6001966"/>
                <a:gd name="connsiteY1" fmla="*/ 661481 h 7013642"/>
                <a:gd name="connsiteX2" fmla="*/ 5690681 w 6001966"/>
                <a:gd name="connsiteY2" fmla="*/ 661481 h 7013642"/>
                <a:gd name="connsiteX3" fmla="*/ 5690681 w 6001966"/>
                <a:gd name="connsiteY3" fmla="*/ 1799617 h 7013642"/>
                <a:gd name="connsiteX4" fmla="*/ 3793787 w 6001966"/>
                <a:gd name="connsiteY4" fmla="*/ 4640093 h 7013642"/>
                <a:gd name="connsiteX5" fmla="*/ 3793787 w 6001966"/>
                <a:gd name="connsiteY5" fmla="*/ 4902578 h 7013642"/>
                <a:gd name="connsiteX6" fmla="*/ 2521571 w 6001966"/>
                <a:gd name="connsiteY6" fmla="*/ 4897498 h 7013642"/>
                <a:gd name="connsiteX7" fmla="*/ 2465691 w 6001966"/>
                <a:gd name="connsiteY7" fmla="*/ 4554571 h 7013642"/>
                <a:gd name="connsiteX8" fmla="*/ 651753 w 6001966"/>
                <a:gd name="connsiteY8" fmla="*/ 1799617 h 7013642"/>
                <a:gd name="connsiteX9" fmla="*/ 651753 w 6001966"/>
                <a:gd name="connsiteY9" fmla="*/ 671208 h 7013642"/>
                <a:gd name="connsiteX10" fmla="*/ 564204 w 6001966"/>
                <a:gd name="connsiteY10" fmla="*/ 671208 h 7013642"/>
                <a:gd name="connsiteX11" fmla="*/ 564204 w 6001966"/>
                <a:gd name="connsiteY11" fmla="*/ 9727 h 7013642"/>
                <a:gd name="connsiteX12" fmla="*/ 0 w 6001966"/>
                <a:gd name="connsiteY12" fmla="*/ 9727 h 7013642"/>
                <a:gd name="connsiteX13" fmla="*/ 0 w 6001966"/>
                <a:gd name="connsiteY13" fmla="*/ 7013642 h 7013642"/>
                <a:gd name="connsiteX14" fmla="*/ 6001966 w 6001966"/>
                <a:gd name="connsiteY14" fmla="*/ 7013642 h 7013642"/>
                <a:gd name="connsiteX15" fmla="*/ 6001966 w 6001966"/>
                <a:gd name="connsiteY15" fmla="*/ 19455 h 7013642"/>
                <a:gd name="connsiteX16" fmla="*/ 5787957 w 6001966"/>
                <a:gd name="connsiteY16" fmla="*/ 0 h 7013642"/>
                <a:gd name="connsiteX0" fmla="*/ 5787957 w 6001966"/>
                <a:gd name="connsiteY0" fmla="*/ 0 h 7013642"/>
                <a:gd name="connsiteX1" fmla="*/ 5787957 w 6001966"/>
                <a:gd name="connsiteY1" fmla="*/ 661481 h 7013642"/>
                <a:gd name="connsiteX2" fmla="*/ 5690681 w 6001966"/>
                <a:gd name="connsiteY2" fmla="*/ 661481 h 7013642"/>
                <a:gd name="connsiteX3" fmla="*/ 5690681 w 6001966"/>
                <a:gd name="connsiteY3" fmla="*/ 1799617 h 7013642"/>
                <a:gd name="connsiteX4" fmla="*/ 3863637 w 6001966"/>
                <a:gd name="connsiteY4" fmla="*/ 4532143 h 7013642"/>
                <a:gd name="connsiteX5" fmla="*/ 3793787 w 6001966"/>
                <a:gd name="connsiteY5" fmla="*/ 4902578 h 7013642"/>
                <a:gd name="connsiteX6" fmla="*/ 2521571 w 6001966"/>
                <a:gd name="connsiteY6" fmla="*/ 4897498 h 7013642"/>
                <a:gd name="connsiteX7" fmla="*/ 2465691 w 6001966"/>
                <a:gd name="connsiteY7" fmla="*/ 4554571 h 7013642"/>
                <a:gd name="connsiteX8" fmla="*/ 651753 w 6001966"/>
                <a:gd name="connsiteY8" fmla="*/ 1799617 h 7013642"/>
                <a:gd name="connsiteX9" fmla="*/ 651753 w 6001966"/>
                <a:gd name="connsiteY9" fmla="*/ 671208 h 7013642"/>
                <a:gd name="connsiteX10" fmla="*/ 564204 w 6001966"/>
                <a:gd name="connsiteY10" fmla="*/ 671208 h 7013642"/>
                <a:gd name="connsiteX11" fmla="*/ 564204 w 6001966"/>
                <a:gd name="connsiteY11" fmla="*/ 9727 h 7013642"/>
                <a:gd name="connsiteX12" fmla="*/ 0 w 6001966"/>
                <a:gd name="connsiteY12" fmla="*/ 9727 h 7013642"/>
                <a:gd name="connsiteX13" fmla="*/ 0 w 6001966"/>
                <a:gd name="connsiteY13" fmla="*/ 7013642 h 7013642"/>
                <a:gd name="connsiteX14" fmla="*/ 6001966 w 6001966"/>
                <a:gd name="connsiteY14" fmla="*/ 7013642 h 7013642"/>
                <a:gd name="connsiteX15" fmla="*/ 6001966 w 6001966"/>
                <a:gd name="connsiteY15" fmla="*/ 19455 h 7013642"/>
                <a:gd name="connsiteX16" fmla="*/ 5787957 w 6001966"/>
                <a:gd name="connsiteY16" fmla="*/ 0 h 7013642"/>
                <a:gd name="connsiteX0" fmla="*/ 5787957 w 6001966"/>
                <a:gd name="connsiteY0" fmla="*/ 0 h 7013642"/>
                <a:gd name="connsiteX1" fmla="*/ 5787957 w 6001966"/>
                <a:gd name="connsiteY1" fmla="*/ 661481 h 7013642"/>
                <a:gd name="connsiteX2" fmla="*/ 5690681 w 6001966"/>
                <a:gd name="connsiteY2" fmla="*/ 661481 h 7013642"/>
                <a:gd name="connsiteX3" fmla="*/ 5690681 w 6001966"/>
                <a:gd name="connsiteY3" fmla="*/ 1799617 h 7013642"/>
                <a:gd name="connsiteX4" fmla="*/ 3863637 w 6001966"/>
                <a:gd name="connsiteY4" fmla="*/ 4532143 h 7013642"/>
                <a:gd name="connsiteX5" fmla="*/ 3857287 w 6001966"/>
                <a:gd name="connsiteY5" fmla="*/ 4902578 h 7013642"/>
                <a:gd name="connsiteX6" fmla="*/ 2521571 w 6001966"/>
                <a:gd name="connsiteY6" fmla="*/ 4897498 h 7013642"/>
                <a:gd name="connsiteX7" fmla="*/ 2465691 w 6001966"/>
                <a:gd name="connsiteY7" fmla="*/ 4554571 h 7013642"/>
                <a:gd name="connsiteX8" fmla="*/ 651753 w 6001966"/>
                <a:gd name="connsiteY8" fmla="*/ 1799617 h 7013642"/>
                <a:gd name="connsiteX9" fmla="*/ 651753 w 6001966"/>
                <a:gd name="connsiteY9" fmla="*/ 671208 h 7013642"/>
                <a:gd name="connsiteX10" fmla="*/ 564204 w 6001966"/>
                <a:gd name="connsiteY10" fmla="*/ 671208 h 7013642"/>
                <a:gd name="connsiteX11" fmla="*/ 564204 w 6001966"/>
                <a:gd name="connsiteY11" fmla="*/ 9727 h 7013642"/>
                <a:gd name="connsiteX12" fmla="*/ 0 w 6001966"/>
                <a:gd name="connsiteY12" fmla="*/ 9727 h 7013642"/>
                <a:gd name="connsiteX13" fmla="*/ 0 w 6001966"/>
                <a:gd name="connsiteY13" fmla="*/ 7013642 h 7013642"/>
                <a:gd name="connsiteX14" fmla="*/ 6001966 w 6001966"/>
                <a:gd name="connsiteY14" fmla="*/ 7013642 h 7013642"/>
                <a:gd name="connsiteX15" fmla="*/ 6001966 w 6001966"/>
                <a:gd name="connsiteY15" fmla="*/ 19455 h 7013642"/>
                <a:gd name="connsiteX16" fmla="*/ 5787957 w 6001966"/>
                <a:gd name="connsiteY16" fmla="*/ 0 h 7013642"/>
                <a:gd name="connsiteX0" fmla="*/ 5787957 w 6001966"/>
                <a:gd name="connsiteY0" fmla="*/ 0 h 7013642"/>
                <a:gd name="connsiteX1" fmla="*/ 5787957 w 6001966"/>
                <a:gd name="connsiteY1" fmla="*/ 661481 h 7013642"/>
                <a:gd name="connsiteX2" fmla="*/ 5690681 w 6001966"/>
                <a:gd name="connsiteY2" fmla="*/ 661481 h 7013642"/>
                <a:gd name="connsiteX3" fmla="*/ 5690681 w 6001966"/>
                <a:gd name="connsiteY3" fmla="*/ 1799617 h 7013642"/>
                <a:gd name="connsiteX4" fmla="*/ 3863637 w 6001966"/>
                <a:gd name="connsiteY4" fmla="*/ 4532143 h 7013642"/>
                <a:gd name="connsiteX5" fmla="*/ 3857287 w 6001966"/>
                <a:gd name="connsiteY5" fmla="*/ 4902578 h 7013642"/>
                <a:gd name="connsiteX6" fmla="*/ 2464421 w 6001966"/>
                <a:gd name="connsiteY6" fmla="*/ 4897498 h 7013642"/>
                <a:gd name="connsiteX7" fmla="*/ 2465691 w 6001966"/>
                <a:gd name="connsiteY7" fmla="*/ 4554571 h 7013642"/>
                <a:gd name="connsiteX8" fmla="*/ 651753 w 6001966"/>
                <a:gd name="connsiteY8" fmla="*/ 1799617 h 7013642"/>
                <a:gd name="connsiteX9" fmla="*/ 651753 w 6001966"/>
                <a:gd name="connsiteY9" fmla="*/ 671208 h 7013642"/>
                <a:gd name="connsiteX10" fmla="*/ 564204 w 6001966"/>
                <a:gd name="connsiteY10" fmla="*/ 671208 h 7013642"/>
                <a:gd name="connsiteX11" fmla="*/ 564204 w 6001966"/>
                <a:gd name="connsiteY11" fmla="*/ 9727 h 7013642"/>
                <a:gd name="connsiteX12" fmla="*/ 0 w 6001966"/>
                <a:gd name="connsiteY12" fmla="*/ 9727 h 7013642"/>
                <a:gd name="connsiteX13" fmla="*/ 0 w 6001966"/>
                <a:gd name="connsiteY13" fmla="*/ 7013642 h 7013642"/>
                <a:gd name="connsiteX14" fmla="*/ 6001966 w 6001966"/>
                <a:gd name="connsiteY14" fmla="*/ 7013642 h 7013642"/>
                <a:gd name="connsiteX15" fmla="*/ 6001966 w 6001966"/>
                <a:gd name="connsiteY15" fmla="*/ 19455 h 7013642"/>
                <a:gd name="connsiteX16" fmla="*/ 5787957 w 6001966"/>
                <a:gd name="connsiteY16" fmla="*/ 0 h 7013642"/>
                <a:gd name="connsiteX0" fmla="*/ 5787957 w 6001966"/>
                <a:gd name="connsiteY0" fmla="*/ 14086 h 7003915"/>
                <a:gd name="connsiteX1" fmla="*/ 5787957 w 6001966"/>
                <a:gd name="connsiteY1" fmla="*/ 651754 h 7003915"/>
                <a:gd name="connsiteX2" fmla="*/ 5690681 w 6001966"/>
                <a:gd name="connsiteY2" fmla="*/ 651754 h 7003915"/>
                <a:gd name="connsiteX3" fmla="*/ 5690681 w 6001966"/>
                <a:gd name="connsiteY3" fmla="*/ 1789890 h 7003915"/>
                <a:gd name="connsiteX4" fmla="*/ 3863637 w 6001966"/>
                <a:gd name="connsiteY4" fmla="*/ 4522416 h 7003915"/>
                <a:gd name="connsiteX5" fmla="*/ 3857287 w 6001966"/>
                <a:gd name="connsiteY5" fmla="*/ 4892851 h 7003915"/>
                <a:gd name="connsiteX6" fmla="*/ 2464421 w 6001966"/>
                <a:gd name="connsiteY6" fmla="*/ 4887771 h 7003915"/>
                <a:gd name="connsiteX7" fmla="*/ 2465691 w 6001966"/>
                <a:gd name="connsiteY7" fmla="*/ 4544844 h 7003915"/>
                <a:gd name="connsiteX8" fmla="*/ 651753 w 6001966"/>
                <a:gd name="connsiteY8" fmla="*/ 1789890 h 7003915"/>
                <a:gd name="connsiteX9" fmla="*/ 651753 w 6001966"/>
                <a:gd name="connsiteY9" fmla="*/ 661481 h 7003915"/>
                <a:gd name="connsiteX10" fmla="*/ 564204 w 6001966"/>
                <a:gd name="connsiteY10" fmla="*/ 661481 h 7003915"/>
                <a:gd name="connsiteX11" fmla="*/ 564204 w 6001966"/>
                <a:gd name="connsiteY11" fmla="*/ 0 h 7003915"/>
                <a:gd name="connsiteX12" fmla="*/ 0 w 6001966"/>
                <a:gd name="connsiteY12" fmla="*/ 0 h 7003915"/>
                <a:gd name="connsiteX13" fmla="*/ 0 w 6001966"/>
                <a:gd name="connsiteY13" fmla="*/ 7003915 h 7003915"/>
                <a:gd name="connsiteX14" fmla="*/ 6001966 w 6001966"/>
                <a:gd name="connsiteY14" fmla="*/ 7003915 h 7003915"/>
                <a:gd name="connsiteX15" fmla="*/ 6001966 w 6001966"/>
                <a:gd name="connsiteY15" fmla="*/ 9728 h 7003915"/>
                <a:gd name="connsiteX16" fmla="*/ 5787957 w 6001966"/>
                <a:gd name="connsiteY16" fmla="*/ 14086 h 700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01966" h="7003915">
                  <a:moveTo>
                    <a:pt x="5787957" y="14086"/>
                  </a:moveTo>
                  <a:lnTo>
                    <a:pt x="5787957" y="651754"/>
                  </a:lnTo>
                  <a:lnTo>
                    <a:pt x="5690681" y="651754"/>
                  </a:lnTo>
                  <a:lnTo>
                    <a:pt x="5690681" y="1789890"/>
                  </a:lnTo>
                  <a:lnTo>
                    <a:pt x="3863637" y="4522416"/>
                  </a:lnTo>
                  <a:lnTo>
                    <a:pt x="3857287" y="4892851"/>
                  </a:lnTo>
                  <a:lnTo>
                    <a:pt x="2464421" y="4887771"/>
                  </a:lnTo>
                  <a:cubicBezTo>
                    <a:pt x="2464844" y="4773462"/>
                    <a:pt x="2465268" y="4659153"/>
                    <a:pt x="2465691" y="4544844"/>
                  </a:cubicBezTo>
                  <a:lnTo>
                    <a:pt x="651753" y="1789890"/>
                  </a:lnTo>
                  <a:lnTo>
                    <a:pt x="651753" y="661481"/>
                  </a:lnTo>
                  <a:lnTo>
                    <a:pt x="564204" y="661481"/>
                  </a:lnTo>
                  <a:lnTo>
                    <a:pt x="564204" y="0"/>
                  </a:lnTo>
                  <a:lnTo>
                    <a:pt x="0" y="0"/>
                  </a:lnTo>
                  <a:lnTo>
                    <a:pt x="0" y="7003915"/>
                  </a:lnTo>
                  <a:lnTo>
                    <a:pt x="6001966" y="7003915"/>
                  </a:lnTo>
                  <a:lnTo>
                    <a:pt x="6001966" y="9728"/>
                  </a:lnTo>
                  <a:lnTo>
                    <a:pt x="5787957" y="14086"/>
                  </a:lnTo>
                  <a:close/>
                </a:path>
              </a:pathLst>
            </a:custGeom>
            <a:solidFill>
              <a:schemeClr val="bg1">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IN" sz="2000" b="1" dirty="0" smtClean="0">
                  <a:solidFill>
                    <a:schemeClr val="bg1"/>
                  </a:solidFill>
                  <a:latin typeface="+mj-lt"/>
                  <a:ea typeface="Segoe UI" pitchFamily="34" charset="0"/>
                  <a:cs typeface="Segoe UI" pitchFamily="34" charset="0"/>
                </a:rPr>
                <a:t>zzzz</a:t>
              </a:r>
            </a:p>
          </p:txBody>
        </p:sp>
        <p:sp>
          <p:nvSpPr>
            <p:cNvPr id="10" name="Rectangle 9"/>
            <p:cNvSpPr/>
            <p:nvPr/>
          </p:nvSpPr>
          <p:spPr>
            <a:xfrm>
              <a:off x="8791440" y="1998146"/>
              <a:ext cx="3068019" cy="461665"/>
            </a:xfrm>
            <a:prstGeom prst="rect">
              <a:avLst/>
            </a:prstGeom>
          </p:spPr>
          <p:txBody>
            <a:bodyPr wrap="none" lIns="0" tIns="0" rIns="0" bIns="0" anchor="b">
              <a:spAutoFit/>
            </a:bodyPr>
            <a:lstStyle/>
            <a:p>
              <a:r>
                <a:rPr lang="en-IN" sz="2900" b="1" dirty="0">
                  <a:solidFill>
                    <a:schemeClr val="accent4">
                      <a:lumMod val="20000"/>
                      <a:lumOff val="80000"/>
                    </a:schemeClr>
                  </a:solidFill>
                  <a:cs typeface="Segoe UI Semibold" panose="020B0702040204020203" pitchFamily="34" charset="0"/>
                </a:rPr>
                <a:t>web</a:t>
              </a:r>
              <a:r>
                <a:rPr lang="en-IN" sz="2900" b="1" dirty="0">
                  <a:solidFill>
                    <a:schemeClr val="bg1">
                      <a:lumMod val="75000"/>
                    </a:schemeClr>
                  </a:solidFill>
                  <a:cs typeface="Segoe UI Semibold" panose="020B0702040204020203" pitchFamily="34" charset="0"/>
                </a:rPr>
                <a:t> clickstreams</a:t>
              </a:r>
            </a:p>
          </p:txBody>
        </p:sp>
        <p:sp>
          <p:nvSpPr>
            <p:cNvPr id="1109" name="Rectangle 1108"/>
            <p:cNvSpPr/>
            <p:nvPr/>
          </p:nvSpPr>
          <p:spPr>
            <a:xfrm>
              <a:off x="6943590" y="625716"/>
              <a:ext cx="3439018" cy="446276"/>
            </a:xfrm>
            <a:prstGeom prst="rect">
              <a:avLst/>
            </a:prstGeom>
          </p:spPr>
          <p:txBody>
            <a:bodyPr wrap="none" lIns="0" tIns="0" rIns="0" bIns="0" anchor="b">
              <a:spAutoFit/>
            </a:bodyPr>
            <a:lstStyle/>
            <a:p>
              <a:r>
                <a:rPr lang="en-IN" sz="2900" b="1" dirty="0">
                  <a:solidFill>
                    <a:schemeClr val="bg1">
                      <a:lumMod val="85000"/>
                      <a:alpha val="50000"/>
                    </a:schemeClr>
                  </a:solidFill>
                  <a:cs typeface="Segoe UI Semibold" panose="020B0702040204020203" pitchFamily="34" charset="0"/>
                </a:rPr>
                <a:t>devices</a:t>
              </a:r>
              <a:r>
                <a:rPr lang="en-IN" sz="2900" b="1" dirty="0">
                  <a:solidFill>
                    <a:schemeClr val="bg1">
                      <a:lumMod val="95000"/>
                    </a:schemeClr>
                  </a:solidFill>
                  <a:cs typeface="Segoe UI Semibold" panose="020B0702040204020203" pitchFamily="34" charset="0"/>
                </a:rPr>
                <a:t> </a:t>
              </a:r>
              <a:r>
                <a:rPr lang="en-IN" sz="2900" b="1" dirty="0">
                  <a:solidFill>
                    <a:schemeClr val="accent4">
                      <a:lumMod val="20000"/>
                      <a:lumOff val="80000"/>
                    </a:schemeClr>
                  </a:solidFill>
                  <a:cs typeface="Segoe UI Semibold" panose="020B0702040204020203" pitchFamily="34" charset="0"/>
                </a:rPr>
                <a:t>and</a:t>
              </a:r>
              <a:r>
                <a:rPr lang="en-IN" sz="2900" b="1" dirty="0">
                  <a:solidFill>
                    <a:schemeClr val="bg1">
                      <a:lumMod val="75000"/>
                    </a:schemeClr>
                  </a:solidFill>
                  <a:cs typeface="Segoe UI Semibold" panose="020B0702040204020203" pitchFamily="34" charset="0"/>
                </a:rPr>
                <a:t> sensors</a:t>
              </a:r>
            </a:p>
          </p:txBody>
        </p:sp>
        <p:sp>
          <p:nvSpPr>
            <p:cNvPr id="1111" name="Rectangle 1110"/>
            <p:cNvSpPr/>
            <p:nvPr/>
          </p:nvSpPr>
          <p:spPr>
            <a:xfrm>
              <a:off x="7304270" y="1284143"/>
              <a:ext cx="3103414" cy="446276"/>
            </a:xfrm>
            <a:prstGeom prst="rect">
              <a:avLst/>
            </a:prstGeom>
          </p:spPr>
          <p:txBody>
            <a:bodyPr wrap="none" lIns="0" tIns="0" rIns="0" bIns="0" anchor="b">
              <a:spAutoFit/>
            </a:bodyPr>
            <a:lstStyle/>
            <a:p>
              <a:r>
                <a:rPr lang="en-IN" sz="2900" b="1" dirty="0">
                  <a:solidFill>
                    <a:schemeClr val="accent4">
                      <a:lumMod val="20000"/>
                      <a:lumOff val="80000"/>
                      <a:alpha val="50000"/>
                    </a:schemeClr>
                  </a:solidFill>
                  <a:cs typeface="Segoe UI Semibold" panose="020B0702040204020203" pitchFamily="34" charset="0"/>
                </a:rPr>
                <a:t>geo-</a:t>
              </a:r>
              <a:r>
                <a:rPr lang="en-IN" sz="2900" b="1" dirty="0">
                  <a:solidFill>
                    <a:schemeClr val="accent4">
                      <a:lumMod val="40000"/>
                      <a:lumOff val="60000"/>
                      <a:alpha val="75000"/>
                    </a:schemeClr>
                  </a:solidFill>
                  <a:cs typeface="Segoe UI Semibold" panose="020B0702040204020203" pitchFamily="34" charset="0"/>
                </a:rPr>
                <a:t>location</a:t>
              </a:r>
              <a:r>
                <a:rPr lang="en-IN" sz="2900" b="1" dirty="0">
                  <a:solidFill>
                    <a:schemeClr val="accent4">
                      <a:lumMod val="20000"/>
                      <a:lumOff val="80000"/>
                    </a:schemeClr>
                  </a:solidFill>
                  <a:cs typeface="Segoe UI Semibold" panose="020B0702040204020203" pitchFamily="34" charset="0"/>
                </a:rPr>
                <a:t> </a:t>
              </a:r>
              <a:r>
                <a:rPr lang="en-IN" sz="2900" b="1" dirty="0">
                  <a:solidFill>
                    <a:schemeClr val="accent4">
                      <a:lumMod val="40000"/>
                      <a:lumOff val="60000"/>
                      <a:alpha val="75000"/>
                    </a:schemeClr>
                  </a:solidFill>
                  <a:cs typeface="Segoe UI Semibold" panose="020B0702040204020203" pitchFamily="34" charset="0"/>
                </a:rPr>
                <a:t>data</a:t>
              </a:r>
            </a:p>
          </p:txBody>
        </p:sp>
        <p:sp>
          <p:nvSpPr>
            <p:cNvPr id="1112" name="Rectangle 1111"/>
            <p:cNvSpPr/>
            <p:nvPr/>
          </p:nvSpPr>
          <p:spPr>
            <a:xfrm>
              <a:off x="7603990" y="2378660"/>
              <a:ext cx="2164054" cy="446276"/>
            </a:xfrm>
            <a:prstGeom prst="rect">
              <a:avLst/>
            </a:prstGeom>
          </p:spPr>
          <p:txBody>
            <a:bodyPr wrap="none" lIns="0" tIns="0" rIns="0" bIns="0" anchor="b">
              <a:spAutoFit/>
            </a:bodyPr>
            <a:lstStyle/>
            <a:p>
              <a:r>
                <a:rPr lang="en-IN" sz="2900" b="1" dirty="0">
                  <a:solidFill>
                    <a:schemeClr val="accent3">
                      <a:lumMod val="20000"/>
                      <a:lumOff val="80000"/>
                      <a:alpha val="50000"/>
                    </a:schemeClr>
                  </a:solidFill>
                  <a:cs typeface="Segoe UI Semibold" panose="020B0702040204020203" pitchFamily="34" charset="0"/>
                </a:rPr>
                <a:t>social</a:t>
              </a:r>
              <a:r>
                <a:rPr lang="en-IN" sz="2900" b="1" dirty="0">
                  <a:solidFill>
                    <a:schemeClr val="bg1">
                      <a:lumMod val="85000"/>
                      <a:alpha val="75000"/>
                    </a:schemeClr>
                  </a:solidFill>
                  <a:cs typeface="Segoe UI Semibold" panose="020B0702040204020203" pitchFamily="34" charset="0"/>
                </a:rPr>
                <a:t> </a:t>
              </a:r>
              <a:r>
                <a:rPr lang="en-IN" sz="2900" b="1" dirty="0">
                  <a:solidFill>
                    <a:schemeClr val="accent3">
                      <a:lumMod val="40000"/>
                      <a:lumOff val="60000"/>
                    </a:schemeClr>
                  </a:solidFill>
                  <a:cs typeface="Segoe UI Semibold" panose="020B0702040204020203" pitchFamily="34" charset="0"/>
                </a:rPr>
                <a:t>media</a:t>
              </a:r>
            </a:p>
          </p:txBody>
        </p:sp>
        <p:sp>
          <p:nvSpPr>
            <p:cNvPr id="1113" name="Rectangle 1112"/>
            <p:cNvSpPr/>
            <p:nvPr/>
          </p:nvSpPr>
          <p:spPr>
            <a:xfrm>
              <a:off x="8980352" y="3397835"/>
              <a:ext cx="1905971" cy="446276"/>
            </a:xfrm>
            <a:prstGeom prst="rect">
              <a:avLst/>
            </a:prstGeom>
          </p:spPr>
          <p:txBody>
            <a:bodyPr wrap="none" lIns="0" tIns="0" rIns="0" bIns="0" anchor="b">
              <a:spAutoFit/>
            </a:bodyPr>
            <a:lstStyle/>
            <a:p>
              <a:r>
                <a:rPr lang="en-IN" sz="2900" b="1" dirty="0">
                  <a:solidFill>
                    <a:schemeClr val="accent3">
                      <a:lumMod val="40000"/>
                      <a:lumOff val="60000"/>
                    </a:schemeClr>
                  </a:solidFill>
                  <a:cs typeface="Segoe UI Semibold" panose="020B0702040204020203" pitchFamily="34" charset="0"/>
                </a:rPr>
                <a:t>server </a:t>
              </a:r>
              <a:r>
                <a:rPr lang="en-IN" sz="2900" b="1" dirty="0">
                  <a:solidFill>
                    <a:schemeClr val="bg1">
                      <a:lumMod val="75000"/>
                    </a:schemeClr>
                  </a:solidFill>
                  <a:cs typeface="Segoe UI Semibold" panose="020B0702040204020203" pitchFamily="34" charset="0"/>
                </a:rPr>
                <a:t>logs</a:t>
              </a:r>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6350" b="6693"/>
            <a:stretch/>
          </p:blipFill>
          <p:spPr>
            <a:xfrm>
              <a:off x="8855353" y="4921835"/>
              <a:ext cx="1410602" cy="1226626"/>
            </a:xfrm>
            <a:prstGeom prst="rect">
              <a:avLst/>
            </a:prstGeom>
          </p:spPr>
        </p:pic>
        <p:sp>
          <p:nvSpPr>
            <p:cNvPr id="6" name="TextBox 5"/>
            <p:cNvSpPr txBox="1"/>
            <p:nvPr/>
          </p:nvSpPr>
          <p:spPr>
            <a:xfrm>
              <a:off x="8185694" y="6160159"/>
              <a:ext cx="2749920" cy="369332"/>
            </a:xfrm>
            <a:prstGeom prst="rect">
              <a:avLst/>
            </a:prstGeom>
            <a:noFill/>
          </p:spPr>
          <p:txBody>
            <a:bodyPr wrap="square" lIns="0" tIns="0" rIns="0" bIns="0" rtlCol="0">
              <a:spAutoFit/>
            </a:bodyPr>
            <a:lstStyle/>
            <a:p>
              <a:pPr algn="ctr">
                <a:spcAft>
                  <a:spcPts val="600"/>
                </a:spcAft>
              </a:pPr>
              <a:r>
                <a:rPr lang="en-US" sz="2400" dirty="0" smtClean="0">
                  <a:solidFill>
                    <a:schemeClr val="tx2"/>
                  </a:solidFill>
                  <a:latin typeface="Segoe UI Semibold" panose="020B0702040204020203" pitchFamily="34" charset="0"/>
                  <a:cs typeface="Segoe UI Semibold" panose="020B0702040204020203" pitchFamily="34" charset="0"/>
                </a:rPr>
                <a:t>Azure blob storage</a:t>
              </a:r>
            </a:p>
          </p:txBody>
        </p:sp>
      </p:grpSp>
      <p:grpSp>
        <p:nvGrpSpPr>
          <p:cNvPr id="11" name="Group 10"/>
          <p:cNvGrpSpPr/>
          <p:nvPr/>
        </p:nvGrpSpPr>
        <p:grpSpPr>
          <a:xfrm>
            <a:off x="516658" y="1597438"/>
            <a:ext cx="6203967" cy="830997"/>
            <a:chOff x="603233" y="1238495"/>
            <a:chExt cx="6203967" cy="830997"/>
          </a:xfrm>
        </p:grpSpPr>
        <p:sp>
          <p:nvSpPr>
            <p:cNvPr id="3" name="Rectangle 2"/>
            <p:cNvSpPr/>
            <p:nvPr/>
          </p:nvSpPr>
          <p:spPr>
            <a:xfrm>
              <a:off x="899886" y="1238495"/>
              <a:ext cx="5907314" cy="830997"/>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US"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xtract data in a form that can be easily consumed </a:t>
              </a:r>
            </a:p>
          </p:txBody>
        </p:sp>
        <p:sp>
          <p:nvSpPr>
            <p:cNvPr id="1114" name="Freeform 1113"/>
            <p:cNvSpPr>
              <a:spLocks/>
            </p:cNvSpPr>
            <p:nvPr/>
          </p:nvSpPr>
          <p:spPr bwMode="auto">
            <a:xfrm>
              <a:off x="603233" y="136967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grpSp>
        <p:nvGrpSpPr>
          <p:cNvPr id="12" name="Group 11"/>
          <p:cNvGrpSpPr/>
          <p:nvPr/>
        </p:nvGrpSpPr>
        <p:grpSpPr>
          <a:xfrm>
            <a:off x="516658" y="2647517"/>
            <a:ext cx="6203967" cy="830997"/>
            <a:chOff x="603233" y="2288574"/>
            <a:chExt cx="6203967" cy="830997"/>
          </a:xfrm>
        </p:grpSpPr>
        <p:sp>
          <p:nvSpPr>
            <p:cNvPr id="1116" name="Rectangle 1115"/>
            <p:cNvSpPr/>
            <p:nvPr/>
          </p:nvSpPr>
          <p:spPr>
            <a:xfrm>
              <a:off x="899886" y="2288574"/>
              <a:ext cx="5907314" cy="830997"/>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IN"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tage data before submitting it to a big data cluster</a:t>
              </a:r>
            </a:p>
          </p:txBody>
        </p:sp>
        <p:sp>
          <p:nvSpPr>
            <p:cNvPr id="1120" name="Freeform 1119"/>
            <p:cNvSpPr>
              <a:spLocks/>
            </p:cNvSpPr>
            <p:nvPr/>
          </p:nvSpPr>
          <p:spPr bwMode="auto">
            <a:xfrm>
              <a:off x="603233" y="239837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grpSp>
        <p:nvGrpSpPr>
          <p:cNvPr id="13" name="Group 12"/>
          <p:cNvGrpSpPr/>
          <p:nvPr/>
        </p:nvGrpSpPr>
        <p:grpSpPr>
          <a:xfrm>
            <a:off x="516658" y="3697596"/>
            <a:ext cx="6203967" cy="830997"/>
            <a:chOff x="603233" y="3338653"/>
            <a:chExt cx="6203967" cy="830997"/>
          </a:xfrm>
        </p:grpSpPr>
        <p:sp>
          <p:nvSpPr>
            <p:cNvPr id="1117" name="Rectangle 1116"/>
            <p:cNvSpPr/>
            <p:nvPr/>
          </p:nvSpPr>
          <p:spPr>
            <a:xfrm>
              <a:off x="899886" y="3338653"/>
              <a:ext cx="5907314" cy="830997"/>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IN"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ubmit data accurately to cluster storage, including data conversions</a:t>
              </a:r>
            </a:p>
          </p:txBody>
        </p:sp>
        <p:sp>
          <p:nvSpPr>
            <p:cNvPr id="1121" name="Freeform 1120"/>
            <p:cNvSpPr>
              <a:spLocks/>
            </p:cNvSpPr>
            <p:nvPr/>
          </p:nvSpPr>
          <p:spPr bwMode="auto">
            <a:xfrm>
              <a:off x="603233" y="3455653"/>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grpSp>
        <p:nvGrpSpPr>
          <p:cNvPr id="14" name="Group 13"/>
          <p:cNvGrpSpPr/>
          <p:nvPr/>
        </p:nvGrpSpPr>
        <p:grpSpPr>
          <a:xfrm>
            <a:off x="516658" y="4747675"/>
            <a:ext cx="6203967" cy="461665"/>
            <a:chOff x="603233" y="4388732"/>
            <a:chExt cx="6203967" cy="461665"/>
          </a:xfrm>
        </p:grpSpPr>
        <p:sp>
          <p:nvSpPr>
            <p:cNvPr id="1118" name="Rectangle 1117"/>
            <p:cNvSpPr/>
            <p:nvPr/>
          </p:nvSpPr>
          <p:spPr>
            <a:xfrm>
              <a:off x="899886" y="4388732"/>
              <a:ext cx="5907314" cy="461665"/>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IN"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hoose the right tool for your data</a:t>
              </a:r>
            </a:p>
          </p:txBody>
        </p:sp>
        <p:sp>
          <p:nvSpPr>
            <p:cNvPr id="1122" name="Freeform 1121"/>
            <p:cNvSpPr>
              <a:spLocks/>
            </p:cNvSpPr>
            <p:nvPr/>
          </p:nvSpPr>
          <p:spPr bwMode="auto">
            <a:xfrm>
              <a:off x="603233" y="4503403"/>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grpSp>
        <p:nvGrpSpPr>
          <p:cNvPr id="15" name="Group 14"/>
          <p:cNvGrpSpPr/>
          <p:nvPr/>
        </p:nvGrpSpPr>
        <p:grpSpPr>
          <a:xfrm>
            <a:off x="516658" y="5373024"/>
            <a:ext cx="6203967" cy="830997"/>
            <a:chOff x="603233" y="5014081"/>
            <a:chExt cx="6203967" cy="830997"/>
          </a:xfrm>
        </p:grpSpPr>
        <p:sp>
          <p:nvSpPr>
            <p:cNvPr id="1119" name="Rectangle 1118"/>
            <p:cNvSpPr/>
            <p:nvPr/>
          </p:nvSpPr>
          <p:spPr>
            <a:xfrm>
              <a:off x="899886" y="5014081"/>
              <a:ext cx="5907314" cy="830997"/>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IN"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If using </a:t>
              </a:r>
              <a:r>
                <a:rPr lang="en-IN" sz="2400"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HBase</a:t>
              </a:r>
              <a:r>
                <a:rPr lang="en-IN"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use an appropriate technique to upload it</a:t>
              </a:r>
            </a:p>
          </p:txBody>
        </p:sp>
        <p:sp>
          <p:nvSpPr>
            <p:cNvPr id="1123" name="Freeform 1122"/>
            <p:cNvSpPr>
              <a:spLocks/>
            </p:cNvSpPr>
            <p:nvPr/>
          </p:nvSpPr>
          <p:spPr bwMode="auto">
            <a:xfrm>
              <a:off x="603233" y="5151103"/>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sp>
        <p:nvSpPr>
          <p:cNvPr id="7" name="Slide Number Placeholder 6"/>
          <p:cNvSpPr>
            <a:spLocks noGrp="1"/>
          </p:cNvSpPr>
          <p:nvPr>
            <p:ph type="sldNum" sz="quarter" idx="11"/>
          </p:nvPr>
        </p:nvSpPr>
        <p:spPr/>
        <p:txBody>
          <a:bodyPr/>
          <a:lstStyle/>
          <a:p>
            <a:pPr>
              <a:defRPr/>
            </a:pPr>
            <a:fld id="{F8A0AC42-AA1D-4944-8D96-660DE70C7E1B}" type="slidenum">
              <a:rPr lang="en-IN" smtClean="0"/>
              <a:pPr>
                <a:defRPr/>
              </a:pPr>
              <a:t>5</a:t>
            </a:fld>
            <a:endParaRPr lang="en-IN" dirty="0"/>
          </a:p>
        </p:txBody>
      </p:sp>
      <p:sp>
        <p:nvSpPr>
          <p:cNvPr id="2" name="Title 1"/>
          <p:cNvSpPr>
            <a:spLocks noGrp="1"/>
          </p:cNvSpPr>
          <p:nvPr>
            <p:ph type="title"/>
          </p:nvPr>
        </p:nvSpPr>
        <p:spPr/>
        <p:txBody>
          <a:bodyPr/>
          <a:lstStyle/>
          <a:p>
            <a:r>
              <a:rPr lang="en-US" dirty="0" smtClean="0"/>
              <a:t>Data types and sources</a:t>
            </a:r>
            <a:endParaRPr lang="en-US" dirty="0"/>
          </a:p>
        </p:txBody>
      </p:sp>
    </p:spTree>
    <p:extLst>
      <p:ext uri="{BB962C8B-B14F-4D97-AF65-F5344CB8AC3E}">
        <p14:creationId xmlns:p14="http://schemas.microsoft.com/office/powerpoint/2010/main" val="358404054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0"/>
            <a:ext cx="5325035" cy="6994525"/>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5400" dirty="0" smtClean="0">
              <a:solidFill>
                <a:schemeClr val="bg1"/>
              </a:solidFill>
              <a:latin typeface="+mj-lt"/>
              <a:ea typeface="Segoe UI" pitchFamily="34" charset="0"/>
              <a:cs typeface="Segoe UI" pitchFamily="34" charset="0"/>
            </a:endParaRPr>
          </a:p>
          <a:p>
            <a:pPr defTabSz="932472" fontAlgn="base">
              <a:lnSpc>
                <a:spcPct val="90000"/>
              </a:lnSpc>
              <a:spcBef>
                <a:spcPct val="0"/>
              </a:spcBef>
              <a:spcAft>
                <a:spcPct val="0"/>
              </a:spcAft>
            </a:pPr>
            <a:endParaRPr lang="en-US" sz="5400" dirty="0">
              <a:solidFill>
                <a:schemeClr val="bg1"/>
              </a:solidFill>
              <a:latin typeface="+mj-lt"/>
              <a:ea typeface="Segoe UI" pitchFamily="34" charset="0"/>
              <a:cs typeface="Segoe UI" pitchFamily="34" charset="0"/>
            </a:endParaRPr>
          </a:p>
        </p:txBody>
      </p:sp>
      <p:sp>
        <p:nvSpPr>
          <p:cNvPr id="4" name="TextBox 3"/>
          <p:cNvSpPr txBox="1"/>
          <p:nvPr/>
        </p:nvSpPr>
        <p:spPr>
          <a:xfrm>
            <a:off x="5325034" y="1308536"/>
            <a:ext cx="6684403" cy="1874520"/>
          </a:xfrm>
          <a:prstGeom prst="rect">
            <a:avLst/>
          </a:prstGeom>
          <a:noFill/>
        </p:spPr>
        <p:txBody>
          <a:bodyPr wrap="square" lIns="274320" tIns="146304" rIns="182880" bIns="146304" rtlCol="0">
            <a:noAutofit/>
          </a:bodyPr>
          <a:lstStyle/>
          <a:p>
            <a:pPr marL="53975" lvl="1" defTabSz="932133" fontAlgn="base">
              <a:spcBef>
                <a:spcPts val="1200"/>
              </a:spcBef>
              <a:buClr>
                <a:schemeClr val="accent3">
                  <a:lumMod val="50000"/>
                </a:schemeClr>
              </a:buClr>
            </a:pPr>
            <a:r>
              <a:rPr lang="en-US" sz="3200" dirty="0" smtClean="0">
                <a:ln>
                  <a:solidFill>
                    <a:srgbClr val="FFFFFF">
                      <a:alpha val="0"/>
                    </a:srgbClr>
                  </a:solidFill>
                </a:ln>
                <a:solidFill>
                  <a:schemeClr val="accent3"/>
                </a:solidFill>
                <a:latin typeface="+mj-lt"/>
                <a:ea typeface="Segoe UI" pitchFamily="34" charset="0"/>
                <a:cs typeface="Segoe UI" pitchFamily="34" charset="0"/>
              </a:rPr>
              <a:t>Prerequisites</a:t>
            </a:r>
          </a:p>
          <a:p>
            <a:pPr marL="569913" lvl="1" indent="-457200" defTabSz="932133" fontAlgn="base">
              <a:buClr>
                <a:schemeClr val="accent3">
                  <a:lumMod val="50000"/>
                </a:schemeClr>
              </a:buClr>
              <a:buBlip>
                <a:blip r:embed="rId2"/>
              </a:buBlip>
            </a:pPr>
            <a:r>
              <a:rPr lang="en-US" sz="24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Blob storage concepts</a:t>
            </a:r>
          </a:p>
          <a:p>
            <a:pPr marL="569913" lvl="1" indent="-457200" defTabSz="932133" fontAlgn="base">
              <a:buClr>
                <a:schemeClr val="accent3">
                  <a:lumMod val="50000"/>
                </a:schemeClr>
              </a:buClr>
              <a:buBlip>
                <a:blip r:embed="rId2"/>
              </a:buBlip>
            </a:pPr>
            <a:r>
              <a:rPr lang="en-US" sz="24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Data </a:t>
            </a:r>
            <a:r>
              <a:rPr lang="en-US"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types and </a:t>
            </a:r>
            <a:r>
              <a:rPr lang="en-US" sz="24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sources</a:t>
            </a:r>
            <a:endParaRPr lang="en-US"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pPr marL="569913" lvl="1" indent="-457200" defTabSz="932133" fontAlgn="base">
              <a:buClr>
                <a:schemeClr val="accent3">
                  <a:lumMod val="50000"/>
                </a:schemeClr>
              </a:buClr>
              <a:buBlip>
                <a:blip r:embed="rId2"/>
              </a:buBlip>
            </a:pPr>
            <a:r>
              <a:rPr lang="en-US"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erformance and </a:t>
            </a:r>
            <a:r>
              <a:rPr lang="en-US" sz="24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scalability</a:t>
            </a:r>
            <a:endParaRPr lang="en-US"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p:txBody>
      </p:sp>
      <p:sp>
        <p:nvSpPr>
          <p:cNvPr id="5" name="Rectangle 4"/>
          <p:cNvSpPr/>
          <p:nvPr/>
        </p:nvSpPr>
        <p:spPr bwMode="auto">
          <a:xfrm>
            <a:off x="0" y="6445885"/>
            <a:ext cx="5325035" cy="54864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rPr>
              <a:t>Tools</a:t>
            </a:r>
          </a:p>
        </p:txBody>
      </p:sp>
      <p:sp>
        <p:nvSpPr>
          <p:cNvPr id="6" name="Freeform 5"/>
          <p:cNvSpPr>
            <a:spLocks/>
          </p:cNvSpPr>
          <p:nvPr/>
        </p:nvSpPr>
        <p:spPr bwMode="auto">
          <a:xfrm flipH="1">
            <a:off x="2671625" y="4267200"/>
            <a:ext cx="2653409" cy="2178685"/>
          </a:xfrm>
          <a:custGeom>
            <a:avLst/>
            <a:gdLst>
              <a:gd name="connsiteX0" fmla="*/ 603413 w 1090712"/>
              <a:gd name="connsiteY0" fmla="*/ 721327 h 895572"/>
              <a:gd name="connsiteX1" fmla="*/ 578466 w 1090712"/>
              <a:gd name="connsiteY1" fmla="*/ 770746 h 895572"/>
              <a:gd name="connsiteX2" fmla="*/ 553519 w 1090712"/>
              <a:gd name="connsiteY2" fmla="*/ 818264 h 895572"/>
              <a:gd name="connsiteX3" fmla="*/ 528334 w 1090712"/>
              <a:gd name="connsiteY3" fmla="*/ 865069 h 895572"/>
              <a:gd name="connsiteX4" fmla="*/ 511825 w 1090712"/>
              <a:gd name="connsiteY4" fmla="*/ 895572 h 895572"/>
              <a:gd name="connsiteX5" fmla="*/ 624528 w 1090712"/>
              <a:gd name="connsiteY5" fmla="*/ 895572 h 895572"/>
              <a:gd name="connsiteX6" fmla="*/ 624796 w 1090712"/>
              <a:gd name="connsiteY6" fmla="*/ 894768 h 895572"/>
              <a:gd name="connsiteX7" fmla="*/ 625271 w 1090712"/>
              <a:gd name="connsiteY7" fmla="*/ 891679 h 895572"/>
              <a:gd name="connsiteX8" fmla="*/ 625747 w 1090712"/>
              <a:gd name="connsiteY8" fmla="*/ 889066 h 895572"/>
              <a:gd name="connsiteX9" fmla="*/ 625747 w 1090712"/>
              <a:gd name="connsiteY9" fmla="*/ 860555 h 895572"/>
              <a:gd name="connsiteX10" fmla="*/ 624796 w 1090712"/>
              <a:gd name="connsiteY10" fmla="*/ 833945 h 895572"/>
              <a:gd name="connsiteX11" fmla="*/ 624321 w 1090712"/>
              <a:gd name="connsiteY11" fmla="*/ 820877 h 895572"/>
              <a:gd name="connsiteX12" fmla="*/ 623608 w 1090712"/>
              <a:gd name="connsiteY12" fmla="*/ 808047 h 895572"/>
              <a:gd name="connsiteX13" fmla="*/ 621708 w 1090712"/>
              <a:gd name="connsiteY13" fmla="*/ 795218 h 895572"/>
              <a:gd name="connsiteX14" fmla="*/ 620044 w 1090712"/>
              <a:gd name="connsiteY14" fmla="*/ 782625 h 895572"/>
              <a:gd name="connsiteX15" fmla="*/ 616005 w 1090712"/>
              <a:gd name="connsiteY15" fmla="*/ 766707 h 895572"/>
              <a:gd name="connsiteX16" fmla="*/ 611966 w 1090712"/>
              <a:gd name="connsiteY16" fmla="*/ 751976 h 895572"/>
              <a:gd name="connsiteX17" fmla="*/ 607452 w 1090712"/>
              <a:gd name="connsiteY17" fmla="*/ 737245 h 895572"/>
              <a:gd name="connsiteX18" fmla="*/ 698212 w 1090712"/>
              <a:gd name="connsiteY18" fmla="*/ 530778 h 895572"/>
              <a:gd name="connsiteX19" fmla="*/ 693460 w 1090712"/>
              <a:gd name="connsiteY19" fmla="*/ 534818 h 895572"/>
              <a:gd name="connsiteX20" fmla="*/ 688471 w 1090712"/>
              <a:gd name="connsiteY20" fmla="*/ 538857 h 895572"/>
              <a:gd name="connsiteX21" fmla="*/ 678254 w 1090712"/>
              <a:gd name="connsiteY21" fmla="*/ 546935 h 895572"/>
              <a:gd name="connsiteX22" fmla="*/ 669226 w 1090712"/>
              <a:gd name="connsiteY22" fmla="*/ 553587 h 895572"/>
              <a:gd name="connsiteX23" fmla="*/ 663048 w 1090712"/>
              <a:gd name="connsiteY23" fmla="*/ 558814 h 895572"/>
              <a:gd name="connsiteX24" fmla="*/ 663048 w 1090712"/>
              <a:gd name="connsiteY24" fmla="*/ 556676 h 895572"/>
              <a:gd name="connsiteX25" fmla="*/ 663523 w 1090712"/>
              <a:gd name="connsiteY25" fmla="*/ 554538 h 895572"/>
              <a:gd name="connsiteX26" fmla="*/ 665424 w 1090712"/>
              <a:gd name="connsiteY26" fmla="*/ 550498 h 895572"/>
              <a:gd name="connsiteX27" fmla="*/ 668038 w 1090712"/>
              <a:gd name="connsiteY27" fmla="*/ 546459 h 895572"/>
              <a:gd name="connsiteX28" fmla="*/ 671602 w 1090712"/>
              <a:gd name="connsiteY28" fmla="*/ 542420 h 895572"/>
              <a:gd name="connsiteX29" fmla="*/ 676829 w 1090712"/>
              <a:gd name="connsiteY29" fmla="*/ 538857 h 895572"/>
              <a:gd name="connsiteX30" fmla="*/ 682768 w 1090712"/>
              <a:gd name="connsiteY30" fmla="*/ 535768 h 895572"/>
              <a:gd name="connsiteX31" fmla="*/ 689896 w 1090712"/>
              <a:gd name="connsiteY31" fmla="*/ 533154 h 895572"/>
              <a:gd name="connsiteX32" fmla="*/ 654257 w 1090712"/>
              <a:gd name="connsiteY32" fmla="*/ 302216 h 895572"/>
              <a:gd name="connsiteX33" fmla="*/ 651882 w 1090712"/>
              <a:gd name="connsiteY33" fmla="*/ 302691 h 895572"/>
              <a:gd name="connsiteX34" fmla="*/ 649268 w 1090712"/>
              <a:gd name="connsiteY34" fmla="*/ 303166 h 895572"/>
              <a:gd name="connsiteX35" fmla="*/ 647130 w 1090712"/>
              <a:gd name="connsiteY35" fmla="*/ 304354 h 895572"/>
              <a:gd name="connsiteX36" fmla="*/ 644516 w 1090712"/>
              <a:gd name="connsiteY36" fmla="*/ 306255 h 895572"/>
              <a:gd name="connsiteX37" fmla="*/ 642140 w 1090712"/>
              <a:gd name="connsiteY37" fmla="*/ 307918 h 895572"/>
              <a:gd name="connsiteX38" fmla="*/ 640002 w 1090712"/>
              <a:gd name="connsiteY38" fmla="*/ 310294 h 895572"/>
              <a:gd name="connsiteX39" fmla="*/ 638101 w 1090712"/>
              <a:gd name="connsiteY39" fmla="*/ 312432 h 895572"/>
              <a:gd name="connsiteX40" fmla="*/ 636913 w 1090712"/>
              <a:gd name="connsiteY40" fmla="*/ 314571 h 895572"/>
              <a:gd name="connsiteX41" fmla="*/ 635963 w 1090712"/>
              <a:gd name="connsiteY41" fmla="*/ 316946 h 895572"/>
              <a:gd name="connsiteX42" fmla="*/ 635963 w 1090712"/>
              <a:gd name="connsiteY42" fmla="*/ 319085 h 895572"/>
              <a:gd name="connsiteX43" fmla="*/ 636913 w 1090712"/>
              <a:gd name="connsiteY43" fmla="*/ 321223 h 895572"/>
              <a:gd name="connsiteX44" fmla="*/ 637626 w 1090712"/>
              <a:gd name="connsiteY44" fmla="*/ 324074 h 895572"/>
              <a:gd name="connsiteX45" fmla="*/ 639527 w 1090712"/>
              <a:gd name="connsiteY45" fmla="*/ 326688 h 895572"/>
              <a:gd name="connsiteX46" fmla="*/ 643091 w 1090712"/>
              <a:gd name="connsiteY46" fmla="*/ 331677 h 895572"/>
              <a:gd name="connsiteX47" fmla="*/ 647130 w 1090712"/>
              <a:gd name="connsiteY47" fmla="*/ 335954 h 895572"/>
              <a:gd name="connsiteX48" fmla="*/ 655920 w 1090712"/>
              <a:gd name="connsiteY48" fmla="*/ 330727 h 895572"/>
              <a:gd name="connsiteX49" fmla="*/ 663999 w 1090712"/>
              <a:gd name="connsiteY49" fmla="*/ 324787 h 895572"/>
              <a:gd name="connsiteX50" fmla="*/ 679917 w 1090712"/>
              <a:gd name="connsiteY50" fmla="*/ 313383 h 895572"/>
              <a:gd name="connsiteX51" fmla="*/ 676354 w 1090712"/>
              <a:gd name="connsiteY51" fmla="*/ 311007 h 895572"/>
              <a:gd name="connsiteX52" fmla="*/ 672790 w 1090712"/>
              <a:gd name="connsiteY52" fmla="*/ 308393 h 895572"/>
              <a:gd name="connsiteX53" fmla="*/ 668988 w 1090712"/>
              <a:gd name="connsiteY53" fmla="*/ 306730 h 895572"/>
              <a:gd name="connsiteX54" fmla="*/ 664949 w 1090712"/>
              <a:gd name="connsiteY54" fmla="*/ 304829 h 895572"/>
              <a:gd name="connsiteX55" fmla="*/ 660910 w 1090712"/>
              <a:gd name="connsiteY55" fmla="*/ 303641 h 895572"/>
              <a:gd name="connsiteX56" fmla="*/ 657346 w 1090712"/>
              <a:gd name="connsiteY56" fmla="*/ 302691 h 895572"/>
              <a:gd name="connsiteX57" fmla="*/ 696549 w 1090712"/>
              <a:gd name="connsiteY57" fmla="*/ 252322 h 895572"/>
              <a:gd name="connsiteX58" fmla="*/ 696786 w 1090712"/>
              <a:gd name="connsiteY58" fmla="*/ 259925 h 895572"/>
              <a:gd name="connsiteX59" fmla="*/ 698212 w 1090712"/>
              <a:gd name="connsiteY59" fmla="*/ 266102 h 895572"/>
              <a:gd name="connsiteX60" fmla="*/ 700113 w 1090712"/>
              <a:gd name="connsiteY60" fmla="*/ 272042 h 895572"/>
              <a:gd name="connsiteX61" fmla="*/ 701776 w 1090712"/>
              <a:gd name="connsiteY61" fmla="*/ 276794 h 895572"/>
              <a:gd name="connsiteX62" fmla="*/ 704389 w 1090712"/>
              <a:gd name="connsiteY62" fmla="*/ 280833 h 895572"/>
              <a:gd name="connsiteX63" fmla="*/ 707240 w 1090712"/>
              <a:gd name="connsiteY63" fmla="*/ 284397 h 895572"/>
              <a:gd name="connsiteX64" fmla="*/ 710329 w 1090712"/>
              <a:gd name="connsiteY64" fmla="*/ 287010 h 895572"/>
              <a:gd name="connsiteX65" fmla="*/ 713418 w 1090712"/>
              <a:gd name="connsiteY65" fmla="*/ 289624 h 895572"/>
              <a:gd name="connsiteX66" fmla="*/ 716506 w 1090712"/>
              <a:gd name="connsiteY66" fmla="*/ 291524 h 895572"/>
              <a:gd name="connsiteX67" fmla="*/ 719595 w 1090712"/>
              <a:gd name="connsiteY67" fmla="*/ 293187 h 895572"/>
              <a:gd name="connsiteX68" fmla="*/ 725772 w 1090712"/>
              <a:gd name="connsiteY68" fmla="*/ 295088 h 895572"/>
              <a:gd name="connsiteX69" fmla="*/ 731237 w 1090712"/>
              <a:gd name="connsiteY69" fmla="*/ 296514 h 895572"/>
              <a:gd name="connsiteX70" fmla="*/ 734801 w 1090712"/>
              <a:gd name="connsiteY70" fmla="*/ 296751 h 895572"/>
              <a:gd name="connsiteX71" fmla="*/ 722209 w 1090712"/>
              <a:gd name="connsiteY71" fmla="*/ 303879 h 895572"/>
              <a:gd name="connsiteX72" fmla="*/ 710804 w 1090712"/>
              <a:gd name="connsiteY72" fmla="*/ 311007 h 895572"/>
              <a:gd name="connsiteX73" fmla="*/ 688471 w 1090712"/>
              <a:gd name="connsiteY73" fmla="*/ 324787 h 895572"/>
              <a:gd name="connsiteX74" fmla="*/ 667563 w 1090712"/>
              <a:gd name="connsiteY74" fmla="*/ 339043 h 895572"/>
              <a:gd name="connsiteX75" fmla="*/ 646179 w 1090712"/>
              <a:gd name="connsiteY75" fmla="*/ 352823 h 895572"/>
              <a:gd name="connsiteX76" fmla="*/ 620044 w 1090712"/>
              <a:gd name="connsiteY76" fmla="*/ 313383 h 895572"/>
              <a:gd name="connsiteX77" fmla="*/ 617668 w 1090712"/>
              <a:gd name="connsiteY77" fmla="*/ 312432 h 895572"/>
              <a:gd name="connsiteX78" fmla="*/ 615055 w 1090712"/>
              <a:gd name="connsiteY78" fmla="*/ 312432 h 895572"/>
              <a:gd name="connsiteX79" fmla="*/ 612441 w 1090712"/>
              <a:gd name="connsiteY79" fmla="*/ 313383 h 895572"/>
              <a:gd name="connsiteX80" fmla="*/ 609353 w 1090712"/>
              <a:gd name="connsiteY80" fmla="*/ 314095 h 895572"/>
              <a:gd name="connsiteX81" fmla="*/ 602938 w 1090712"/>
              <a:gd name="connsiteY81" fmla="*/ 316946 h 895572"/>
              <a:gd name="connsiteX82" fmla="*/ 599849 w 1090712"/>
              <a:gd name="connsiteY82" fmla="*/ 317659 h 895572"/>
              <a:gd name="connsiteX83" fmla="*/ 596760 w 1090712"/>
              <a:gd name="connsiteY83" fmla="*/ 318610 h 895572"/>
              <a:gd name="connsiteX84" fmla="*/ 607927 w 1090712"/>
              <a:gd name="connsiteY84" fmla="*/ 307205 h 895572"/>
              <a:gd name="connsiteX85" fmla="*/ 618619 w 1090712"/>
              <a:gd name="connsiteY85" fmla="*/ 295088 h 895572"/>
              <a:gd name="connsiteX86" fmla="*/ 623846 w 1090712"/>
              <a:gd name="connsiteY86" fmla="*/ 289386 h 895572"/>
              <a:gd name="connsiteX87" fmla="*/ 629786 w 1090712"/>
              <a:gd name="connsiteY87" fmla="*/ 283921 h 895572"/>
              <a:gd name="connsiteX88" fmla="*/ 635963 w 1090712"/>
              <a:gd name="connsiteY88" fmla="*/ 278694 h 895572"/>
              <a:gd name="connsiteX89" fmla="*/ 642140 w 1090712"/>
              <a:gd name="connsiteY89" fmla="*/ 273705 h 895572"/>
              <a:gd name="connsiteX90" fmla="*/ 648793 w 1090712"/>
              <a:gd name="connsiteY90" fmla="*/ 269191 h 895572"/>
              <a:gd name="connsiteX91" fmla="*/ 655446 w 1090712"/>
              <a:gd name="connsiteY91" fmla="*/ 265627 h 895572"/>
              <a:gd name="connsiteX92" fmla="*/ 662098 w 1090712"/>
              <a:gd name="connsiteY92" fmla="*/ 263013 h 895572"/>
              <a:gd name="connsiteX93" fmla="*/ 668988 w 1090712"/>
              <a:gd name="connsiteY93" fmla="*/ 260400 h 895572"/>
              <a:gd name="connsiteX94" fmla="*/ 682768 w 1090712"/>
              <a:gd name="connsiteY94" fmla="*/ 256361 h 895572"/>
              <a:gd name="connsiteX95" fmla="*/ 1030602 w 1090712"/>
              <a:gd name="connsiteY95" fmla="*/ 200289 h 895572"/>
              <a:gd name="connsiteX96" fmla="*/ 1027513 w 1090712"/>
              <a:gd name="connsiteY96" fmla="*/ 207892 h 895572"/>
              <a:gd name="connsiteX97" fmla="*/ 1023949 w 1090712"/>
              <a:gd name="connsiteY97" fmla="*/ 214545 h 895572"/>
              <a:gd name="connsiteX98" fmla="*/ 1019910 w 1090712"/>
              <a:gd name="connsiteY98" fmla="*/ 221197 h 895572"/>
              <a:gd name="connsiteX99" fmla="*/ 1015396 w 1090712"/>
              <a:gd name="connsiteY99" fmla="*/ 226899 h 895572"/>
              <a:gd name="connsiteX100" fmla="*/ 1011119 w 1090712"/>
              <a:gd name="connsiteY100" fmla="*/ 232839 h 895572"/>
              <a:gd name="connsiteX101" fmla="*/ 1006130 w 1090712"/>
              <a:gd name="connsiteY101" fmla="*/ 237591 h 895572"/>
              <a:gd name="connsiteX102" fmla="*/ 1001140 w 1090712"/>
              <a:gd name="connsiteY102" fmla="*/ 242105 h 895572"/>
              <a:gd name="connsiteX103" fmla="*/ 996388 w 1090712"/>
              <a:gd name="connsiteY103" fmla="*/ 246144 h 895572"/>
              <a:gd name="connsiteX104" fmla="*/ 990924 w 1090712"/>
              <a:gd name="connsiteY104" fmla="*/ 249708 h 895572"/>
              <a:gd name="connsiteX105" fmla="*/ 985697 w 1090712"/>
              <a:gd name="connsiteY105" fmla="*/ 252797 h 895572"/>
              <a:gd name="connsiteX106" fmla="*/ 980232 w 1090712"/>
              <a:gd name="connsiteY106" fmla="*/ 254935 h 895572"/>
              <a:gd name="connsiteX107" fmla="*/ 975005 w 1090712"/>
              <a:gd name="connsiteY107" fmla="*/ 256836 h 895572"/>
              <a:gd name="connsiteX108" fmla="*/ 969541 w 1090712"/>
              <a:gd name="connsiteY108" fmla="*/ 258262 h 895572"/>
              <a:gd name="connsiteX109" fmla="*/ 963839 w 1090712"/>
              <a:gd name="connsiteY109" fmla="*/ 258499 h 895572"/>
              <a:gd name="connsiteX110" fmla="*/ 958612 w 1090712"/>
              <a:gd name="connsiteY110" fmla="*/ 258499 h 895572"/>
              <a:gd name="connsiteX111" fmla="*/ 953622 w 1090712"/>
              <a:gd name="connsiteY111" fmla="*/ 257786 h 895572"/>
              <a:gd name="connsiteX112" fmla="*/ 970966 w 1090712"/>
              <a:gd name="connsiteY112" fmla="*/ 244006 h 895572"/>
              <a:gd name="connsiteX113" fmla="*/ 990211 w 1090712"/>
              <a:gd name="connsiteY113" fmla="*/ 229275 h 895572"/>
              <a:gd name="connsiteX114" fmla="*/ 1010169 w 1090712"/>
              <a:gd name="connsiteY114" fmla="*/ 214069 h 895572"/>
              <a:gd name="connsiteX115" fmla="*/ 1020385 w 1090712"/>
              <a:gd name="connsiteY115" fmla="*/ 206942 h 895572"/>
              <a:gd name="connsiteX116" fmla="*/ 389581 w 1090712"/>
              <a:gd name="connsiteY116" fmla="*/ 176768 h 895572"/>
              <a:gd name="connsiteX117" fmla="*/ 397422 w 1090712"/>
              <a:gd name="connsiteY117" fmla="*/ 177243 h 895572"/>
              <a:gd name="connsiteX118" fmla="*/ 414766 w 1090712"/>
              <a:gd name="connsiteY118" fmla="*/ 178906 h 895572"/>
              <a:gd name="connsiteX119" fmla="*/ 405500 w 1090712"/>
              <a:gd name="connsiteY119" fmla="*/ 179856 h 895572"/>
              <a:gd name="connsiteX120" fmla="*/ 396946 w 1090712"/>
              <a:gd name="connsiteY120" fmla="*/ 181995 h 895572"/>
              <a:gd name="connsiteX121" fmla="*/ 389581 w 1090712"/>
              <a:gd name="connsiteY121" fmla="*/ 184371 h 895572"/>
              <a:gd name="connsiteX122" fmla="*/ 381978 w 1090712"/>
              <a:gd name="connsiteY122" fmla="*/ 186984 h 895572"/>
              <a:gd name="connsiteX123" fmla="*/ 375326 w 1090712"/>
              <a:gd name="connsiteY123" fmla="*/ 190548 h 895572"/>
              <a:gd name="connsiteX124" fmla="*/ 368911 w 1090712"/>
              <a:gd name="connsiteY124" fmla="*/ 194112 h 895572"/>
              <a:gd name="connsiteX125" fmla="*/ 363208 w 1090712"/>
              <a:gd name="connsiteY125" fmla="*/ 198626 h 895572"/>
              <a:gd name="connsiteX126" fmla="*/ 357981 w 1090712"/>
              <a:gd name="connsiteY126" fmla="*/ 202903 h 895572"/>
              <a:gd name="connsiteX127" fmla="*/ 352517 w 1090712"/>
              <a:gd name="connsiteY127" fmla="*/ 208367 h 895572"/>
              <a:gd name="connsiteX128" fmla="*/ 348003 w 1090712"/>
              <a:gd name="connsiteY128" fmla="*/ 214070 h 895572"/>
              <a:gd name="connsiteX129" fmla="*/ 343726 w 1090712"/>
              <a:gd name="connsiteY129" fmla="*/ 220247 h 895572"/>
              <a:gd name="connsiteX130" fmla="*/ 339687 w 1090712"/>
              <a:gd name="connsiteY130" fmla="*/ 226662 h 895572"/>
              <a:gd name="connsiteX131" fmla="*/ 335648 w 1090712"/>
              <a:gd name="connsiteY131" fmla="*/ 233790 h 895572"/>
              <a:gd name="connsiteX132" fmla="*/ 332559 w 1090712"/>
              <a:gd name="connsiteY132" fmla="*/ 240917 h 895572"/>
              <a:gd name="connsiteX133" fmla="*/ 328995 w 1090712"/>
              <a:gd name="connsiteY133" fmla="*/ 248758 h 895572"/>
              <a:gd name="connsiteX134" fmla="*/ 325907 w 1090712"/>
              <a:gd name="connsiteY134" fmla="*/ 256836 h 895572"/>
              <a:gd name="connsiteX135" fmla="*/ 325432 w 1090712"/>
              <a:gd name="connsiteY135" fmla="*/ 252797 h 895572"/>
              <a:gd name="connsiteX136" fmla="*/ 324956 w 1090712"/>
              <a:gd name="connsiteY136" fmla="*/ 248283 h 895572"/>
              <a:gd name="connsiteX137" fmla="*/ 323056 w 1090712"/>
              <a:gd name="connsiteY137" fmla="*/ 239492 h 895572"/>
              <a:gd name="connsiteX138" fmla="*/ 320917 w 1090712"/>
              <a:gd name="connsiteY138" fmla="*/ 229275 h 895572"/>
              <a:gd name="connsiteX139" fmla="*/ 320442 w 1090712"/>
              <a:gd name="connsiteY139" fmla="*/ 223811 h 895572"/>
              <a:gd name="connsiteX140" fmla="*/ 319967 w 1090712"/>
              <a:gd name="connsiteY140" fmla="*/ 217633 h 895572"/>
              <a:gd name="connsiteX141" fmla="*/ 314740 w 1090712"/>
              <a:gd name="connsiteY141" fmla="*/ 217633 h 895572"/>
              <a:gd name="connsiteX142" fmla="*/ 302148 w 1090712"/>
              <a:gd name="connsiteY142" fmla="*/ 243056 h 895572"/>
              <a:gd name="connsiteX143" fmla="*/ 289793 w 1090712"/>
              <a:gd name="connsiteY143" fmla="*/ 267528 h 895572"/>
              <a:gd name="connsiteX144" fmla="*/ 277438 w 1090712"/>
              <a:gd name="connsiteY144" fmla="*/ 291049 h 895572"/>
              <a:gd name="connsiteX145" fmla="*/ 264371 w 1090712"/>
              <a:gd name="connsiteY145" fmla="*/ 312907 h 895572"/>
              <a:gd name="connsiteX146" fmla="*/ 267459 w 1090712"/>
              <a:gd name="connsiteY146" fmla="*/ 295088 h 895572"/>
              <a:gd name="connsiteX147" fmla="*/ 271023 w 1090712"/>
              <a:gd name="connsiteY147" fmla="*/ 279170 h 895572"/>
              <a:gd name="connsiteX148" fmla="*/ 274587 w 1090712"/>
              <a:gd name="connsiteY148" fmla="*/ 263964 h 895572"/>
              <a:gd name="connsiteX149" fmla="*/ 279101 w 1090712"/>
              <a:gd name="connsiteY149" fmla="*/ 250183 h 895572"/>
              <a:gd name="connsiteX150" fmla="*/ 284091 w 1090712"/>
              <a:gd name="connsiteY150" fmla="*/ 238066 h 895572"/>
              <a:gd name="connsiteX151" fmla="*/ 289318 w 1090712"/>
              <a:gd name="connsiteY151" fmla="*/ 226900 h 895572"/>
              <a:gd name="connsiteX152" fmla="*/ 292406 w 1090712"/>
              <a:gd name="connsiteY152" fmla="*/ 221673 h 895572"/>
              <a:gd name="connsiteX153" fmla="*/ 295495 w 1090712"/>
              <a:gd name="connsiteY153" fmla="*/ 217158 h 895572"/>
              <a:gd name="connsiteX154" fmla="*/ 298584 w 1090712"/>
              <a:gd name="connsiteY154" fmla="*/ 212406 h 895572"/>
              <a:gd name="connsiteX155" fmla="*/ 302148 w 1090712"/>
              <a:gd name="connsiteY155" fmla="*/ 208367 h 895572"/>
              <a:gd name="connsiteX156" fmla="*/ 305711 w 1090712"/>
              <a:gd name="connsiteY156" fmla="*/ 204328 h 895572"/>
              <a:gd name="connsiteX157" fmla="*/ 309275 w 1090712"/>
              <a:gd name="connsiteY157" fmla="*/ 200765 h 895572"/>
              <a:gd name="connsiteX158" fmla="*/ 313314 w 1090712"/>
              <a:gd name="connsiteY158" fmla="*/ 197201 h 895572"/>
              <a:gd name="connsiteX159" fmla="*/ 317354 w 1090712"/>
              <a:gd name="connsiteY159" fmla="*/ 194112 h 895572"/>
              <a:gd name="connsiteX160" fmla="*/ 321868 w 1090712"/>
              <a:gd name="connsiteY160" fmla="*/ 191498 h 895572"/>
              <a:gd name="connsiteX161" fmla="*/ 326382 w 1090712"/>
              <a:gd name="connsiteY161" fmla="*/ 188647 h 895572"/>
              <a:gd name="connsiteX162" fmla="*/ 330659 w 1090712"/>
              <a:gd name="connsiteY162" fmla="*/ 186509 h 895572"/>
              <a:gd name="connsiteX163" fmla="*/ 335648 w 1090712"/>
              <a:gd name="connsiteY163" fmla="*/ 184371 h 895572"/>
              <a:gd name="connsiteX164" fmla="*/ 340637 w 1090712"/>
              <a:gd name="connsiteY164" fmla="*/ 182470 h 895572"/>
              <a:gd name="connsiteX165" fmla="*/ 345864 w 1090712"/>
              <a:gd name="connsiteY165" fmla="*/ 181282 h 895572"/>
              <a:gd name="connsiteX166" fmla="*/ 351091 w 1090712"/>
              <a:gd name="connsiteY166" fmla="*/ 179856 h 895572"/>
              <a:gd name="connsiteX167" fmla="*/ 357031 w 1090712"/>
              <a:gd name="connsiteY167" fmla="*/ 178431 h 895572"/>
              <a:gd name="connsiteX168" fmla="*/ 368911 w 1090712"/>
              <a:gd name="connsiteY168" fmla="*/ 177243 h 895572"/>
              <a:gd name="connsiteX169" fmla="*/ 381978 w 1090712"/>
              <a:gd name="connsiteY169" fmla="*/ 176768 h 895572"/>
              <a:gd name="connsiteX170" fmla="*/ 609353 w 1090712"/>
              <a:gd name="connsiteY170" fmla="*/ 174629 h 895572"/>
              <a:gd name="connsiteX171" fmla="*/ 602463 w 1090712"/>
              <a:gd name="connsiteY171" fmla="*/ 180807 h 895572"/>
              <a:gd name="connsiteX172" fmla="*/ 596285 w 1090712"/>
              <a:gd name="connsiteY172" fmla="*/ 187459 h 895572"/>
              <a:gd name="connsiteX173" fmla="*/ 583931 w 1090712"/>
              <a:gd name="connsiteY173" fmla="*/ 201715 h 895572"/>
              <a:gd name="connsiteX174" fmla="*/ 571101 w 1090712"/>
              <a:gd name="connsiteY174" fmla="*/ 215495 h 895572"/>
              <a:gd name="connsiteX175" fmla="*/ 564686 w 1090712"/>
              <a:gd name="connsiteY175" fmla="*/ 222148 h 895572"/>
              <a:gd name="connsiteX176" fmla="*/ 558508 w 1090712"/>
              <a:gd name="connsiteY176" fmla="*/ 228325 h 895572"/>
              <a:gd name="connsiteX177" fmla="*/ 557558 w 1090712"/>
              <a:gd name="connsiteY177" fmla="*/ 223335 h 895572"/>
              <a:gd name="connsiteX178" fmla="*/ 557083 w 1090712"/>
              <a:gd name="connsiteY178" fmla="*/ 219059 h 895572"/>
              <a:gd name="connsiteX179" fmla="*/ 557083 w 1090712"/>
              <a:gd name="connsiteY179" fmla="*/ 215020 h 895572"/>
              <a:gd name="connsiteX180" fmla="*/ 557558 w 1090712"/>
              <a:gd name="connsiteY180" fmla="*/ 210981 h 895572"/>
              <a:gd name="connsiteX181" fmla="*/ 558508 w 1090712"/>
              <a:gd name="connsiteY181" fmla="*/ 207417 h 895572"/>
              <a:gd name="connsiteX182" fmla="*/ 560409 w 1090712"/>
              <a:gd name="connsiteY182" fmla="*/ 203853 h 895572"/>
              <a:gd name="connsiteX183" fmla="*/ 562072 w 1090712"/>
              <a:gd name="connsiteY183" fmla="*/ 200764 h 895572"/>
              <a:gd name="connsiteX184" fmla="*/ 564686 w 1090712"/>
              <a:gd name="connsiteY184" fmla="*/ 197676 h 895572"/>
              <a:gd name="connsiteX185" fmla="*/ 567774 w 1090712"/>
              <a:gd name="connsiteY185" fmla="*/ 194587 h 895572"/>
              <a:gd name="connsiteX186" fmla="*/ 571813 w 1090712"/>
              <a:gd name="connsiteY186" fmla="*/ 191973 h 895572"/>
              <a:gd name="connsiteX187" fmla="*/ 576328 w 1090712"/>
              <a:gd name="connsiteY187" fmla="*/ 188647 h 895572"/>
              <a:gd name="connsiteX188" fmla="*/ 581317 w 1090712"/>
              <a:gd name="connsiteY188" fmla="*/ 186034 h 895572"/>
              <a:gd name="connsiteX189" fmla="*/ 587019 w 1090712"/>
              <a:gd name="connsiteY189" fmla="*/ 183420 h 895572"/>
              <a:gd name="connsiteX190" fmla="*/ 593672 w 1090712"/>
              <a:gd name="connsiteY190" fmla="*/ 180332 h 895572"/>
              <a:gd name="connsiteX191" fmla="*/ 586544 w 1090712"/>
              <a:gd name="connsiteY191" fmla="*/ 0 h 895572"/>
              <a:gd name="connsiteX192" fmla="*/ 570150 w 1090712"/>
              <a:gd name="connsiteY192" fmla="*/ 2851 h 895572"/>
              <a:gd name="connsiteX193" fmla="*/ 553519 w 1090712"/>
              <a:gd name="connsiteY193" fmla="*/ 5940 h 895572"/>
              <a:gd name="connsiteX194" fmla="*/ 536650 w 1090712"/>
              <a:gd name="connsiteY194" fmla="*/ 10454 h 895572"/>
              <a:gd name="connsiteX195" fmla="*/ 520256 w 1090712"/>
              <a:gd name="connsiteY195" fmla="*/ 14731 h 895572"/>
              <a:gd name="connsiteX196" fmla="*/ 486993 w 1090712"/>
              <a:gd name="connsiteY196" fmla="*/ 24472 h 895572"/>
              <a:gd name="connsiteX197" fmla="*/ 469887 w 1090712"/>
              <a:gd name="connsiteY197" fmla="*/ 28986 h 895572"/>
              <a:gd name="connsiteX198" fmla="*/ 453493 w 1090712"/>
              <a:gd name="connsiteY198" fmla="*/ 33500 h 895572"/>
              <a:gd name="connsiteX199" fmla="*/ 438762 w 1090712"/>
              <a:gd name="connsiteY199" fmla="*/ 40153 h 895572"/>
              <a:gd name="connsiteX200" fmla="*/ 424507 w 1090712"/>
              <a:gd name="connsiteY200" fmla="*/ 47281 h 895572"/>
              <a:gd name="connsiteX201" fmla="*/ 417379 w 1090712"/>
              <a:gd name="connsiteY201" fmla="*/ 51320 h 895572"/>
              <a:gd name="connsiteX202" fmla="*/ 410727 w 1090712"/>
              <a:gd name="connsiteY202" fmla="*/ 55834 h 895572"/>
              <a:gd name="connsiteX203" fmla="*/ 403599 w 1090712"/>
              <a:gd name="connsiteY203" fmla="*/ 60111 h 895572"/>
              <a:gd name="connsiteX204" fmla="*/ 397422 w 1090712"/>
              <a:gd name="connsiteY204" fmla="*/ 65100 h 895572"/>
              <a:gd name="connsiteX205" fmla="*/ 390769 w 1090712"/>
              <a:gd name="connsiteY205" fmla="*/ 69852 h 895572"/>
              <a:gd name="connsiteX206" fmla="*/ 384592 w 1090712"/>
              <a:gd name="connsiteY206" fmla="*/ 75792 h 895572"/>
              <a:gd name="connsiteX207" fmla="*/ 378889 w 1090712"/>
              <a:gd name="connsiteY207" fmla="*/ 81494 h 895572"/>
              <a:gd name="connsiteX208" fmla="*/ 372950 w 1090712"/>
              <a:gd name="connsiteY208" fmla="*/ 87671 h 895572"/>
              <a:gd name="connsiteX209" fmla="*/ 367723 w 1090712"/>
              <a:gd name="connsiteY209" fmla="*/ 94324 h 895572"/>
              <a:gd name="connsiteX210" fmla="*/ 362733 w 1090712"/>
              <a:gd name="connsiteY210" fmla="*/ 101452 h 895572"/>
              <a:gd name="connsiteX211" fmla="*/ 357981 w 1090712"/>
              <a:gd name="connsiteY211" fmla="*/ 109055 h 895572"/>
              <a:gd name="connsiteX212" fmla="*/ 353467 w 1090712"/>
              <a:gd name="connsiteY212" fmla="*/ 117608 h 895572"/>
              <a:gd name="connsiteX213" fmla="*/ 409064 w 1090712"/>
              <a:gd name="connsiteY213" fmla="*/ 117608 h 895572"/>
              <a:gd name="connsiteX214" fmla="*/ 406925 w 1090712"/>
              <a:gd name="connsiteY214" fmla="*/ 119271 h 895572"/>
              <a:gd name="connsiteX215" fmla="*/ 404074 w 1090712"/>
              <a:gd name="connsiteY215" fmla="*/ 121647 h 895572"/>
              <a:gd name="connsiteX216" fmla="*/ 400510 w 1090712"/>
              <a:gd name="connsiteY216" fmla="*/ 123310 h 895572"/>
              <a:gd name="connsiteX217" fmla="*/ 397422 w 1090712"/>
              <a:gd name="connsiteY217" fmla="*/ 125211 h 895572"/>
              <a:gd name="connsiteX218" fmla="*/ 393383 w 1090712"/>
              <a:gd name="connsiteY218" fmla="*/ 126399 h 895572"/>
              <a:gd name="connsiteX219" fmla="*/ 389581 w 1090712"/>
              <a:gd name="connsiteY219" fmla="*/ 127824 h 895572"/>
              <a:gd name="connsiteX220" fmla="*/ 385542 w 1090712"/>
              <a:gd name="connsiteY220" fmla="*/ 128299 h 895572"/>
              <a:gd name="connsiteX221" fmla="*/ 381503 w 1090712"/>
              <a:gd name="connsiteY221" fmla="*/ 128774 h 895572"/>
              <a:gd name="connsiteX222" fmla="*/ 375326 w 1090712"/>
              <a:gd name="connsiteY222" fmla="*/ 130438 h 895572"/>
              <a:gd name="connsiteX223" fmla="*/ 368435 w 1090712"/>
              <a:gd name="connsiteY223" fmla="*/ 131863 h 895572"/>
              <a:gd name="connsiteX224" fmla="*/ 361783 w 1090712"/>
              <a:gd name="connsiteY224" fmla="*/ 133051 h 895572"/>
              <a:gd name="connsiteX225" fmla="*/ 355606 w 1090712"/>
              <a:gd name="connsiteY225" fmla="*/ 134001 h 895572"/>
              <a:gd name="connsiteX226" fmla="*/ 342300 w 1090712"/>
              <a:gd name="connsiteY226" fmla="*/ 135427 h 895572"/>
              <a:gd name="connsiteX227" fmla="*/ 329471 w 1090712"/>
              <a:gd name="connsiteY227" fmla="*/ 137090 h 895572"/>
              <a:gd name="connsiteX228" fmla="*/ 322818 w 1090712"/>
              <a:gd name="connsiteY228" fmla="*/ 138040 h 895572"/>
              <a:gd name="connsiteX229" fmla="*/ 316403 w 1090712"/>
              <a:gd name="connsiteY229" fmla="*/ 139704 h 895572"/>
              <a:gd name="connsiteX230" fmla="*/ 310226 w 1090712"/>
              <a:gd name="connsiteY230" fmla="*/ 141604 h 895572"/>
              <a:gd name="connsiteX231" fmla="*/ 304048 w 1090712"/>
              <a:gd name="connsiteY231" fmla="*/ 144218 h 895572"/>
              <a:gd name="connsiteX232" fmla="*/ 298346 w 1090712"/>
              <a:gd name="connsiteY232" fmla="*/ 147307 h 895572"/>
              <a:gd name="connsiteX233" fmla="*/ 292406 w 1090712"/>
              <a:gd name="connsiteY233" fmla="*/ 151346 h 895572"/>
              <a:gd name="connsiteX234" fmla="*/ 286704 w 1090712"/>
              <a:gd name="connsiteY234" fmla="*/ 156335 h 895572"/>
              <a:gd name="connsiteX235" fmla="*/ 281240 w 1090712"/>
              <a:gd name="connsiteY235" fmla="*/ 162037 h 895572"/>
              <a:gd name="connsiteX236" fmla="*/ 262232 w 1090712"/>
              <a:gd name="connsiteY236" fmla="*/ 182945 h 895572"/>
              <a:gd name="connsiteX237" fmla="*/ 242987 w 1090712"/>
              <a:gd name="connsiteY237" fmla="*/ 203378 h 895572"/>
              <a:gd name="connsiteX238" fmla="*/ 203547 w 1090712"/>
              <a:gd name="connsiteY238" fmla="*/ 244006 h 895572"/>
              <a:gd name="connsiteX239" fmla="*/ 183827 w 1090712"/>
              <a:gd name="connsiteY239" fmla="*/ 264439 h 895572"/>
              <a:gd name="connsiteX240" fmla="*/ 164345 w 1090712"/>
              <a:gd name="connsiteY240" fmla="*/ 285822 h 895572"/>
              <a:gd name="connsiteX241" fmla="*/ 144862 w 1090712"/>
              <a:gd name="connsiteY241" fmla="*/ 307443 h 895572"/>
              <a:gd name="connsiteX242" fmla="*/ 126093 w 1090712"/>
              <a:gd name="connsiteY242" fmla="*/ 329777 h 895572"/>
              <a:gd name="connsiteX243" fmla="*/ 122054 w 1090712"/>
              <a:gd name="connsiteY243" fmla="*/ 335004 h 895572"/>
              <a:gd name="connsiteX244" fmla="*/ 118015 w 1090712"/>
              <a:gd name="connsiteY244" fmla="*/ 340468 h 895572"/>
              <a:gd name="connsiteX245" fmla="*/ 110887 w 1090712"/>
              <a:gd name="connsiteY245" fmla="*/ 352110 h 895572"/>
              <a:gd name="connsiteX246" fmla="*/ 104709 w 1090712"/>
              <a:gd name="connsiteY246" fmla="*/ 363514 h 895572"/>
              <a:gd name="connsiteX247" fmla="*/ 99007 w 1090712"/>
              <a:gd name="connsiteY247" fmla="*/ 375156 h 895572"/>
              <a:gd name="connsiteX248" fmla="*/ 87840 w 1090712"/>
              <a:gd name="connsiteY248" fmla="*/ 400103 h 895572"/>
              <a:gd name="connsiteX249" fmla="*/ 82138 w 1090712"/>
              <a:gd name="connsiteY249" fmla="*/ 412458 h 895572"/>
              <a:gd name="connsiteX250" fmla="*/ 75723 w 1090712"/>
              <a:gd name="connsiteY250" fmla="*/ 425050 h 895572"/>
              <a:gd name="connsiteX251" fmla="*/ 75723 w 1090712"/>
              <a:gd name="connsiteY251" fmla="*/ 429802 h 895572"/>
              <a:gd name="connsiteX252" fmla="*/ 76674 w 1090712"/>
              <a:gd name="connsiteY252" fmla="*/ 436217 h 895572"/>
              <a:gd name="connsiteX253" fmla="*/ 77149 w 1090712"/>
              <a:gd name="connsiteY253" fmla="*/ 439306 h 895572"/>
              <a:gd name="connsiteX254" fmla="*/ 78574 w 1090712"/>
              <a:gd name="connsiteY254" fmla="*/ 442395 h 895572"/>
              <a:gd name="connsiteX255" fmla="*/ 79762 w 1090712"/>
              <a:gd name="connsiteY255" fmla="*/ 445008 h 895572"/>
              <a:gd name="connsiteX256" fmla="*/ 81663 w 1090712"/>
              <a:gd name="connsiteY256" fmla="*/ 447147 h 895572"/>
              <a:gd name="connsiteX257" fmla="*/ 94018 w 1090712"/>
              <a:gd name="connsiteY257" fmla="*/ 468055 h 895572"/>
              <a:gd name="connsiteX258" fmla="*/ 106848 w 1090712"/>
              <a:gd name="connsiteY258" fmla="*/ 488963 h 895572"/>
              <a:gd name="connsiteX259" fmla="*/ 113975 w 1090712"/>
              <a:gd name="connsiteY259" fmla="*/ 499654 h 895572"/>
              <a:gd name="connsiteX260" fmla="*/ 121103 w 1090712"/>
              <a:gd name="connsiteY260" fmla="*/ 510346 h 895572"/>
              <a:gd name="connsiteX261" fmla="*/ 128706 w 1090712"/>
              <a:gd name="connsiteY261" fmla="*/ 520562 h 895572"/>
              <a:gd name="connsiteX262" fmla="*/ 137259 w 1090712"/>
              <a:gd name="connsiteY262" fmla="*/ 531254 h 895572"/>
              <a:gd name="connsiteX263" fmla="*/ 149614 w 1090712"/>
              <a:gd name="connsiteY263" fmla="*/ 514385 h 895572"/>
              <a:gd name="connsiteX264" fmla="*/ 162206 w 1090712"/>
              <a:gd name="connsiteY264" fmla="*/ 498466 h 895572"/>
              <a:gd name="connsiteX265" fmla="*/ 174561 w 1090712"/>
              <a:gd name="connsiteY265" fmla="*/ 483260 h 895572"/>
              <a:gd name="connsiteX266" fmla="*/ 180739 w 1090712"/>
              <a:gd name="connsiteY266" fmla="*/ 476133 h 895572"/>
              <a:gd name="connsiteX267" fmla="*/ 186916 w 1090712"/>
              <a:gd name="connsiteY267" fmla="*/ 469480 h 895572"/>
              <a:gd name="connsiteX268" fmla="*/ 182639 w 1090712"/>
              <a:gd name="connsiteY268" fmla="*/ 482310 h 895572"/>
              <a:gd name="connsiteX269" fmla="*/ 178125 w 1090712"/>
              <a:gd name="connsiteY269" fmla="*/ 495615 h 895572"/>
              <a:gd name="connsiteX270" fmla="*/ 172423 w 1090712"/>
              <a:gd name="connsiteY270" fmla="*/ 509871 h 895572"/>
              <a:gd name="connsiteX271" fmla="*/ 164820 w 1090712"/>
              <a:gd name="connsiteY271" fmla="*/ 525552 h 895572"/>
              <a:gd name="connsiteX272" fmla="*/ 156267 w 1090712"/>
              <a:gd name="connsiteY272" fmla="*/ 538381 h 895572"/>
              <a:gd name="connsiteX273" fmla="*/ 152703 w 1090712"/>
              <a:gd name="connsiteY273" fmla="*/ 544559 h 895572"/>
              <a:gd name="connsiteX274" fmla="*/ 148664 w 1090712"/>
              <a:gd name="connsiteY274" fmla="*/ 551449 h 895572"/>
              <a:gd name="connsiteX275" fmla="*/ 145100 w 1090712"/>
              <a:gd name="connsiteY275" fmla="*/ 558339 h 895572"/>
              <a:gd name="connsiteX276" fmla="*/ 142011 w 1090712"/>
              <a:gd name="connsiteY276" fmla="*/ 565467 h 895572"/>
              <a:gd name="connsiteX277" fmla="*/ 139398 w 1090712"/>
              <a:gd name="connsiteY277" fmla="*/ 573070 h 895572"/>
              <a:gd name="connsiteX278" fmla="*/ 137259 w 1090712"/>
              <a:gd name="connsiteY278" fmla="*/ 581623 h 895572"/>
              <a:gd name="connsiteX279" fmla="*/ 136309 w 1090712"/>
              <a:gd name="connsiteY279" fmla="*/ 583761 h 895572"/>
              <a:gd name="connsiteX280" fmla="*/ 135359 w 1090712"/>
              <a:gd name="connsiteY280" fmla="*/ 586137 h 895572"/>
              <a:gd name="connsiteX281" fmla="*/ 134883 w 1090712"/>
              <a:gd name="connsiteY281" fmla="*/ 590889 h 895572"/>
              <a:gd name="connsiteX282" fmla="*/ 134883 w 1090712"/>
              <a:gd name="connsiteY282" fmla="*/ 595879 h 895572"/>
              <a:gd name="connsiteX283" fmla="*/ 135359 w 1090712"/>
              <a:gd name="connsiteY283" fmla="*/ 601106 h 895572"/>
              <a:gd name="connsiteX284" fmla="*/ 136784 w 1090712"/>
              <a:gd name="connsiteY284" fmla="*/ 606095 h 895572"/>
              <a:gd name="connsiteX285" fmla="*/ 138447 w 1090712"/>
              <a:gd name="connsiteY285" fmla="*/ 611322 h 895572"/>
              <a:gd name="connsiteX286" fmla="*/ 140348 w 1090712"/>
              <a:gd name="connsiteY286" fmla="*/ 616311 h 895572"/>
              <a:gd name="connsiteX287" fmla="*/ 142486 w 1090712"/>
              <a:gd name="connsiteY287" fmla="*/ 620826 h 895572"/>
              <a:gd name="connsiteX288" fmla="*/ 148664 w 1090712"/>
              <a:gd name="connsiteY288" fmla="*/ 629616 h 895572"/>
              <a:gd name="connsiteX289" fmla="*/ 155554 w 1090712"/>
              <a:gd name="connsiteY289" fmla="*/ 637219 h 895572"/>
              <a:gd name="connsiteX290" fmla="*/ 162444 w 1090712"/>
              <a:gd name="connsiteY290" fmla="*/ 643872 h 895572"/>
              <a:gd name="connsiteX291" fmla="*/ 169572 w 1090712"/>
              <a:gd name="connsiteY291" fmla="*/ 649099 h 895572"/>
              <a:gd name="connsiteX292" fmla="*/ 177175 w 1090712"/>
              <a:gd name="connsiteY292" fmla="*/ 653613 h 895572"/>
              <a:gd name="connsiteX293" fmla="*/ 184778 w 1090712"/>
              <a:gd name="connsiteY293" fmla="*/ 657177 h 895572"/>
              <a:gd name="connsiteX294" fmla="*/ 192856 w 1090712"/>
              <a:gd name="connsiteY294" fmla="*/ 659553 h 895572"/>
              <a:gd name="connsiteX295" fmla="*/ 200934 w 1090712"/>
              <a:gd name="connsiteY295" fmla="*/ 661216 h 895572"/>
              <a:gd name="connsiteX296" fmla="*/ 209250 w 1090712"/>
              <a:gd name="connsiteY296" fmla="*/ 661691 h 895572"/>
              <a:gd name="connsiteX297" fmla="*/ 218278 w 1090712"/>
              <a:gd name="connsiteY297" fmla="*/ 661691 h 895572"/>
              <a:gd name="connsiteX298" fmla="*/ 227069 w 1090712"/>
              <a:gd name="connsiteY298" fmla="*/ 660266 h 895572"/>
              <a:gd name="connsiteX299" fmla="*/ 236335 w 1090712"/>
              <a:gd name="connsiteY299" fmla="*/ 658603 h 895572"/>
              <a:gd name="connsiteX300" fmla="*/ 245838 w 1090712"/>
              <a:gd name="connsiteY300" fmla="*/ 655514 h 895572"/>
              <a:gd name="connsiteX301" fmla="*/ 255580 w 1090712"/>
              <a:gd name="connsiteY301" fmla="*/ 652425 h 895572"/>
              <a:gd name="connsiteX302" fmla="*/ 265321 w 1090712"/>
              <a:gd name="connsiteY302" fmla="*/ 647911 h 895572"/>
              <a:gd name="connsiteX303" fmla="*/ 276013 w 1090712"/>
              <a:gd name="connsiteY303" fmla="*/ 642922 h 895572"/>
              <a:gd name="connsiteX304" fmla="*/ 288367 w 1090712"/>
              <a:gd name="connsiteY304" fmla="*/ 635081 h 895572"/>
              <a:gd name="connsiteX305" fmla="*/ 301910 w 1090712"/>
              <a:gd name="connsiteY305" fmla="*/ 627478 h 895572"/>
              <a:gd name="connsiteX306" fmla="*/ 315215 w 1090712"/>
              <a:gd name="connsiteY306" fmla="*/ 620350 h 895572"/>
              <a:gd name="connsiteX307" fmla="*/ 329471 w 1090712"/>
              <a:gd name="connsiteY307" fmla="*/ 613698 h 895572"/>
              <a:gd name="connsiteX308" fmla="*/ 343726 w 1090712"/>
              <a:gd name="connsiteY308" fmla="*/ 607283 h 895572"/>
              <a:gd name="connsiteX309" fmla="*/ 357981 w 1090712"/>
              <a:gd name="connsiteY309" fmla="*/ 602056 h 895572"/>
              <a:gd name="connsiteX310" fmla="*/ 371999 w 1090712"/>
              <a:gd name="connsiteY310" fmla="*/ 597066 h 895572"/>
              <a:gd name="connsiteX311" fmla="*/ 386730 w 1090712"/>
              <a:gd name="connsiteY311" fmla="*/ 592790 h 895572"/>
              <a:gd name="connsiteX312" fmla="*/ 394808 w 1090712"/>
              <a:gd name="connsiteY312" fmla="*/ 590414 h 895572"/>
              <a:gd name="connsiteX313" fmla="*/ 402411 w 1090712"/>
              <a:gd name="connsiteY313" fmla="*/ 587325 h 895572"/>
              <a:gd name="connsiteX314" fmla="*/ 409064 w 1090712"/>
              <a:gd name="connsiteY314" fmla="*/ 583761 h 895572"/>
              <a:gd name="connsiteX315" fmla="*/ 411677 w 1090712"/>
              <a:gd name="connsiteY315" fmla="*/ 581623 h 895572"/>
              <a:gd name="connsiteX316" fmla="*/ 414766 w 1090712"/>
              <a:gd name="connsiteY316" fmla="*/ 579247 h 895572"/>
              <a:gd name="connsiteX317" fmla="*/ 417142 w 1090712"/>
              <a:gd name="connsiteY317" fmla="*/ 577109 h 895572"/>
              <a:gd name="connsiteX318" fmla="*/ 419280 w 1090712"/>
              <a:gd name="connsiteY318" fmla="*/ 574495 h 895572"/>
              <a:gd name="connsiteX319" fmla="*/ 420943 w 1090712"/>
              <a:gd name="connsiteY319" fmla="*/ 571407 h 895572"/>
              <a:gd name="connsiteX320" fmla="*/ 422844 w 1090712"/>
              <a:gd name="connsiteY320" fmla="*/ 568318 h 895572"/>
              <a:gd name="connsiteX321" fmla="*/ 424269 w 1090712"/>
              <a:gd name="connsiteY321" fmla="*/ 565229 h 895572"/>
              <a:gd name="connsiteX322" fmla="*/ 424982 w 1090712"/>
              <a:gd name="connsiteY322" fmla="*/ 561665 h 895572"/>
              <a:gd name="connsiteX323" fmla="*/ 425457 w 1090712"/>
              <a:gd name="connsiteY323" fmla="*/ 557626 h 895572"/>
              <a:gd name="connsiteX324" fmla="*/ 425932 w 1090712"/>
              <a:gd name="connsiteY324" fmla="*/ 553587 h 895572"/>
              <a:gd name="connsiteX325" fmla="*/ 425932 w 1090712"/>
              <a:gd name="connsiteY325" fmla="*/ 413884 h 895572"/>
              <a:gd name="connsiteX326" fmla="*/ 425932 w 1090712"/>
              <a:gd name="connsiteY326" fmla="*/ 285347 h 895572"/>
              <a:gd name="connsiteX327" fmla="*/ 429496 w 1090712"/>
              <a:gd name="connsiteY327" fmla="*/ 300078 h 895572"/>
              <a:gd name="connsiteX328" fmla="*/ 433060 w 1090712"/>
              <a:gd name="connsiteY328" fmla="*/ 314096 h 895572"/>
              <a:gd name="connsiteX329" fmla="*/ 436149 w 1090712"/>
              <a:gd name="connsiteY329" fmla="*/ 328826 h 895572"/>
              <a:gd name="connsiteX330" fmla="*/ 438762 w 1090712"/>
              <a:gd name="connsiteY330" fmla="*/ 343082 h 895572"/>
              <a:gd name="connsiteX331" fmla="*/ 443752 w 1090712"/>
              <a:gd name="connsiteY331" fmla="*/ 370642 h 895572"/>
              <a:gd name="connsiteX332" fmla="*/ 447791 w 1090712"/>
              <a:gd name="connsiteY332" fmla="*/ 397015 h 895572"/>
              <a:gd name="connsiteX333" fmla="*/ 451830 w 1090712"/>
              <a:gd name="connsiteY333" fmla="*/ 421962 h 895572"/>
              <a:gd name="connsiteX334" fmla="*/ 454919 w 1090712"/>
              <a:gd name="connsiteY334" fmla="*/ 446434 h 895572"/>
              <a:gd name="connsiteX335" fmla="*/ 456106 w 1090712"/>
              <a:gd name="connsiteY335" fmla="*/ 458313 h 895572"/>
              <a:gd name="connsiteX336" fmla="*/ 457057 w 1090712"/>
              <a:gd name="connsiteY336" fmla="*/ 470430 h 895572"/>
              <a:gd name="connsiteX337" fmla="*/ 457532 w 1090712"/>
              <a:gd name="connsiteY337" fmla="*/ 482310 h 895572"/>
              <a:gd name="connsiteX338" fmla="*/ 457532 w 1090712"/>
              <a:gd name="connsiteY338" fmla="*/ 493952 h 895572"/>
              <a:gd name="connsiteX339" fmla="*/ 457532 w 1090712"/>
              <a:gd name="connsiteY339" fmla="*/ 506069 h 895572"/>
              <a:gd name="connsiteX340" fmla="*/ 456582 w 1090712"/>
              <a:gd name="connsiteY340" fmla="*/ 517473 h 895572"/>
              <a:gd name="connsiteX341" fmla="*/ 455869 w 1090712"/>
              <a:gd name="connsiteY341" fmla="*/ 529116 h 895572"/>
              <a:gd name="connsiteX342" fmla="*/ 453968 w 1090712"/>
              <a:gd name="connsiteY342" fmla="*/ 540757 h 895572"/>
              <a:gd name="connsiteX343" fmla="*/ 452305 w 1090712"/>
              <a:gd name="connsiteY343" fmla="*/ 552162 h 895572"/>
              <a:gd name="connsiteX344" fmla="*/ 449454 w 1090712"/>
              <a:gd name="connsiteY344" fmla="*/ 563804 h 895572"/>
              <a:gd name="connsiteX345" fmla="*/ 446365 w 1090712"/>
              <a:gd name="connsiteY345" fmla="*/ 575446 h 895572"/>
              <a:gd name="connsiteX346" fmla="*/ 442326 w 1090712"/>
              <a:gd name="connsiteY346" fmla="*/ 586850 h 895572"/>
              <a:gd name="connsiteX347" fmla="*/ 440188 w 1090712"/>
              <a:gd name="connsiteY347" fmla="*/ 591364 h 895572"/>
              <a:gd name="connsiteX348" fmla="*/ 437574 w 1090712"/>
              <a:gd name="connsiteY348" fmla="*/ 595403 h 895572"/>
              <a:gd name="connsiteX349" fmla="*/ 434486 w 1090712"/>
              <a:gd name="connsiteY349" fmla="*/ 598967 h 895572"/>
              <a:gd name="connsiteX350" fmla="*/ 431397 w 1090712"/>
              <a:gd name="connsiteY350" fmla="*/ 602531 h 895572"/>
              <a:gd name="connsiteX351" fmla="*/ 428071 w 1090712"/>
              <a:gd name="connsiteY351" fmla="*/ 605145 h 895572"/>
              <a:gd name="connsiteX352" fmla="*/ 424982 w 1090712"/>
              <a:gd name="connsiteY352" fmla="*/ 607283 h 895572"/>
              <a:gd name="connsiteX353" fmla="*/ 422369 w 1090712"/>
              <a:gd name="connsiteY353" fmla="*/ 608708 h 895572"/>
              <a:gd name="connsiteX354" fmla="*/ 420230 w 1090712"/>
              <a:gd name="connsiteY354" fmla="*/ 609659 h 895572"/>
              <a:gd name="connsiteX355" fmla="*/ 410727 w 1090712"/>
              <a:gd name="connsiteY355" fmla="*/ 610847 h 895572"/>
              <a:gd name="connsiteX356" fmla="*/ 401461 w 1090712"/>
              <a:gd name="connsiteY356" fmla="*/ 612748 h 895572"/>
              <a:gd name="connsiteX357" fmla="*/ 392670 w 1090712"/>
              <a:gd name="connsiteY357" fmla="*/ 614886 h 895572"/>
              <a:gd name="connsiteX358" fmla="*/ 383641 w 1090712"/>
              <a:gd name="connsiteY358" fmla="*/ 617262 h 895572"/>
              <a:gd name="connsiteX359" fmla="*/ 374850 w 1090712"/>
              <a:gd name="connsiteY359" fmla="*/ 620350 h 895572"/>
              <a:gd name="connsiteX360" fmla="*/ 365822 w 1090712"/>
              <a:gd name="connsiteY360" fmla="*/ 623914 h 895572"/>
              <a:gd name="connsiteX361" fmla="*/ 348478 w 1090712"/>
              <a:gd name="connsiteY361" fmla="*/ 631042 h 895572"/>
              <a:gd name="connsiteX362" fmla="*/ 331609 w 1090712"/>
              <a:gd name="connsiteY362" fmla="*/ 639358 h 895572"/>
              <a:gd name="connsiteX363" fmla="*/ 314740 w 1090712"/>
              <a:gd name="connsiteY363" fmla="*/ 647911 h 895572"/>
              <a:gd name="connsiteX364" fmla="*/ 281240 w 1090712"/>
              <a:gd name="connsiteY364" fmla="*/ 665255 h 895572"/>
              <a:gd name="connsiteX365" fmla="*/ 274587 w 1090712"/>
              <a:gd name="connsiteY365" fmla="*/ 669294 h 895572"/>
              <a:gd name="connsiteX366" fmla="*/ 267935 w 1090712"/>
              <a:gd name="connsiteY366" fmla="*/ 672858 h 895572"/>
              <a:gd name="connsiteX367" fmla="*/ 261757 w 1090712"/>
              <a:gd name="connsiteY367" fmla="*/ 675947 h 895572"/>
              <a:gd name="connsiteX368" fmla="*/ 255105 w 1090712"/>
              <a:gd name="connsiteY368" fmla="*/ 679035 h 895572"/>
              <a:gd name="connsiteX369" fmla="*/ 248927 w 1090712"/>
              <a:gd name="connsiteY369" fmla="*/ 681174 h 895572"/>
              <a:gd name="connsiteX370" fmla="*/ 242987 w 1090712"/>
              <a:gd name="connsiteY370" fmla="*/ 683075 h 895572"/>
              <a:gd name="connsiteX371" fmla="*/ 236810 w 1090712"/>
              <a:gd name="connsiteY371" fmla="*/ 684738 h 895572"/>
              <a:gd name="connsiteX372" fmla="*/ 231108 w 1090712"/>
              <a:gd name="connsiteY372" fmla="*/ 686163 h 895572"/>
              <a:gd name="connsiteX373" fmla="*/ 225406 w 1090712"/>
              <a:gd name="connsiteY373" fmla="*/ 687114 h 895572"/>
              <a:gd name="connsiteX374" fmla="*/ 219466 w 1090712"/>
              <a:gd name="connsiteY374" fmla="*/ 687589 h 895572"/>
              <a:gd name="connsiteX375" fmla="*/ 213764 w 1090712"/>
              <a:gd name="connsiteY375" fmla="*/ 687589 h 895572"/>
              <a:gd name="connsiteX376" fmla="*/ 208299 w 1090712"/>
              <a:gd name="connsiteY376" fmla="*/ 687589 h 895572"/>
              <a:gd name="connsiteX377" fmla="*/ 203072 w 1090712"/>
              <a:gd name="connsiteY377" fmla="*/ 687114 h 895572"/>
              <a:gd name="connsiteX378" fmla="*/ 197607 w 1090712"/>
              <a:gd name="connsiteY378" fmla="*/ 686163 h 895572"/>
              <a:gd name="connsiteX379" fmla="*/ 192380 w 1090712"/>
              <a:gd name="connsiteY379" fmla="*/ 684738 h 895572"/>
              <a:gd name="connsiteX380" fmla="*/ 186916 w 1090712"/>
              <a:gd name="connsiteY380" fmla="*/ 683550 h 895572"/>
              <a:gd name="connsiteX381" fmla="*/ 181689 w 1090712"/>
              <a:gd name="connsiteY381" fmla="*/ 681649 h 895572"/>
              <a:gd name="connsiteX382" fmla="*/ 176699 w 1090712"/>
              <a:gd name="connsiteY382" fmla="*/ 679986 h 895572"/>
              <a:gd name="connsiteX383" fmla="*/ 171472 w 1090712"/>
              <a:gd name="connsiteY383" fmla="*/ 677610 h 895572"/>
              <a:gd name="connsiteX384" fmla="*/ 166483 w 1090712"/>
              <a:gd name="connsiteY384" fmla="*/ 674996 h 895572"/>
              <a:gd name="connsiteX385" fmla="*/ 156742 w 1090712"/>
              <a:gd name="connsiteY385" fmla="*/ 669294 h 895572"/>
              <a:gd name="connsiteX386" fmla="*/ 147001 w 1090712"/>
              <a:gd name="connsiteY386" fmla="*/ 662167 h 895572"/>
              <a:gd name="connsiteX387" fmla="*/ 137735 w 1090712"/>
              <a:gd name="connsiteY387" fmla="*/ 654564 h 895572"/>
              <a:gd name="connsiteX388" fmla="*/ 127756 w 1090712"/>
              <a:gd name="connsiteY388" fmla="*/ 645535 h 895572"/>
              <a:gd name="connsiteX389" fmla="*/ 118490 w 1090712"/>
              <a:gd name="connsiteY389" fmla="*/ 636269 h 895572"/>
              <a:gd name="connsiteX390" fmla="*/ 109224 w 1090712"/>
              <a:gd name="connsiteY390" fmla="*/ 626053 h 895572"/>
              <a:gd name="connsiteX391" fmla="*/ 107323 w 1090712"/>
              <a:gd name="connsiteY391" fmla="*/ 623914 h 895572"/>
              <a:gd name="connsiteX392" fmla="*/ 106135 w 1090712"/>
              <a:gd name="connsiteY392" fmla="*/ 620350 h 895572"/>
              <a:gd name="connsiteX393" fmla="*/ 105185 w 1090712"/>
              <a:gd name="connsiteY393" fmla="*/ 616311 h 895572"/>
              <a:gd name="connsiteX394" fmla="*/ 105185 w 1090712"/>
              <a:gd name="connsiteY394" fmla="*/ 612272 h 895572"/>
              <a:gd name="connsiteX395" fmla="*/ 105185 w 1090712"/>
              <a:gd name="connsiteY395" fmla="*/ 608233 h 895572"/>
              <a:gd name="connsiteX396" fmla="*/ 106135 w 1090712"/>
              <a:gd name="connsiteY396" fmla="*/ 604194 h 895572"/>
              <a:gd name="connsiteX397" fmla="*/ 107323 w 1090712"/>
              <a:gd name="connsiteY397" fmla="*/ 600630 h 895572"/>
              <a:gd name="connsiteX398" fmla="*/ 109224 w 1090712"/>
              <a:gd name="connsiteY398" fmla="*/ 598017 h 895572"/>
              <a:gd name="connsiteX399" fmla="*/ 111837 w 1090712"/>
              <a:gd name="connsiteY399" fmla="*/ 591840 h 895572"/>
              <a:gd name="connsiteX400" fmla="*/ 113975 w 1090712"/>
              <a:gd name="connsiteY400" fmla="*/ 586137 h 895572"/>
              <a:gd name="connsiteX401" fmla="*/ 115401 w 1090712"/>
              <a:gd name="connsiteY401" fmla="*/ 579722 h 895572"/>
              <a:gd name="connsiteX402" fmla="*/ 115876 w 1090712"/>
              <a:gd name="connsiteY402" fmla="*/ 574020 h 895572"/>
              <a:gd name="connsiteX403" fmla="*/ 115876 w 1090712"/>
              <a:gd name="connsiteY403" fmla="*/ 568318 h 895572"/>
              <a:gd name="connsiteX404" fmla="*/ 115401 w 1090712"/>
              <a:gd name="connsiteY404" fmla="*/ 562378 h 895572"/>
              <a:gd name="connsiteX405" fmla="*/ 114451 w 1090712"/>
              <a:gd name="connsiteY405" fmla="*/ 557151 h 895572"/>
              <a:gd name="connsiteX406" fmla="*/ 112788 w 1090712"/>
              <a:gd name="connsiteY406" fmla="*/ 551449 h 895572"/>
              <a:gd name="connsiteX407" fmla="*/ 110412 w 1090712"/>
              <a:gd name="connsiteY407" fmla="*/ 545984 h 895572"/>
              <a:gd name="connsiteX408" fmla="*/ 108273 w 1090712"/>
              <a:gd name="connsiteY408" fmla="*/ 540757 h 895572"/>
              <a:gd name="connsiteX409" fmla="*/ 105185 w 1090712"/>
              <a:gd name="connsiteY409" fmla="*/ 535293 h 895572"/>
              <a:gd name="connsiteX410" fmla="*/ 102096 w 1090712"/>
              <a:gd name="connsiteY410" fmla="*/ 530066 h 895572"/>
              <a:gd name="connsiteX411" fmla="*/ 94968 w 1090712"/>
              <a:gd name="connsiteY411" fmla="*/ 519374 h 895572"/>
              <a:gd name="connsiteX412" fmla="*/ 86890 w 1090712"/>
              <a:gd name="connsiteY412" fmla="*/ 508683 h 895572"/>
              <a:gd name="connsiteX413" fmla="*/ 78812 w 1090712"/>
              <a:gd name="connsiteY413" fmla="*/ 497991 h 895572"/>
              <a:gd name="connsiteX414" fmla="*/ 70972 w 1090712"/>
              <a:gd name="connsiteY414" fmla="*/ 486824 h 895572"/>
              <a:gd name="connsiteX415" fmla="*/ 67408 w 1090712"/>
              <a:gd name="connsiteY415" fmla="*/ 481122 h 895572"/>
              <a:gd name="connsiteX416" fmla="*/ 64319 w 1090712"/>
              <a:gd name="connsiteY416" fmla="*/ 474707 h 895572"/>
              <a:gd name="connsiteX417" fmla="*/ 61230 w 1090712"/>
              <a:gd name="connsiteY417" fmla="*/ 469005 h 895572"/>
              <a:gd name="connsiteX418" fmla="*/ 58379 w 1090712"/>
              <a:gd name="connsiteY418" fmla="*/ 462828 h 895572"/>
              <a:gd name="connsiteX419" fmla="*/ 56716 w 1090712"/>
              <a:gd name="connsiteY419" fmla="*/ 456175 h 895572"/>
              <a:gd name="connsiteX420" fmla="*/ 54815 w 1090712"/>
              <a:gd name="connsiteY420" fmla="*/ 449998 h 895572"/>
              <a:gd name="connsiteX421" fmla="*/ 54103 w 1090712"/>
              <a:gd name="connsiteY421" fmla="*/ 443345 h 895572"/>
              <a:gd name="connsiteX422" fmla="*/ 53627 w 1090712"/>
              <a:gd name="connsiteY422" fmla="*/ 436455 h 895572"/>
              <a:gd name="connsiteX423" fmla="*/ 53627 w 1090712"/>
              <a:gd name="connsiteY423" fmla="*/ 429327 h 895572"/>
              <a:gd name="connsiteX424" fmla="*/ 54815 w 1090712"/>
              <a:gd name="connsiteY424" fmla="*/ 422675 h 895572"/>
              <a:gd name="connsiteX425" fmla="*/ 56716 w 1090712"/>
              <a:gd name="connsiteY425" fmla="*/ 415547 h 895572"/>
              <a:gd name="connsiteX426" fmla="*/ 59330 w 1090712"/>
              <a:gd name="connsiteY426" fmla="*/ 408182 h 895572"/>
              <a:gd name="connsiteX427" fmla="*/ 60280 w 1090712"/>
              <a:gd name="connsiteY427" fmla="*/ 403192 h 895572"/>
              <a:gd name="connsiteX428" fmla="*/ 61943 w 1090712"/>
              <a:gd name="connsiteY428" fmla="*/ 397965 h 895572"/>
              <a:gd name="connsiteX429" fmla="*/ 65507 w 1090712"/>
              <a:gd name="connsiteY429" fmla="*/ 387986 h 895572"/>
              <a:gd name="connsiteX430" fmla="*/ 69546 w 1090712"/>
              <a:gd name="connsiteY430" fmla="*/ 378720 h 895572"/>
              <a:gd name="connsiteX431" fmla="*/ 74535 w 1090712"/>
              <a:gd name="connsiteY431" fmla="*/ 369929 h 895572"/>
              <a:gd name="connsiteX432" fmla="*/ 79762 w 1090712"/>
              <a:gd name="connsiteY432" fmla="*/ 360901 h 895572"/>
              <a:gd name="connsiteX433" fmla="*/ 85940 w 1090712"/>
              <a:gd name="connsiteY433" fmla="*/ 352585 h 895572"/>
              <a:gd name="connsiteX434" fmla="*/ 98057 w 1090712"/>
              <a:gd name="connsiteY434" fmla="*/ 335479 h 895572"/>
              <a:gd name="connsiteX435" fmla="*/ 102571 w 1090712"/>
              <a:gd name="connsiteY435" fmla="*/ 328113 h 895572"/>
              <a:gd name="connsiteX436" fmla="*/ 106848 w 1090712"/>
              <a:gd name="connsiteY436" fmla="*/ 320986 h 895572"/>
              <a:gd name="connsiteX437" fmla="*/ 116827 w 1090712"/>
              <a:gd name="connsiteY437" fmla="*/ 307205 h 895572"/>
              <a:gd name="connsiteX438" fmla="*/ 127043 w 1090712"/>
              <a:gd name="connsiteY438" fmla="*/ 293188 h 895572"/>
              <a:gd name="connsiteX439" fmla="*/ 137735 w 1090712"/>
              <a:gd name="connsiteY439" fmla="*/ 279407 h 895572"/>
              <a:gd name="connsiteX440" fmla="*/ 159831 w 1090712"/>
              <a:gd name="connsiteY440" fmla="*/ 251847 h 895572"/>
              <a:gd name="connsiteX441" fmla="*/ 170522 w 1090712"/>
              <a:gd name="connsiteY441" fmla="*/ 238066 h 895572"/>
              <a:gd name="connsiteX442" fmla="*/ 181214 w 1090712"/>
              <a:gd name="connsiteY442" fmla="*/ 223336 h 895572"/>
              <a:gd name="connsiteX443" fmla="*/ 164820 w 1090712"/>
              <a:gd name="connsiteY443" fmla="*/ 223336 h 895572"/>
              <a:gd name="connsiteX444" fmla="*/ 137972 w 1090712"/>
              <a:gd name="connsiteY444" fmla="*/ 230226 h 895572"/>
              <a:gd name="connsiteX445" fmla="*/ 125142 w 1090712"/>
              <a:gd name="connsiteY445" fmla="*/ 233790 h 895572"/>
              <a:gd name="connsiteX446" fmla="*/ 112788 w 1090712"/>
              <a:gd name="connsiteY446" fmla="*/ 237591 h 895572"/>
              <a:gd name="connsiteX447" fmla="*/ 100195 w 1090712"/>
              <a:gd name="connsiteY447" fmla="*/ 241630 h 895572"/>
              <a:gd name="connsiteX448" fmla="*/ 87840 w 1090712"/>
              <a:gd name="connsiteY448" fmla="*/ 245669 h 895572"/>
              <a:gd name="connsiteX449" fmla="*/ 75723 w 1090712"/>
              <a:gd name="connsiteY449" fmla="*/ 250183 h 895572"/>
              <a:gd name="connsiteX450" fmla="*/ 64319 w 1090712"/>
              <a:gd name="connsiteY450" fmla="*/ 254935 h 895572"/>
              <a:gd name="connsiteX451" fmla="*/ 52677 w 1090712"/>
              <a:gd name="connsiteY451" fmla="*/ 260400 h 895572"/>
              <a:gd name="connsiteX452" fmla="*/ 41035 w 1090712"/>
              <a:gd name="connsiteY452" fmla="*/ 265627 h 895572"/>
              <a:gd name="connsiteX453" fmla="*/ 29868 w 1090712"/>
              <a:gd name="connsiteY453" fmla="*/ 271567 h 895572"/>
              <a:gd name="connsiteX454" fmla="*/ 18939 w 1090712"/>
              <a:gd name="connsiteY454" fmla="*/ 277744 h 895572"/>
              <a:gd name="connsiteX455" fmla="*/ 7772 w 1090712"/>
              <a:gd name="connsiteY455" fmla="*/ 284397 h 895572"/>
              <a:gd name="connsiteX456" fmla="*/ 0 w 1090712"/>
              <a:gd name="connsiteY456" fmla="*/ 289924 h 895572"/>
              <a:gd name="connsiteX457" fmla="*/ 0 w 1090712"/>
              <a:gd name="connsiteY457" fmla="*/ 895572 h 895572"/>
              <a:gd name="connsiteX458" fmla="*/ 125653 w 1090712"/>
              <a:gd name="connsiteY458" fmla="*/ 895572 h 895572"/>
              <a:gd name="connsiteX459" fmla="*/ 127756 w 1090712"/>
              <a:gd name="connsiteY459" fmla="*/ 892155 h 895572"/>
              <a:gd name="connsiteX460" fmla="*/ 131082 w 1090712"/>
              <a:gd name="connsiteY460" fmla="*/ 885502 h 895572"/>
              <a:gd name="connsiteX461" fmla="*/ 133696 w 1090712"/>
              <a:gd name="connsiteY461" fmla="*/ 878374 h 895572"/>
              <a:gd name="connsiteX462" fmla="*/ 135834 w 1090712"/>
              <a:gd name="connsiteY462" fmla="*/ 871722 h 895572"/>
              <a:gd name="connsiteX463" fmla="*/ 137735 w 1090712"/>
              <a:gd name="connsiteY463" fmla="*/ 864594 h 895572"/>
              <a:gd name="connsiteX464" fmla="*/ 138923 w 1090712"/>
              <a:gd name="connsiteY464" fmla="*/ 857466 h 895572"/>
              <a:gd name="connsiteX465" fmla="*/ 140348 w 1090712"/>
              <a:gd name="connsiteY465" fmla="*/ 850339 h 895572"/>
              <a:gd name="connsiteX466" fmla="*/ 141298 w 1090712"/>
              <a:gd name="connsiteY466" fmla="*/ 843211 h 895572"/>
              <a:gd name="connsiteX467" fmla="*/ 142011 w 1090712"/>
              <a:gd name="connsiteY467" fmla="*/ 828955 h 895572"/>
              <a:gd name="connsiteX468" fmla="*/ 142486 w 1090712"/>
              <a:gd name="connsiteY468" fmla="*/ 814225 h 895572"/>
              <a:gd name="connsiteX469" fmla="*/ 142486 w 1090712"/>
              <a:gd name="connsiteY469" fmla="*/ 799494 h 895572"/>
              <a:gd name="connsiteX470" fmla="*/ 142486 w 1090712"/>
              <a:gd name="connsiteY470" fmla="*/ 782625 h 895572"/>
              <a:gd name="connsiteX471" fmla="*/ 142486 w 1090712"/>
              <a:gd name="connsiteY471" fmla="*/ 771458 h 895572"/>
              <a:gd name="connsiteX472" fmla="*/ 143912 w 1090712"/>
              <a:gd name="connsiteY472" fmla="*/ 778586 h 895572"/>
              <a:gd name="connsiteX473" fmla="*/ 145100 w 1090712"/>
              <a:gd name="connsiteY473" fmla="*/ 784526 h 895572"/>
              <a:gd name="connsiteX474" fmla="*/ 147476 w 1090712"/>
              <a:gd name="connsiteY474" fmla="*/ 789753 h 895572"/>
              <a:gd name="connsiteX475" fmla="*/ 149614 w 1090712"/>
              <a:gd name="connsiteY475" fmla="*/ 794267 h 895572"/>
              <a:gd name="connsiteX476" fmla="*/ 152228 w 1090712"/>
              <a:gd name="connsiteY476" fmla="*/ 797831 h 895572"/>
              <a:gd name="connsiteX477" fmla="*/ 155554 w 1090712"/>
              <a:gd name="connsiteY477" fmla="*/ 801395 h 895572"/>
              <a:gd name="connsiteX478" fmla="*/ 158643 w 1090712"/>
              <a:gd name="connsiteY478" fmla="*/ 803533 h 895572"/>
              <a:gd name="connsiteX479" fmla="*/ 162206 w 1090712"/>
              <a:gd name="connsiteY479" fmla="*/ 805909 h 895572"/>
              <a:gd name="connsiteX480" fmla="*/ 165770 w 1090712"/>
              <a:gd name="connsiteY480" fmla="*/ 807572 h 895572"/>
              <a:gd name="connsiteX481" fmla="*/ 169572 w 1090712"/>
              <a:gd name="connsiteY481" fmla="*/ 808523 h 895572"/>
              <a:gd name="connsiteX482" fmla="*/ 174086 w 1090712"/>
              <a:gd name="connsiteY482" fmla="*/ 809473 h 895572"/>
              <a:gd name="connsiteX483" fmla="*/ 178600 w 1090712"/>
              <a:gd name="connsiteY483" fmla="*/ 810186 h 895572"/>
              <a:gd name="connsiteX484" fmla="*/ 187866 w 1090712"/>
              <a:gd name="connsiteY484" fmla="*/ 810661 h 895572"/>
              <a:gd name="connsiteX485" fmla="*/ 198083 w 1090712"/>
              <a:gd name="connsiteY485" fmla="*/ 810661 h 895572"/>
              <a:gd name="connsiteX486" fmla="*/ 236810 w 1090712"/>
              <a:gd name="connsiteY486" fmla="*/ 810661 h 895572"/>
              <a:gd name="connsiteX487" fmla="*/ 249640 w 1090712"/>
              <a:gd name="connsiteY487" fmla="*/ 811136 h 895572"/>
              <a:gd name="connsiteX488" fmla="*/ 263183 w 1090712"/>
              <a:gd name="connsiteY488" fmla="*/ 811611 h 895572"/>
              <a:gd name="connsiteX489" fmla="*/ 270310 w 1090712"/>
              <a:gd name="connsiteY489" fmla="*/ 811611 h 895572"/>
              <a:gd name="connsiteX490" fmla="*/ 276963 w 1090712"/>
              <a:gd name="connsiteY490" fmla="*/ 811136 h 895572"/>
              <a:gd name="connsiteX491" fmla="*/ 283140 w 1090712"/>
              <a:gd name="connsiteY491" fmla="*/ 810186 h 895572"/>
              <a:gd name="connsiteX492" fmla="*/ 289793 w 1090712"/>
              <a:gd name="connsiteY492" fmla="*/ 808523 h 895572"/>
              <a:gd name="connsiteX493" fmla="*/ 295495 w 1090712"/>
              <a:gd name="connsiteY493" fmla="*/ 806147 h 895572"/>
              <a:gd name="connsiteX494" fmla="*/ 301435 w 1090712"/>
              <a:gd name="connsiteY494" fmla="*/ 803058 h 895572"/>
              <a:gd name="connsiteX495" fmla="*/ 304524 w 1090712"/>
              <a:gd name="connsiteY495" fmla="*/ 801395 h 895572"/>
              <a:gd name="connsiteX496" fmla="*/ 307137 w 1090712"/>
              <a:gd name="connsiteY496" fmla="*/ 799256 h 895572"/>
              <a:gd name="connsiteX497" fmla="*/ 309275 w 1090712"/>
              <a:gd name="connsiteY497" fmla="*/ 796881 h 895572"/>
              <a:gd name="connsiteX498" fmla="*/ 312126 w 1090712"/>
              <a:gd name="connsiteY498" fmla="*/ 794267 h 895572"/>
              <a:gd name="connsiteX499" fmla="*/ 314265 w 1090712"/>
              <a:gd name="connsiteY499" fmla="*/ 791178 h 895572"/>
              <a:gd name="connsiteX500" fmla="*/ 316403 w 1090712"/>
              <a:gd name="connsiteY500" fmla="*/ 788090 h 895572"/>
              <a:gd name="connsiteX501" fmla="*/ 318304 w 1090712"/>
              <a:gd name="connsiteY501" fmla="*/ 784051 h 895572"/>
              <a:gd name="connsiteX502" fmla="*/ 319967 w 1090712"/>
              <a:gd name="connsiteY502" fmla="*/ 780012 h 895572"/>
              <a:gd name="connsiteX503" fmla="*/ 321868 w 1090712"/>
              <a:gd name="connsiteY503" fmla="*/ 775973 h 895572"/>
              <a:gd name="connsiteX504" fmla="*/ 323056 w 1090712"/>
              <a:gd name="connsiteY504" fmla="*/ 771221 h 895572"/>
              <a:gd name="connsiteX505" fmla="*/ 324481 w 1090712"/>
              <a:gd name="connsiteY505" fmla="*/ 765756 h 895572"/>
              <a:gd name="connsiteX506" fmla="*/ 325907 w 1090712"/>
              <a:gd name="connsiteY506" fmla="*/ 760529 h 895572"/>
              <a:gd name="connsiteX507" fmla="*/ 325907 w 1090712"/>
              <a:gd name="connsiteY507" fmla="*/ 827530 h 895572"/>
              <a:gd name="connsiteX508" fmla="*/ 310226 w 1090712"/>
              <a:gd name="connsiteY508" fmla="*/ 835608 h 895572"/>
              <a:gd name="connsiteX509" fmla="*/ 295970 w 1090712"/>
              <a:gd name="connsiteY509" fmla="*/ 843686 h 895572"/>
              <a:gd name="connsiteX510" fmla="*/ 282665 w 1090712"/>
              <a:gd name="connsiteY510" fmla="*/ 850339 h 895572"/>
              <a:gd name="connsiteX511" fmla="*/ 276488 w 1090712"/>
              <a:gd name="connsiteY511" fmla="*/ 852952 h 895572"/>
              <a:gd name="connsiteX512" fmla="*/ 270310 w 1090712"/>
              <a:gd name="connsiteY512" fmla="*/ 855565 h 895572"/>
              <a:gd name="connsiteX513" fmla="*/ 266271 w 1090712"/>
              <a:gd name="connsiteY513" fmla="*/ 857942 h 895572"/>
              <a:gd name="connsiteX514" fmla="*/ 262708 w 1090712"/>
              <a:gd name="connsiteY514" fmla="*/ 860080 h 895572"/>
              <a:gd name="connsiteX515" fmla="*/ 259619 w 1090712"/>
              <a:gd name="connsiteY515" fmla="*/ 862693 h 895572"/>
              <a:gd name="connsiteX516" fmla="*/ 256768 w 1090712"/>
              <a:gd name="connsiteY516" fmla="*/ 865544 h 895572"/>
              <a:gd name="connsiteX517" fmla="*/ 254154 w 1090712"/>
              <a:gd name="connsiteY517" fmla="*/ 868633 h 895572"/>
              <a:gd name="connsiteX518" fmla="*/ 252491 w 1090712"/>
              <a:gd name="connsiteY518" fmla="*/ 871722 h 895572"/>
              <a:gd name="connsiteX519" fmla="*/ 250590 w 1090712"/>
              <a:gd name="connsiteY519" fmla="*/ 874810 h 895572"/>
              <a:gd name="connsiteX520" fmla="*/ 249402 w 1090712"/>
              <a:gd name="connsiteY520" fmla="*/ 877899 h 895572"/>
              <a:gd name="connsiteX521" fmla="*/ 248452 w 1090712"/>
              <a:gd name="connsiteY521" fmla="*/ 880988 h 895572"/>
              <a:gd name="connsiteX522" fmla="*/ 247977 w 1090712"/>
              <a:gd name="connsiteY522" fmla="*/ 884076 h 895572"/>
              <a:gd name="connsiteX523" fmla="*/ 247977 w 1090712"/>
              <a:gd name="connsiteY523" fmla="*/ 887165 h 895572"/>
              <a:gd name="connsiteX524" fmla="*/ 248452 w 1090712"/>
              <a:gd name="connsiteY524" fmla="*/ 890016 h 895572"/>
              <a:gd name="connsiteX525" fmla="*/ 249402 w 1090712"/>
              <a:gd name="connsiteY525" fmla="*/ 893105 h 895572"/>
              <a:gd name="connsiteX526" fmla="*/ 250075 w 1090712"/>
              <a:gd name="connsiteY526" fmla="*/ 895572 h 895572"/>
              <a:gd name="connsiteX527" fmla="*/ 474750 w 1090712"/>
              <a:gd name="connsiteY527" fmla="*/ 895572 h 895572"/>
              <a:gd name="connsiteX528" fmla="*/ 475827 w 1090712"/>
              <a:gd name="connsiteY528" fmla="*/ 894768 h 895572"/>
              <a:gd name="connsiteX529" fmla="*/ 486993 w 1090712"/>
              <a:gd name="connsiteY529" fmla="*/ 882889 h 895572"/>
              <a:gd name="connsiteX530" fmla="*/ 497210 w 1090712"/>
              <a:gd name="connsiteY530" fmla="*/ 870296 h 895572"/>
              <a:gd name="connsiteX531" fmla="*/ 506951 w 1090712"/>
              <a:gd name="connsiteY531" fmla="*/ 857942 h 895572"/>
              <a:gd name="connsiteX532" fmla="*/ 515742 w 1090712"/>
              <a:gd name="connsiteY532" fmla="*/ 844636 h 895572"/>
              <a:gd name="connsiteX533" fmla="*/ 523820 w 1090712"/>
              <a:gd name="connsiteY533" fmla="*/ 831094 h 895572"/>
              <a:gd name="connsiteX534" fmla="*/ 531898 w 1090712"/>
              <a:gd name="connsiteY534" fmla="*/ 816838 h 895572"/>
              <a:gd name="connsiteX535" fmla="*/ 539026 w 1090712"/>
              <a:gd name="connsiteY535" fmla="*/ 802583 h 895572"/>
              <a:gd name="connsiteX536" fmla="*/ 545678 w 1090712"/>
              <a:gd name="connsiteY536" fmla="*/ 788565 h 895572"/>
              <a:gd name="connsiteX537" fmla="*/ 552331 w 1090712"/>
              <a:gd name="connsiteY537" fmla="*/ 773359 h 895572"/>
              <a:gd name="connsiteX538" fmla="*/ 558033 w 1090712"/>
              <a:gd name="connsiteY538" fmla="*/ 758628 h 895572"/>
              <a:gd name="connsiteX539" fmla="*/ 563498 w 1090712"/>
              <a:gd name="connsiteY539" fmla="*/ 743185 h 895572"/>
              <a:gd name="connsiteX540" fmla="*/ 568725 w 1090712"/>
              <a:gd name="connsiteY540" fmla="*/ 727979 h 895572"/>
              <a:gd name="connsiteX541" fmla="*/ 573714 w 1090712"/>
              <a:gd name="connsiteY541" fmla="*/ 712298 h 895572"/>
              <a:gd name="connsiteX542" fmla="*/ 577991 w 1090712"/>
              <a:gd name="connsiteY542" fmla="*/ 696855 h 895572"/>
              <a:gd name="connsiteX543" fmla="*/ 586544 w 1090712"/>
              <a:gd name="connsiteY543" fmla="*/ 665255 h 895572"/>
              <a:gd name="connsiteX544" fmla="*/ 586069 w 1090712"/>
              <a:gd name="connsiteY544" fmla="*/ 663117 h 895572"/>
              <a:gd name="connsiteX545" fmla="*/ 584881 w 1090712"/>
              <a:gd name="connsiteY545" fmla="*/ 660266 h 895572"/>
              <a:gd name="connsiteX546" fmla="*/ 582980 w 1090712"/>
              <a:gd name="connsiteY546" fmla="*/ 657177 h 895572"/>
              <a:gd name="connsiteX547" fmla="*/ 580367 w 1090712"/>
              <a:gd name="connsiteY547" fmla="*/ 654088 h 895572"/>
              <a:gd name="connsiteX548" fmla="*/ 574902 w 1090712"/>
              <a:gd name="connsiteY548" fmla="*/ 647911 h 895572"/>
              <a:gd name="connsiteX549" fmla="*/ 570150 w 1090712"/>
              <a:gd name="connsiteY549" fmla="*/ 642922 h 895572"/>
              <a:gd name="connsiteX550" fmla="*/ 565636 w 1090712"/>
              <a:gd name="connsiteY550" fmla="*/ 636744 h 895572"/>
              <a:gd name="connsiteX551" fmla="*/ 560647 w 1090712"/>
              <a:gd name="connsiteY551" fmla="*/ 631517 h 895572"/>
              <a:gd name="connsiteX552" fmla="*/ 555420 w 1090712"/>
              <a:gd name="connsiteY552" fmla="*/ 626053 h 895572"/>
              <a:gd name="connsiteX553" fmla="*/ 550193 w 1090712"/>
              <a:gd name="connsiteY553" fmla="*/ 621301 h 895572"/>
              <a:gd name="connsiteX554" fmla="*/ 544253 w 1090712"/>
              <a:gd name="connsiteY554" fmla="*/ 616787 h 895572"/>
              <a:gd name="connsiteX555" fmla="*/ 538075 w 1090712"/>
              <a:gd name="connsiteY555" fmla="*/ 612272 h 895572"/>
              <a:gd name="connsiteX556" fmla="*/ 525721 w 1090712"/>
              <a:gd name="connsiteY556" fmla="*/ 603719 h 895572"/>
              <a:gd name="connsiteX557" fmla="*/ 563023 w 1090712"/>
              <a:gd name="connsiteY557" fmla="*/ 619875 h 895572"/>
              <a:gd name="connsiteX558" fmla="*/ 581317 w 1090712"/>
              <a:gd name="connsiteY558" fmla="*/ 628191 h 895572"/>
              <a:gd name="connsiteX559" fmla="*/ 599374 w 1090712"/>
              <a:gd name="connsiteY559" fmla="*/ 636744 h 895572"/>
              <a:gd name="connsiteX560" fmla="*/ 607927 w 1090712"/>
              <a:gd name="connsiteY560" fmla="*/ 641259 h 895572"/>
              <a:gd name="connsiteX561" fmla="*/ 616718 w 1090712"/>
              <a:gd name="connsiteY561" fmla="*/ 646010 h 895572"/>
              <a:gd name="connsiteX562" fmla="*/ 625271 w 1090712"/>
              <a:gd name="connsiteY562" fmla="*/ 651000 h 895572"/>
              <a:gd name="connsiteX563" fmla="*/ 633349 w 1090712"/>
              <a:gd name="connsiteY563" fmla="*/ 656227 h 895572"/>
              <a:gd name="connsiteX564" fmla="*/ 641665 w 1090712"/>
              <a:gd name="connsiteY564" fmla="*/ 662167 h 895572"/>
              <a:gd name="connsiteX565" fmla="*/ 649268 w 1090712"/>
              <a:gd name="connsiteY565" fmla="*/ 668344 h 895572"/>
              <a:gd name="connsiteX566" fmla="*/ 656871 w 1090712"/>
              <a:gd name="connsiteY566" fmla="*/ 674996 h 895572"/>
              <a:gd name="connsiteX567" fmla="*/ 664474 w 1090712"/>
              <a:gd name="connsiteY567" fmla="*/ 682124 h 895572"/>
              <a:gd name="connsiteX568" fmla="*/ 668988 w 1090712"/>
              <a:gd name="connsiteY568" fmla="*/ 686163 h 895572"/>
              <a:gd name="connsiteX569" fmla="*/ 672790 w 1090712"/>
              <a:gd name="connsiteY569" fmla="*/ 690202 h 895572"/>
              <a:gd name="connsiteX570" fmla="*/ 677304 w 1090712"/>
              <a:gd name="connsiteY570" fmla="*/ 693291 h 895572"/>
              <a:gd name="connsiteX571" fmla="*/ 682293 w 1090712"/>
              <a:gd name="connsiteY571" fmla="*/ 696855 h 895572"/>
              <a:gd name="connsiteX572" fmla="*/ 686570 w 1090712"/>
              <a:gd name="connsiteY572" fmla="*/ 699468 h 895572"/>
              <a:gd name="connsiteX573" fmla="*/ 691559 w 1090712"/>
              <a:gd name="connsiteY573" fmla="*/ 702082 h 895572"/>
              <a:gd name="connsiteX574" fmla="*/ 696549 w 1090712"/>
              <a:gd name="connsiteY574" fmla="*/ 703983 h 895572"/>
              <a:gd name="connsiteX575" fmla="*/ 701300 w 1090712"/>
              <a:gd name="connsiteY575" fmla="*/ 705646 h 895572"/>
              <a:gd name="connsiteX576" fmla="*/ 706290 w 1090712"/>
              <a:gd name="connsiteY576" fmla="*/ 707071 h 895572"/>
              <a:gd name="connsiteX577" fmla="*/ 711042 w 1090712"/>
              <a:gd name="connsiteY577" fmla="*/ 708497 h 895572"/>
              <a:gd name="connsiteX578" fmla="*/ 716506 w 1090712"/>
              <a:gd name="connsiteY578" fmla="*/ 708734 h 895572"/>
              <a:gd name="connsiteX579" fmla="*/ 721258 w 1090712"/>
              <a:gd name="connsiteY579" fmla="*/ 708734 h 895572"/>
              <a:gd name="connsiteX580" fmla="*/ 726723 w 1090712"/>
              <a:gd name="connsiteY580" fmla="*/ 708497 h 895572"/>
              <a:gd name="connsiteX581" fmla="*/ 731712 w 1090712"/>
              <a:gd name="connsiteY581" fmla="*/ 707546 h 895572"/>
              <a:gd name="connsiteX582" fmla="*/ 736939 w 1090712"/>
              <a:gd name="connsiteY582" fmla="*/ 706121 h 895572"/>
              <a:gd name="connsiteX583" fmla="*/ 742166 w 1090712"/>
              <a:gd name="connsiteY583" fmla="*/ 704458 h 895572"/>
              <a:gd name="connsiteX584" fmla="*/ 749294 w 1090712"/>
              <a:gd name="connsiteY584" fmla="*/ 702082 h 895572"/>
              <a:gd name="connsiteX585" fmla="*/ 756184 w 1090712"/>
              <a:gd name="connsiteY585" fmla="*/ 699468 h 895572"/>
              <a:gd name="connsiteX586" fmla="*/ 762361 w 1090712"/>
              <a:gd name="connsiteY586" fmla="*/ 696380 h 895572"/>
              <a:gd name="connsiteX587" fmla="*/ 768063 w 1090712"/>
              <a:gd name="connsiteY587" fmla="*/ 692816 h 895572"/>
              <a:gd name="connsiteX588" fmla="*/ 773528 w 1090712"/>
              <a:gd name="connsiteY588" fmla="*/ 689252 h 895572"/>
              <a:gd name="connsiteX589" fmla="*/ 778755 w 1090712"/>
              <a:gd name="connsiteY589" fmla="*/ 684738 h 895572"/>
              <a:gd name="connsiteX590" fmla="*/ 783269 w 1090712"/>
              <a:gd name="connsiteY590" fmla="*/ 680461 h 895572"/>
              <a:gd name="connsiteX591" fmla="*/ 787308 w 1090712"/>
              <a:gd name="connsiteY591" fmla="*/ 674996 h 895572"/>
              <a:gd name="connsiteX592" fmla="*/ 791110 w 1090712"/>
              <a:gd name="connsiteY592" fmla="*/ 669769 h 895572"/>
              <a:gd name="connsiteX593" fmla="*/ 794436 w 1090712"/>
              <a:gd name="connsiteY593" fmla="*/ 663830 h 895572"/>
              <a:gd name="connsiteX594" fmla="*/ 797050 w 1090712"/>
              <a:gd name="connsiteY594" fmla="*/ 657652 h 895572"/>
              <a:gd name="connsiteX595" fmla="*/ 799188 w 1090712"/>
              <a:gd name="connsiteY595" fmla="*/ 651000 h 895572"/>
              <a:gd name="connsiteX596" fmla="*/ 801089 w 1090712"/>
              <a:gd name="connsiteY596" fmla="*/ 643872 h 895572"/>
              <a:gd name="connsiteX597" fmla="*/ 802277 w 1090712"/>
              <a:gd name="connsiteY597" fmla="*/ 636744 h 895572"/>
              <a:gd name="connsiteX598" fmla="*/ 803227 w 1090712"/>
              <a:gd name="connsiteY598" fmla="*/ 628666 h 895572"/>
              <a:gd name="connsiteX599" fmla="*/ 803227 w 1090712"/>
              <a:gd name="connsiteY599" fmla="*/ 620826 h 895572"/>
              <a:gd name="connsiteX600" fmla="*/ 801089 w 1090712"/>
              <a:gd name="connsiteY600" fmla="*/ 622489 h 895572"/>
              <a:gd name="connsiteX601" fmla="*/ 798238 w 1090712"/>
              <a:gd name="connsiteY601" fmla="*/ 623914 h 895572"/>
              <a:gd name="connsiteX602" fmla="*/ 793011 w 1090712"/>
              <a:gd name="connsiteY602" fmla="*/ 626053 h 895572"/>
              <a:gd name="connsiteX603" fmla="*/ 790397 w 1090712"/>
              <a:gd name="connsiteY603" fmla="*/ 627478 h 895572"/>
              <a:gd name="connsiteX604" fmla="*/ 788496 w 1090712"/>
              <a:gd name="connsiteY604" fmla="*/ 628191 h 895572"/>
              <a:gd name="connsiteX605" fmla="*/ 787308 w 1090712"/>
              <a:gd name="connsiteY605" fmla="*/ 630092 h 895572"/>
              <a:gd name="connsiteX606" fmla="*/ 786833 w 1090712"/>
              <a:gd name="connsiteY606" fmla="*/ 631755 h 895572"/>
              <a:gd name="connsiteX607" fmla="*/ 785408 w 1090712"/>
              <a:gd name="connsiteY607" fmla="*/ 635794 h 895572"/>
              <a:gd name="connsiteX608" fmla="*/ 784220 w 1090712"/>
              <a:gd name="connsiteY608" fmla="*/ 639833 h 895572"/>
              <a:gd name="connsiteX609" fmla="*/ 780656 w 1090712"/>
              <a:gd name="connsiteY609" fmla="*/ 646485 h 895572"/>
              <a:gd name="connsiteX610" fmla="*/ 776617 w 1090712"/>
              <a:gd name="connsiteY610" fmla="*/ 653138 h 895572"/>
              <a:gd name="connsiteX611" fmla="*/ 772103 w 1090712"/>
              <a:gd name="connsiteY611" fmla="*/ 659078 h 895572"/>
              <a:gd name="connsiteX612" fmla="*/ 762361 w 1090712"/>
              <a:gd name="connsiteY612" fmla="*/ 670007 h 895572"/>
              <a:gd name="connsiteX613" fmla="*/ 757847 w 1090712"/>
              <a:gd name="connsiteY613" fmla="*/ 675947 h 895572"/>
              <a:gd name="connsiteX614" fmla="*/ 753333 w 1090712"/>
              <a:gd name="connsiteY614" fmla="*/ 682124 h 895572"/>
              <a:gd name="connsiteX615" fmla="*/ 750244 w 1090712"/>
              <a:gd name="connsiteY615" fmla="*/ 684738 h 895572"/>
              <a:gd name="connsiteX616" fmla="*/ 747155 w 1090712"/>
              <a:gd name="connsiteY616" fmla="*/ 687589 h 895572"/>
              <a:gd name="connsiteX617" fmla="*/ 744067 w 1090712"/>
              <a:gd name="connsiteY617" fmla="*/ 689252 h 895572"/>
              <a:gd name="connsiteX618" fmla="*/ 740978 w 1090712"/>
              <a:gd name="connsiteY618" fmla="*/ 690915 h 895572"/>
              <a:gd name="connsiteX619" fmla="*/ 737890 w 1090712"/>
              <a:gd name="connsiteY619" fmla="*/ 691865 h 895572"/>
              <a:gd name="connsiteX620" fmla="*/ 734801 w 1090712"/>
              <a:gd name="connsiteY620" fmla="*/ 692816 h 895572"/>
              <a:gd name="connsiteX621" fmla="*/ 731950 w 1090712"/>
              <a:gd name="connsiteY621" fmla="*/ 693291 h 895572"/>
              <a:gd name="connsiteX622" fmla="*/ 728861 w 1090712"/>
              <a:gd name="connsiteY622" fmla="*/ 693291 h 895572"/>
              <a:gd name="connsiteX623" fmla="*/ 723634 w 1090712"/>
              <a:gd name="connsiteY623" fmla="*/ 692816 h 895572"/>
              <a:gd name="connsiteX624" fmla="*/ 718169 w 1090712"/>
              <a:gd name="connsiteY624" fmla="*/ 691390 h 895572"/>
              <a:gd name="connsiteX625" fmla="*/ 713418 w 1090712"/>
              <a:gd name="connsiteY625" fmla="*/ 689727 h 895572"/>
              <a:gd name="connsiteX626" fmla="*/ 708903 w 1090712"/>
              <a:gd name="connsiteY626" fmla="*/ 687826 h 895572"/>
              <a:gd name="connsiteX627" fmla="*/ 706765 w 1090712"/>
              <a:gd name="connsiteY627" fmla="*/ 687589 h 895572"/>
              <a:gd name="connsiteX628" fmla="*/ 704864 w 1090712"/>
              <a:gd name="connsiteY628" fmla="*/ 687114 h 895572"/>
              <a:gd name="connsiteX629" fmla="*/ 703201 w 1090712"/>
              <a:gd name="connsiteY629" fmla="*/ 686163 h 895572"/>
              <a:gd name="connsiteX630" fmla="*/ 701776 w 1090712"/>
              <a:gd name="connsiteY630" fmla="*/ 684738 h 895572"/>
              <a:gd name="connsiteX631" fmla="*/ 698687 w 1090712"/>
              <a:gd name="connsiteY631" fmla="*/ 681649 h 895572"/>
              <a:gd name="connsiteX632" fmla="*/ 696549 w 1090712"/>
              <a:gd name="connsiteY632" fmla="*/ 678085 h 895572"/>
              <a:gd name="connsiteX633" fmla="*/ 694648 w 1090712"/>
              <a:gd name="connsiteY633" fmla="*/ 673571 h 895572"/>
              <a:gd name="connsiteX634" fmla="*/ 693460 w 1090712"/>
              <a:gd name="connsiteY634" fmla="*/ 668819 h 895572"/>
              <a:gd name="connsiteX635" fmla="*/ 692510 w 1090712"/>
              <a:gd name="connsiteY635" fmla="*/ 664305 h 895572"/>
              <a:gd name="connsiteX636" fmla="*/ 692510 w 1090712"/>
              <a:gd name="connsiteY636" fmla="*/ 659790 h 895572"/>
              <a:gd name="connsiteX637" fmla="*/ 692510 w 1090712"/>
              <a:gd name="connsiteY637" fmla="*/ 647436 h 895572"/>
              <a:gd name="connsiteX638" fmla="*/ 693460 w 1090712"/>
              <a:gd name="connsiteY638" fmla="*/ 635319 h 895572"/>
              <a:gd name="connsiteX639" fmla="*/ 694173 w 1090712"/>
              <a:gd name="connsiteY639" fmla="*/ 624389 h 895572"/>
              <a:gd name="connsiteX640" fmla="*/ 695598 w 1090712"/>
              <a:gd name="connsiteY640" fmla="*/ 612748 h 895572"/>
              <a:gd name="connsiteX641" fmla="*/ 699162 w 1090712"/>
              <a:gd name="connsiteY641" fmla="*/ 591364 h 895572"/>
              <a:gd name="connsiteX642" fmla="*/ 703676 w 1090712"/>
              <a:gd name="connsiteY642" fmla="*/ 570456 h 895572"/>
              <a:gd name="connsiteX643" fmla="*/ 720070 w 1090712"/>
              <a:gd name="connsiteY643" fmla="*/ 574971 h 895572"/>
              <a:gd name="connsiteX644" fmla="*/ 736939 w 1090712"/>
              <a:gd name="connsiteY644" fmla="*/ 579247 h 895572"/>
              <a:gd name="connsiteX645" fmla="*/ 770677 w 1090712"/>
              <a:gd name="connsiteY645" fmla="*/ 589226 h 895572"/>
              <a:gd name="connsiteX646" fmla="*/ 788021 w 1090712"/>
              <a:gd name="connsiteY646" fmla="*/ 593503 h 895572"/>
              <a:gd name="connsiteX647" fmla="*/ 805365 w 1090712"/>
              <a:gd name="connsiteY647" fmla="*/ 597542 h 895572"/>
              <a:gd name="connsiteX648" fmla="*/ 823660 w 1090712"/>
              <a:gd name="connsiteY648" fmla="*/ 601106 h 895572"/>
              <a:gd name="connsiteX649" fmla="*/ 841954 w 1090712"/>
              <a:gd name="connsiteY649" fmla="*/ 603719 h 895572"/>
              <a:gd name="connsiteX650" fmla="*/ 861437 w 1090712"/>
              <a:gd name="connsiteY650" fmla="*/ 606570 h 895572"/>
              <a:gd name="connsiteX651" fmla="*/ 880682 w 1090712"/>
              <a:gd name="connsiteY651" fmla="*/ 608233 h 895572"/>
              <a:gd name="connsiteX652" fmla="*/ 889948 w 1090712"/>
              <a:gd name="connsiteY652" fmla="*/ 608708 h 895572"/>
              <a:gd name="connsiteX653" fmla="*/ 898976 w 1090712"/>
              <a:gd name="connsiteY653" fmla="*/ 608708 h 895572"/>
              <a:gd name="connsiteX654" fmla="*/ 908242 w 1090712"/>
              <a:gd name="connsiteY654" fmla="*/ 608708 h 895572"/>
              <a:gd name="connsiteX655" fmla="*/ 916795 w 1090712"/>
              <a:gd name="connsiteY655" fmla="*/ 608233 h 895572"/>
              <a:gd name="connsiteX656" fmla="*/ 925586 w 1090712"/>
              <a:gd name="connsiteY656" fmla="*/ 607283 h 895572"/>
              <a:gd name="connsiteX657" fmla="*/ 934140 w 1090712"/>
              <a:gd name="connsiteY657" fmla="*/ 606095 h 895572"/>
              <a:gd name="connsiteX658" fmla="*/ 942455 w 1090712"/>
              <a:gd name="connsiteY658" fmla="*/ 604669 h 895572"/>
              <a:gd name="connsiteX659" fmla="*/ 950533 w 1090712"/>
              <a:gd name="connsiteY659" fmla="*/ 603006 h 895572"/>
              <a:gd name="connsiteX660" fmla="*/ 958611 w 1090712"/>
              <a:gd name="connsiteY660" fmla="*/ 600630 h 895572"/>
              <a:gd name="connsiteX661" fmla="*/ 966452 w 1090712"/>
              <a:gd name="connsiteY661" fmla="*/ 598017 h 895572"/>
              <a:gd name="connsiteX662" fmla="*/ 974055 w 1090712"/>
              <a:gd name="connsiteY662" fmla="*/ 595403 h 895572"/>
              <a:gd name="connsiteX663" fmla="*/ 981658 w 1090712"/>
              <a:gd name="connsiteY663" fmla="*/ 591840 h 895572"/>
              <a:gd name="connsiteX664" fmla="*/ 989261 w 1090712"/>
              <a:gd name="connsiteY664" fmla="*/ 588276 h 895572"/>
              <a:gd name="connsiteX665" fmla="*/ 996388 w 1090712"/>
              <a:gd name="connsiteY665" fmla="*/ 584237 h 895572"/>
              <a:gd name="connsiteX666" fmla="*/ 1003041 w 1090712"/>
              <a:gd name="connsiteY666" fmla="*/ 579247 h 895572"/>
              <a:gd name="connsiteX667" fmla="*/ 1009694 w 1090712"/>
              <a:gd name="connsiteY667" fmla="*/ 574495 h 895572"/>
              <a:gd name="connsiteX668" fmla="*/ 1016346 w 1090712"/>
              <a:gd name="connsiteY668" fmla="*/ 569031 h 895572"/>
              <a:gd name="connsiteX669" fmla="*/ 1022998 w 1090712"/>
              <a:gd name="connsiteY669" fmla="*/ 562853 h 895572"/>
              <a:gd name="connsiteX670" fmla="*/ 1029176 w 1090712"/>
              <a:gd name="connsiteY670" fmla="*/ 556676 h 895572"/>
              <a:gd name="connsiteX671" fmla="*/ 1035116 w 1090712"/>
              <a:gd name="connsiteY671" fmla="*/ 549548 h 895572"/>
              <a:gd name="connsiteX672" fmla="*/ 1040818 w 1090712"/>
              <a:gd name="connsiteY672" fmla="*/ 541945 h 895572"/>
              <a:gd name="connsiteX673" fmla="*/ 1046520 w 1090712"/>
              <a:gd name="connsiteY673" fmla="*/ 534342 h 895572"/>
              <a:gd name="connsiteX674" fmla="*/ 1051985 w 1090712"/>
              <a:gd name="connsiteY674" fmla="*/ 526027 h 895572"/>
              <a:gd name="connsiteX675" fmla="*/ 1056737 w 1090712"/>
              <a:gd name="connsiteY675" fmla="*/ 516523 h 895572"/>
              <a:gd name="connsiteX676" fmla="*/ 1061726 w 1090712"/>
              <a:gd name="connsiteY676" fmla="*/ 507257 h 895572"/>
              <a:gd name="connsiteX677" fmla="*/ 1066715 w 1090712"/>
              <a:gd name="connsiteY677" fmla="*/ 497041 h 895572"/>
              <a:gd name="connsiteX678" fmla="*/ 1070992 w 1090712"/>
              <a:gd name="connsiteY678" fmla="*/ 486349 h 895572"/>
              <a:gd name="connsiteX679" fmla="*/ 1075506 w 1090712"/>
              <a:gd name="connsiteY679" fmla="*/ 475182 h 895572"/>
              <a:gd name="connsiteX680" fmla="*/ 1079070 w 1090712"/>
              <a:gd name="connsiteY680" fmla="*/ 462828 h 895572"/>
              <a:gd name="connsiteX681" fmla="*/ 1082634 w 1090712"/>
              <a:gd name="connsiteY681" fmla="*/ 449998 h 895572"/>
              <a:gd name="connsiteX682" fmla="*/ 1084772 w 1090712"/>
              <a:gd name="connsiteY682" fmla="*/ 437405 h 895572"/>
              <a:gd name="connsiteX683" fmla="*/ 1087148 w 1090712"/>
              <a:gd name="connsiteY683" fmla="*/ 425050 h 895572"/>
              <a:gd name="connsiteX684" fmla="*/ 1088811 w 1090712"/>
              <a:gd name="connsiteY684" fmla="*/ 411983 h 895572"/>
              <a:gd name="connsiteX685" fmla="*/ 1089762 w 1090712"/>
              <a:gd name="connsiteY685" fmla="*/ 399628 h 895572"/>
              <a:gd name="connsiteX686" fmla="*/ 1090712 w 1090712"/>
              <a:gd name="connsiteY686" fmla="*/ 386798 h 895572"/>
              <a:gd name="connsiteX687" fmla="*/ 1090712 w 1090712"/>
              <a:gd name="connsiteY687" fmla="*/ 373731 h 895572"/>
              <a:gd name="connsiteX688" fmla="*/ 1090712 w 1090712"/>
              <a:gd name="connsiteY688" fmla="*/ 360901 h 895572"/>
              <a:gd name="connsiteX689" fmla="*/ 1089762 w 1090712"/>
              <a:gd name="connsiteY689" fmla="*/ 348071 h 895572"/>
              <a:gd name="connsiteX690" fmla="*/ 1088811 w 1090712"/>
              <a:gd name="connsiteY690" fmla="*/ 335004 h 895572"/>
              <a:gd name="connsiteX691" fmla="*/ 1088099 w 1090712"/>
              <a:gd name="connsiteY691" fmla="*/ 321698 h 895572"/>
              <a:gd name="connsiteX692" fmla="*/ 1084772 w 1090712"/>
              <a:gd name="connsiteY692" fmla="*/ 295563 h 895572"/>
              <a:gd name="connsiteX693" fmla="*/ 1080971 w 1090712"/>
              <a:gd name="connsiteY693" fmla="*/ 268478 h 895572"/>
              <a:gd name="connsiteX694" fmla="*/ 1078595 w 1090712"/>
              <a:gd name="connsiteY694" fmla="*/ 258262 h 895572"/>
              <a:gd name="connsiteX695" fmla="*/ 1075981 w 1090712"/>
              <a:gd name="connsiteY695" fmla="*/ 248283 h 895572"/>
              <a:gd name="connsiteX696" fmla="*/ 1072417 w 1090712"/>
              <a:gd name="connsiteY696" fmla="*/ 238542 h 895572"/>
              <a:gd name="connsiteX697" fmla="*/ 1069329 w 1090712"/>
              <a:gd name="connsiteY697" fmla="*/ 229275 h 895572"/>
              <a:gd name="connsiteX698" fmla="*/ 1061251 w 1090712"/>
              <a:gd name="connsiteY698" fmla="*/ 210031 h 895572"/>
              <a:gd name="connsiteX699" fmla="*/ 1053173 w 1090712"/>
              <a:gd name="connsiteY699" fmla="*/ 190073 h 895572"/>
              <a:gd name="connsiteX700" fmla="*/ 1051034 w 1090712"/>
              <a:gd name="connsiteY700" fmla="*/ 186034 h 895572"/>
              <a:gd name="connsiteX701" fmla="*/ 1048896 w 1090712"/>
              <a:gd name="connsiteY701" fmla="*/ 182470 h 895572"/>
              <a:gd name="connsiteX702" fmla="*/ 1046045 w 1090712"/>
              <a:gd name="connsiteY702" fmla="*/ 179381 h 895572"/>
              <a:gd name="connsiteX703" fmla="*/ 1043906 w 1090712"/>
              <a:gd name="connsiteY703" fmla="*/ 176768 h 895572"/>
              <a:gd name="connsiteX704" fmla="*/ 1041293 w 1090712"/>
              <a:gd name="connsiteY704" fmla="*/ 174630 h 895572"/>
              <a:gd name="connsiteX705" fmla="*/ 1038680 w 1090712"/>
              <a:gd name="connsiteY705" fmla="*/ 172729 h 895572"/>
              <a:gd name="connsiteX706" fmla="*/ 1035828 w 1090712"/>
              <a:gd name="connsiteY706" fmla="*/ 171303 h 895572"/>
              <a:gd name="connsiteX707" fmla="*/ 1032740 w 1090712"/>
              <a:gd name="connsiteY707" fmla="*/ 170591 h 895572"/>
              <a:gd name="connsiteX708" fmla="*/ 1030126 w 1090712"/>
              <a:gd name="connsiteY708" fmla="*/ 170591 h 895572"/>
              <a:gd name="connsiteX709" fmla="*/ 1027038 w 1090712"/>
              <a:gd name="connsiteY709" fmla="*/ 170591 h 895572"/>
              <a:gd name="connsiteX710" fmla="*/ 1024424 w 1090712"/>
              <a:gd name="connsiteY710" fmla="*/ 171303 h 895572"/>
              <a:gd name="connsiteX711" fmla="*/ 1021335 w 1090712"/>
              <a:gd name="connsiteY711" fmla="*/ 172729 h 895572"/>
              <a:gd name="connsiteX712" fmla="*/ 1018247 w 1090712"/>
              <a:gd name="connsiteY712" fmla="*/ 174867 h 895572"/>
              <a:gd name="connsiteX713" fmla="*/ 1014920 w 1090712"/>
              <a:gd name="connsiteY713" fmla="*/ 177718 h 895572"/>
              <a:gd name="connsiteX714" fmla="*/ 1011832 w 1090712"/>
              <a:gd name="connsiteY714" fmla="*/ 180807 h 895572"/>
              <a:gd name="connsiteX715" fmla="*/ 1008743 w 1090712"/>
              <a:gd name="connsiteY715" fmla="*/ 184846 h 895572"/>
              <a:gd name="connsiteX716" fmla="*/ 991874 w 1090712"/>
              <a:gd name="connsiteY716" fmla="*/ 201240 h 895572"/>
              <a:gd name="connsiteX717" fmla="*/ 983321 w 1090712"/>
              <a:gd name="connsiteY717" fmla="*/ 209318 h 895572"/>
              <a:gd name="connsiteX718" fmla="*/ 974530 w 1090712"/>
              <a:gd name="connsiteY718" fmla="*/ 216683 h 895572"/>
              <a:gd name="connsiteX719" fmla="*/ 965739 w 1090712"/>
              <a:gd name="connsiteY719" fmla="*/ 223811 h 895572"/>
              <a:gd name="connsiteX720" fmla="*/ 956236 w 1090712"/>
              <a:gd name="connsiteY720" fmla="*/ 230226 h 895572"/>
              <a:gd name="connsiteX721" fmla="*/ 946494 w 1090712"/>
              <a:gd name="connsiteY721" fmla="*/ 235928 h 895572"/>
              <a:gd name="connsiteX722" fmla="*/ 941505 w 1090712"/>
              <a:gd name="connsiteY722" fmla="*/ 238066 h 895572"/>
              <a:gd name="connsiteX723" fmla="*/ 936753 w 1090712"/>
              <a:gd name="connsiteY723" fmla="*/ 240442 h 895572"/>
              <a:gd name="connsiteX724" fmla="*/ 932239 w 1090712"/>
              <a:gd name="connsiteY724" fmla="*/ 242581 h 895572"/>
              <a:gd name="connsiteX725" fmla="*/ 928675 w 1090712"/>
              <a:gd name="connsiteY725" fmla="*/ 245669 h 895572"/>
              <a:gd name="connsiteX726" fmla="*/ 925111 w 1090712"/>
              <a:gd name="connsiteY726" fmla="*/ 249233 h 895572"/>
              <a:gd name="connsiteX727" fmla="*/ 922022 w 1090712"/>
              <a:gd name="connsiteY727" fmla="*/ 252797 h 895572"/>
              <a:gd name="connsiteX728" fmla="*/ 919884 w 1090712"/>
              <a:gd name="connsiteY728" fmla="*/ 257311 h 895572"/>
              <a:gd name="connsiteX729" fmla="*/ 918934 w 1090712"/>
              <a:gd name="connsiteY729" fmla="*/ 259925 h 895572"/>
              <a:gd name="connsiteX730" fmla="*/ 918459 w 1090712"/>
              <a:gd name="connsiteY730" fmla="*/ 262538 h 895572"/>
              <a:gd name="connsiteX731" fmla="*/ 918459 w 1090712"/>
              <a:gd name="connsiteY731" fmla="*/ 265389 h 895572"/>
              <a:gd name="connsiteX732" fmla="*/ 918459 w 1090712"/>
              <a:gd name="connsiteY732" fmla="*/ 268003 h 895572"/>
              <a:gd name="connsiteX733" fmla="*/ 918934 w 1090712"/>
              <a:gd name="connsiteY733" fmla="*/ 271091 h 895572"/>
              <a:gd name="connsiteX734" fmla="*/ 919884 w 1090712"/>
              <a:gd name="connsiteY734" fmla="*/ 274180 h 895572"/>
              <a:gd name="connsiteX735" fmla="*/ 921547 w 1090712"/>
              <a:gd name="connsiteY735" fmla="*/ 282258 h 895572"/>
              <a:gd name="connsiteX736" fmla="*/ 922973 w 1090712"/>
              <a:gd name="connsiteY736" fmla="*/ 290574 h 895572"/>
              <a:gd name="connsiteX737" fmla="*/ 923923 w 1090712"/>
              <a:gd name="connsiteY737" fmla="*/ 299127 h 895572"/>
              <a:gd name="connsiteX738" fmla="*/ 924161 w 1090712"/>
              <a:gd name="connsiteY738" fmla="*/ 307443 h 895572"/>
              <a:gd name="connsiteX739" fmla="*/ 924161 w 1090712"/>
              <a:gd name="connsiteY739" fmla="*/ 315996 h 895572"/>
              <a:gd name="connsiteX740" fmla="*/ 923923 w 1090712"/>
              <a:gd name="connsiteY740" fmla="*/ 324550 h 895572"/>
              <a:gd name="connsiteX741" fmla="*/ 922973 w 1090712"/>
              <a:gd name="connsiteY741" fmla="*/ 332865 h 895572"/>
              <a:gd name="connsiteX742" fmla="*/ 922022 w 1090712"/>
              <a:gd name="connsiteY742" fmla="*/ 340943 h 895572"/>
              <a:gd name="connsiteX743" fmla="*/ 920597 w 1090712"/>
              <a:gd name="connsiteY743" fmla="*/ 349259 h 895572"/>
              <a:gd name="connsiteX744" fmla="*/ 918934 w 1090712"/>
              <a:gd name="connsiteY744" fmla="*/ 357812 h 895572"/>
              <a:gd name="connsiteX745" fmla="*/ 914420 w 1090712"/>
              <a:gd name="connsiteY745" fmla="*/ 374681 h 895572"/>
              <a:gd name="connsiteX746" fmla="*/ 909192 w 1090712"/>
              <a:gd name="connsiteY746" fmla="*/ 391075 h 895572"/>
              <a:gd name="connsiteX747" fmla="*/ 903253 w 1090712"/>
              <a:gd name="connsiteY747" fmla="*/ 408182 h 895572"/>
              <a:gd name="connsiteX748" fmla="*/ 903253 w 1090712"/>
              <a:gd name="connsiteY748" fmla="*/ 397965 h 895572"/>
              <a:gd name="connsiteX749" fmla="*/ 904203 w 1090712"/>
              <a:gd name="connsiteY749" fmla="*/ 387274 h 895572"/>
              <a:gd name="connsiteX750" fmla="*/ 906104 w 1090712"/>
              <a:gd name="connsiteY750" fmla="*/ 367078 h 895572"/>
              <a:gd name="connsiteX751" fmla="*/ 907767 w 1090712"/>
              <a:gd name="connsiteY751" fmla="*/ 347596 h 895572"/>
              <a:gd name="connsiteX752" fmla="*/ 908717 w 1090712"/>
              <a:gd name="connsiteY752" fmla="*/ 338567 h 895572"/>
              <a:gd name="connsiteX753" fmla="*/ 908717 w 1090712"/>
              <a:gd name="connsiteY753" fmla="*/ 329777 h 895572"/>
              <a:gd name="connsiteX754" fmla="*/ 908717 w 1090712"/>
              <a:gd name="connsiteY754" fmla="*/ 325738 h 895572"/>
              <a:gd name="connsiteX755" fmla="*/ 907767 w 1090712"/>
              <a:gd name="connsiteY755" fmla="*/ 322649 h 895572"/>
              <a:gd name="connsiteX756" fmla="*/ 906817 w 1090712"/>
              <a:gd name="connsiteY756" fmla="*/ 319560 h 895572"/>
              <a:gd name="connsiteX757" fmla="*/ 905154 w 1090712"/>
              <a:gd name="connsiteY757" fmla="*/ 316471 h 895572"/>
              <a:gd name="connsiteX758" fmla="*/ 903728 w 1090712"/>
              <a:gd name="connsiteY758" fmla="*/ 314096 h 895572"/>
              <a:gd name="connsiteX759" fmla="*/ 901590 w 1090712"/>
              <a:gd name="connsiteY759" fmla="*/ 311957 h 895572"/>
              <a:gd name="connsiteX760" fmla="*/ 897551 w 1090712"/>
              <a:gd name="connsiteY760" fmla="*/ 307443 h 895572"/>
              <a:gd name="connsiteX761" fmla="*/ 895412 w 1090712"/>
              <a:gd name="connsiteY761" fmla="*/ 309344 h 895572"/>
              <a:gd name="connsiteX762" fmla="*/ 892561 w 1090712"/>
              <a:gd name="connsiteY762" fmla="*/ 310769 h 895572"/>
              <a:gd name="connsiteX763" fmla="*/ 887334 w 1090712"/>
              <a:gd name="connsiteY763" fmla="*/ 313383 h 895572"/>
              <a:gd name="connsiteX764" fmla="*/ 884721 w 1090712"/>
              <a:gd name="connsiteY764" fmla="*/ 314096 h 895572"/>
              <a:gd name="connsiteX765" fmla="*/ 882820 w 1090712"/>
              <a:gd name="connsiteY765" fmla="*/ 315521 h 895572"/>
              <a:gd name="connsiteX766" fmla="*/ 881632 w 1090712"/>
              <a:gd name="connsiteY766" fmla="*/ 316947 h 895572"/>
              <a:gd name="connsiteX767" fmla="*/ 881157 w 1090712"/>
              <a:gd name="connsiteY767" fmla="*/ 318610 h 895572"/>
              <a:gd name="connsiteX768" fmla="*/ 872604 w 1090712"/>
              <a:gd name="connsiteY768" fmla="*/ 331915 h 895572"/>
              <a:gd name="connsiteX769" fmla="*/ 864288 w 1090712"/>
              <a:gd name="connsiteY769" fmla="*/ 346646 h 895572"/>
              <a:gd name="connsiteX770" fmla="*/ 856210 w 1090712"/>
              <a:gd name="connsiteY770" fmla="*/ 361376 h 895572"/>
              <a:gd name="connsiteX771" fmla="*/ 847656 w 1090712"/>
              <a:gd name="connsiteY771" fmla="*/ 374681 h 895572"/>
              <a:gd name="connsiteX772" fmla="*/ 841954 w 1090712"/>
              <a:gd name="connsiteY772" fmla="*/ 374681 h 895572"/>
              <a:gd name="connsiteX773" fmla="*/ 846468 w 1090712"/>
              <a:gd name="connsiteY773" fmla="*/ 357812 h 895572"/>
              <a:gd name="connsiteX774" fmla="*/ 850508 w 1090712"/>
              <a:gd name="connsiteY774" fmla="*/ 339518 h 895572"/>
              <a:gd name="connsiteX775" fmla="*/ 854784 w 1090712"/>
              <a:gd name="connsiteY775" fmla="*/ 319560 h 895572"/>
              <a:gd name="connsiteX776" fmla="*/ 858823 w 1090712"/>
              <a:gd name="connsiteY776" fmla="*/ 296514 h 895572"/>
              <a:gd name="connsiteX777" fmla="*/ 848132 w 1090712"/>
              <a:gd name="connsiteY777" fmla="*/ 303879 h 895572"/>
              <a:gd name="connsiteX778" fmla="*/ 840054 w 1090712"/>
              <a:gd name="connsiteY778" fmla="*/ 310294 h 895572"/>
              <a:gd name="connsiteX779" fmla="*/ 833163 w 1090712"/>
              <a:gd name="connsiteY779" fmla="*/ 316947 h 895572"/>
              <a:gd name="connsiteX780" fmla="*/ 825560 w 1090712"/>
              <a:gd name="connsiteY780" fmla="*/ 324550 h 895572"/>
              <a:gd name="connsiteX781" fmla="*/ 823185 w 1090712"/>
              <a:gd name="connsiteY781" fmla="*/ 326688 h 895572"/>
              <a:gd name="connsiteX782" fmla="*/ 821522 w 1090712"/>
              <a:gd name="connsiteY782" fmla="*/ 329301 h 895572"/>
              <a:gd name="connsiteX783" fmla="*/ 817007 w 1090712"/>
              <a:gd name="connsiteY783" fmla="*/ 335954 h 895572"/>
              <a:gd name="connsiteX784" fmla="*/ 812968 w 1090712"/>
              <a:gd name="connsiteY784" fmla="*/ 344032 h 895572"/>
              <a:gd name="connsiteX785" fmla="*/ 808929 w 1090712"/>
              <a:gd name="connsiteY785" fmla="*/ 352585 h 895572"/>
              <a:gd name="connsiteX786" fmla="*/ 809880 w 1090712"/>
              <a:gd name="connsiteY786" fmla="*/ 343557 h 895572"/>
              <a:gd name="connsiteX787" fmla="*/ 811305 w 1090712"/>
              <a:gd name="connsiteY787" fmla="*/ 335479 h 895572"/>
              <a:gd name="connsiteX788" fmla="*/ 812493 w 1090712"/>
              <a:gd name="connsiteY788" fmla="*/ 328826 h 895572"/>
              <a:gd name="connsiteX789" fmla="*/ 814394 w 1090712"/>
              <a:gd name="connsiteY789" fmla="*/ 323124 h 895572"/>
              <a:gd name="connsiteX790" fmla="*/ 816532 w 1090712"/>
              <a:gd name="connsiteY790" fmla="*/ 317659 h 895572"/>
              <a:gd name="connsiteX791" fmla="*/ 819146 w 1090712"/>
              <a:gd name="connsiteY791" fmla="*/ 313383 h 895572"/>
              <a:gd name="connsiteX792" fmla="*/ 822709 w 1090712"/>
              <a:gd name="connsiteY792" fmla="*/ 309344 h 895572"/>
              <a:gd name="connsiteX793" fmla="*/ 826748 w 1090712"/>
              <a:gd name="connsiteY793" fmla="*/ 306255 h 895572"/>
              <a:gd name="connsiteX794" fmla="*/ 832213 w 1090712"/>
              <a:gd name="connsiteY794" fmla="*/ 303166 h 895572"/>
              <a:gd name="connsiteX795" fmla="*/ 838390 w 1090712"/>
              <a:gd name="connsiteY795" fmla="*/ 300315 h 895572"/>
              <a:gd name="connsiteX796" fmla="*/ 845518 w 1090712"/>
              <a:gd name="connsiteY796" fmla="*/ 298177 h 895572"/>
              <a:gd name="connsiteX797" fmla="*/ 854071 w 1090712"/>
              <a:gd name="connsiteY797" fmla="*/ 295563 h 895572"/>
              <a:gd name="connsiteX798" fmla="*/ 875217 w 1090712"/>
              <a:gd name="connsiteY798" fmla="*/ 290574 h 895572"/>
              <a:gd name="connsiteX799" fmla="*/ 903253 w 1090712"/>
              <a:gd name="connsiteY799" fmla="*/ 285347 h 895572"/>
              <a:gd name="connsiteX800" fmla="*/ 886384 w 1090712"/>
              <a:gd name="connsiteY800" fmla="*/ 268478 h 895572"/>
              <a:gd name="connsiteX801" fmla="*/ 879731 w 1090712"/>
              <a:gd name="connsiteY801" fmla="*/ 270141 h 895572"/>
              <a:gd name="connsiteX802" fmla="*/ 873079 w 1090712"/>
              <a:gd name="connsiteY802" fmla="*/ 271091 h 895572"/>
              <a:gd name="connsiteX803" fmla="*/ 867376 w 1090712"/>
              <a:gd name="connsiteY803" fmla="*/ 271567 h 895572"/>
              <a:gd name="connsiteX804" fmla="*/ 862387 w 1090712"/>
              <a:gd name="connsiteY804" fmla="*/ 271091 h 895572"/>
              <a:gd name="connsiteX805" fmla="*/ 857398 w 1090712"/>
              <a:gd name="connsiteY805" fmla="*/ 269666 h 895572"/>
              <a:gd name="connsiteX806" fmla="*/ 853596 w 1090712"/>
              <a:gd name="connsiteY806" fmla="*/ 268003 h 895572"/>
              <a:gd name="connsiteX807" fmla="*/ 849557 w 1090712"/>
              <a:gd name="connsiteY807" fmla="*/ 265627 h 895572"/>
              <a:gd name="connsiteX808" fmla="*/ 846468 w 1090712"/>
              <a:gd name="connsiteY808" fmla="*/ 262538 h 895572"/>
              <a:gd name="connsiteX809" fmla="*/ 843380 w 1090712"/>
              <a:gd name="connsiteY809" fmla="*/ 259450 h 895572"/>
              <a:gd name="connsiteX810" fmla="*/ 840529 w 1090712"/>
              <a:gd name="connsiteY810" fmla="*/ 255411 h 895572"/>
              <a:gd name="connsiteX811" fmla="*/ 838390 w 1090712"/>
              <a:gd name="connsiteY811" fmla="*/ 251134 h 895572"/>
              <a:gd name="connsiteX812" fmla="*/ 836490 w 1090712"/>
              <a:gd name="connsiteY812" fmla="*/ 246620 h 895572"/>
              <a:gd name="connsiteX813" fmla="*/ 834827 w 1090712"/>
              <a:gd name="connsiteY813" fmla="*/ 241155 h 895572"/>
              <a:gd name="connsiteX814" fmla="*/ 833401 w 1090712"/>
              <a:gd name="connsiteY814" fmla="*/ 235453 h 895572"/>
              <a:gd name="connsiteX815" fmla="*/ 831263 w 1090712"/>
              <a:gd name="connsiteY815" fmla="*/ 223336 h 895572"/>
              <a:gd name="connsiteX816" fmla="*/ 897551 w 1090712"/>
              <a:gd name="connsiteY816" fmla="*/ 206942 h 895572"/>
              <a:gd name="connsiteX817" fmla="*/ 888997 w 1090712"/>
              <a:gd name="connsiteY817" fmla="*/ 194112 h 895572"/>
              <a:gd name="connsiteX818" fmla="*/ 880682 w 1090712"/>
              <a:gd name="connsiteY818" fmla="*/ 181282 h 895572"/>
              <a:gd name="connsiteX819" fmla="*/ 871416 w 1090712"/>
              <a:gd name="connsiteY819" fmla="*/ 168690 h 895572"/>
              <a:gd name="connsiteX820" fmla="*/ 866901 w 1090712"/>
              <a:gd name="connsiteY820" fmla="*/ 162988 h 895572"/>
              <a:gd name="connsiteX821" fmla="*/ 861437 w 1090712"/>
              <a:gd name="connsiteY821" fmla="*/ 157048 h 895572"/>
              <a:gd name="connsiteX822" fmla="*/ 856210 w 1090712"/>
              <a:gd name="connsiteY822" fmla="*/ 151821 h 895572"/>
              <a:gd name="connsiteX823" fmla="*/ 850745 w 1090712"/>
              <a:gd name="connsiteY823" fmla="*/ 146831 h 895572"/>
              <a:gd name="connsiteX824" fmla="*/ 844568 w 1090712"/>
              <a:gd name="connsiteY824" fmla="*/ 142555 h 895572"/>
              <a:gd name="connsiteX825" fmla="*/ 838390 w 1090712"/>
              <a:gd name="connsiteY825" fmla="*/ 138516 h 895572"/>
              <a:gd name="connsiteX826" fmla="*/ 831738 w 1090712"/>
              <a:gd name="connsiteY826" fmla="*/ 134952 h 895572"/>
              <a:gd name="connsiteX827" fmla="*/ 824610 w 1090712"/>
              <a:gd name="connsiteY827" fmla="*/ 132338 h 895572"/>
              <a:gd name="connsiteX828" fmla="*/ 817007 w 1090712"/>
              <a:gd name="connsiteY828" fmla="*/ 129963 h 895572"/>
              <a:gd name="connsiteX829" fmla="*/ 808929 w 1090712"/>
              <a:gd name="connsiteY829" fmla="*/ 128774 h 895572"/>
              <a:gd name="connsiteX830" fmla="*/ 806791 w 1090712"/>
              <a:gd name="connsiteY830" fmla="*/ 128299 h 895572"/>
              <a:gd name="connsiteX831" fmla="*/ 804652 w 1090712"/>
              <a:gd name="connsiteY831" fmla="*/ 127824 h 895572"/>
              <a:gd name="connsiteX832" fmla="*/ 802752 w 1090712"/>
              <a:gd name="connsiteY832" fmla="*/ 126399 h 895572"/>
              <a:gd name="connsiteX833" fmla="*/ 801089 w 1090712"/>
              <a:gd name="connsiteY833" fmla="*/ 125211 h 895572"/>
              <a:gd name="connsiteX834" fmla="*/ 799663 w 1090712"/>
              <a:gd name="connsiteY834" fmla="*/ 123310 h 895572"/>
              <a:gd name="connsiteX835" fmla="*/ 798713 w 1090712"/>
              <a:gd name="connsiteY835" fmla="*/ 121647 h 895572"/>
              <a:gd name="connsiteX836" fmla="*/ 798000 w 1090712"/>
              <a:gd name="connsiteY836" fmla="*/ 119271 h 895572"/>
              <a:gd name="connsiteX837" fmla="*/ 798000 w 1090712"/>
              <a:gd name="connsiteY837" fmla="*/ 117608 h 895572"/>
              <a:gd name="connsiteX838" fmla="*/ 785408 w 1090712"/>
              <a:gd name="connsiteY838" fmla="*/ 106916 h 895572"/>
              <a:gd name="connsiteX839" fmla="*/ 772578 w 1090712"/>
              <a:gd name="connsiteY839" fmla="*/ 95749 h 895572"/>
              <a:gd name="connsiteX840" fmla="*/ 747155 w 1090712"/>
              <a:gd name="connsiteY840" fmla="*/ 72703 h 895572"/>
              <a:gd name="connsiteX841" fmla="*/ 733850 w 1090712"/>
              <a:gd name="connsiteY841" fmla="*/ 61061 h 895572"/>
              <a:gd name="connsiteX842" fmla="*/ 720545 w 1090712"/>
              <a:gd name="connsiteY842" fmla="*/ 49894 h 895572"/>
              <a:gd name="connsiteX843" fmla="*/ 706765 w 1090712"/>
              <a:gd name="connsiteY843" fmla="*/ 38728 h 895572"/>
              <a:gd name="connsiteX844" fmla="*/ 692510 w 1090712"/>
              <a:gd name="connsiteY844" fmla="*/ 28036 h 895572"/>
              <a:gd name="connsiteX845" fmla="*/ 679442 w 1090712"/>
              <a:gd name="connsiteY845" fmla="*/ 21859 h 895572"/>
              <a:gd name="connsiteX846" fmla="*/ 666137 w 1090712"/>
              <a:gd name="connsiteY846" fmla="*/ 16632 h 895572"/>
              <a:gd name="connsiteX847" fmla="*/ 652832 w 1090712"/>
              <a:gd name="connsiteY847" fmla="*/ 11642 h 895572"/>
              <a:gd name="connsiteX848" fmla="*/ 639527 w 1090712"/>
              <a:gd name="connsiteY848" fmla="*/ 7603 h 895572"/>
              <a:gd name="connsiteX849" fmla="*/ 626222 w 1090712"/>
              <a:gd name="connsiteY849" fmla="*/ 4514 h 895572"/>
              <a:gd name="connsiteX850" fmla="*/ 612917 w 1090712"/>
              <a:gd name="connsiteY850" fmla="*/ 1901 h 895572"/>
              <a:gd name="connsiteX851" fmla="*/ 599374 w 1090712"/>
              <a:gd name="connsiteY851" fmla="*/ 475 h 89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Lst>
            <a:rect l="l" t="t" r="r" b="b"/>
            <a:pathLst>
              <a:path w="1090712" h="895572">
                <a:moveTo>
                  <a:pt x="603413" y="721327"/>
                </a:moveTo>
                <a:lnTo>
                  <a:pt x="578466" y="770746"/>
                </a:lnTo>
                <a:lnTo>
                  <a:pt x="553519" y="818264"/>
                </a:lnTo>
                <a:lnTo>
                  <a:pt x="528334" y="865069"/>
                </a:lnTo>
                <a:lnTo>
                  <a:pt x="511825" y="895572"/>
                </a:lnTo>
                <a:lnTo>
                  <a:pt x="624528" y="895572"/>
                </a:lnTo>
                <a:lnTo>
                  <a:pt x="624796" y="894768"/>
                </a:lnTo>
                <a:lnTo>
                  <a:pt x="625271" y="891679"/>
                </a:lnTo>
                <a:lnTo>
                  <a:pt x="625747" y="889066"/>
                </a:lnTo>
                <a:lnTo>
                  <a:pt x="625747" y="860555"/>
                </a:lnTo>
                <a:lnTo>
                  <a:pt x="624796" y="833945"/>
                </a:lnTo>
                <a:lnTo>
                  <a:pt x="624321" y="820877"/>
                </a:lnTo>
                <a:lnTo>
                  <a:pt x="623608" y="808047"/>
                </a:lnTo>
                <a:lnTo>
                  <a:pt x="621708" y="795218"/>
                </a:lnTo>
                <a:lnTo>
                  <a:pt x="620044" y="782625"/>
                </a:lnTo>
                <a:lnTo>
                  <a:pt x="616005" y="766707"/>
                </a:lnTo>
                <a:lnTo>
                  <a:pt x="611966" y="751976"/>
                </a:lnTo>
                <a:lnTo>
                  <a:pt x="607452" y="737245"/>
                </a:lnTo>
                <a:close/>
                <a:moveTo>
                  <a:pt x="698212" y="530778"/>
                </a:moveTo>
                <a:lnTo>
                  <a:pt x="693460" y="534818"/>
                </a:lnTo>
                <a:lnTo>
                  <a:pt x="688471" y="538857"/>
                </a:lnTo>
                <a:lnTo>
                  <a:pt x="678254" y="546935"/>
                </a:lnTo>
                <a:lnTo>
                  <a:pt x="669226" y="553587"/>
                </a:lnTo>
                <a:lnTo>
                  <a:pt x="663048" y="558814"/>
                </a:lnTo>
                <a:lnTo>
                  <a:pt x="663048" y="556676"/>
                </a:lnTo>
                <a:lnTo>
                  <a:pt x="663523" y="554538"/>
                </a:lnTo>
                <a:lnTo>
                  <a:pt x="665424" y="550498"/>
                </a:lnTo>
                <a:lnTo>
                  <a:pt x="668038" y="546459"/>
                </a:lnTo>
                <a:lnTo>
                  <a:pt x="671602" y="542420"/>
                </a:lnTo>
                <a:lnTo>
                  <a:pt x="676829" y="538857"/>
                </a:lnTo>
                <a:lnTo>
                  <a:pt x="682768" y="535768"/>
                </a:lnTo>
                <a:lnTo>
                  <a:pt x="689896" y="533154"/>
                </a:lnTo>
                <a:close/>
                <a:moveTo>
                  <a:pt x="654257" y="302216"/>
                </a:moveTo>
                <a:lnTo>
                  <a:pt x="651882" y="302691"/>
                </a:lnTo>
                <a:lnTo>
                  <a:pt x="649268" y="303166"/>
                </a:lnTo>
                <a:lnTo>
                  <a:pt x="647130" y="304354"/>
                </a:lnTo>
                <a:lnTo>
                  <a:pt x="644516" y="306255"/>
                </a:lnTo>
                <a:lnTo>
                  <a:pt x="642140" y="307918"/>
                </a:lnTo>
                <a:lnTo>
                  <a:pt x="640002" y="310294"/>
                </a:lnTo>
                <a:lnTo>
                  <a:pt x="638101" y="312432"/>
                </a:lnTo>
                <a:lnTo>
                  <a:pt x="636913" y="314571"/>
                </a:lnTo>
                <a:lnTo>
                  <a:pt x="635963" y="316946"/>
                </a:lnTo>
                <a:lnTo>
                  <a:pt x="635963" y="319085"/>
                </a:lnTo>
                <a:lnTo>
                  <a:pt x="636913" y="321223"/>
                </a:lnTo>
                <a:lnTo>
                  <a:pt x="637626" y="324074"/>
                </a:lnTo>
                <a:lnTo>
                  <a:pt x="639527" y="326688"/>
                </a:lnTo>
                <a:lnTo>
                  <a:pt x="643091" y="331677"/>
                </a:lnTo>
                <a:lnTo>
                  <a:pt x="647130" y="335954"/>
                </a:lnTo>
                <a:lnTo>
                  <a:pt x="655920" y="330727"/>
                </a:lnTo>
                <a:lnTo>
                  <a:pt x="663999" y="324787"/>
                </a:lnTo>
                <a:lnTo>
                  <a:pt x="679917" y="313383"/>
                </a:lnTo>
                <a:lnTo>
                  <a:pt x="676354" y="311007"/>
                </a:lnTo>
                <a:lnTo>
                  <a:pt x="672790" y="308393"/>
                </a:lnTo>
                <a:lnTo>
                  <a:pt x="668988" y="306730"/>
                </a:lnTo>
                <a:lnTo>
                  <a:pt x="664949" y="304829"/>
                </a:lnTo>
                <a:lnTo>
                  <a:pt x="660910" y="303641"/>
                </a:lnTo>
                <a:lnTo>
                  <a:pt x="657346" y="302691"/>
                </a:lnTo>
                <a:close/>
                <a:moveTo>
                  <a:pt x="696549" y="252322"/>
                </a:moveTo>
                <a:lnTo>
                  <a:pt x="696786" y="259925"/>
                </a:lnTo>
                <a:lnTo>
                  <a:pt x="698212" y="266102"/>
                </a:lnTo>
                <a:lnTo>
                  <a:pt x="700113" y="272042"/>
                </a:lnTo>
                <a:lnTo>
                  <a:pt x="701776" y="276794"/>
                </a:lnTo>
                <a:lnTo>
                  <a:pt x="704389" y="280833"/>
                </a:lnTo>
                <a:lnTo>
                  <a:pt x="707240" y="284397"/>
                </a:lnTo>
                <a:lnTo>
                  <a:pt x="710329" y="287010"/>
                </a:lnTo>
                <a:lnTo>
                  <a:pt x="713418" y="289624"/>
                </a:lnTo>
                <a:lnTo>
                  <a:pt x="716506" y="291524"/>
                </a:lnTo>
                <a:lnTo>
                  <a:pt x="719595" y="293187"/>
                </a:lnTo>
                <a:lnTo>
                  <a:pt x="725772" y="295088"/>
                </a:lnTo>
                <a:lnTo>
                  <a:pt x="731237" y="296514"/>
                </a:lnTo>
                <a:lnTo>
                  <a:pt x="734801" y="296751"/>
                </a:lnTo>
                <a:lnTo>
                  <a:pt x="722209" y="303879"/>
                </a:lnTo>
                <a:lnTo>
                  <a:pt x="710804" y="311007"/>
                </a:lnTo>
                <a:lnTo>
                  <a:pt x="688471" y="324787"/>
                </a:lnTo>
                <a:lnTo>
                  <a:pt x="667563" y="339043"/>
                </a:lnTo>
                <a:lnTo>
                  <a:pt x="646179" y="352823"/>
                </a:lnTo>
                <a:lnTo>
                  <a:pt x="620044" y="313383"/>
                </a:lnTo>
                <a:lnTo>
                  <a:pt x="617668" y="312432"/>
                </a:lnTo>
                <a:lnTo>
                  <a:pt x="615055" y="312432"/>
                </a:lnTo>
                <a:lnTo>
                  <a:pt x="612441" y="313383"/>
                </a:lnTo>
                <a:lnTo>
                  <a:pt x="609353" y="314095"/>
                </a:lnTo>
                <a:lnTo>
                  <a:pt x="602938" y="316946"/>
                </a:lnTo>
                <a:lnTo>
                  <a:pt x="599849" y="317659"/>
                </a:lnTo>
                <a:lnTo>
                  <a:pt x="596760" y="318610"/>
                </a:lnTo>
                <a:lnTo>
                  <a:pt x="607927" y="307205"/>
                </a:lnTo>
                <a:lnTo>
                  <a:pt x="618619" y="295088"/>
                </a:lnTo>
                <a:lnTo>
                  <a:pt x="623846" y="289386"/>
                </a:lnTo>
                <a:lnTo>
                  <a:pt x="629786" y="283921"/>
                </a:lnTo>
                <a:lnTo>
                  <a:pt x="635963" y="278694"/>
                </a:lnTo>
                <a:lnTo>
                  <a:pt x="642140" y="273705"/>
                </a:lnTo>
                <a:lnTo>
                  <a:pt x="648793" y="269191"/>
                </a:lnTo>
                <a:lnTo>
                  <a:pt x="655446" y="265627"/>
                </a:lnTo>
                <a:lnTo>
                  <a:pt x="662098" y="263013"/>
                </a:lnTo>
                <a:lnTo>
                  <a:pt x="668988" y="260400"/>
                </a:lnTo>
                <a:lnTo>
                  <a:pt x="682768" y="256361"/>
                </a:lnTo>
                <a:close/>
                <a:moveTo>
                  <a:pt x="1030602" y="200289"/>
                </a:moveTo>
                <a:lnTo>
                  <a:pt x="1027513" y="207892"/>
                </a:lnTo>
                <a:lnTo>
                  <a:pt x="1023949" y="214545"/>
                </a:lnTo>
                <a:lnTo>
                  <a:pt x="1019910" y="221197"/>
                </a:lnTo>
                <a:lnTo>
                  <a:pt x="1015396" y="226899"/>
                </a:lnTo>
                <a:lnTo>
                  <a:pt x="1011119" y="232839"/>
                </a:lnTo>
                <a:lnTo>
                  <a:pt x="1006130" y="237591"/>
                </a:lnTo>
                <a:lnTo>
                  <a:pt x="1001140" y="242105"/>
                </a:lnTo>
                <a:lnTo>
                  <a:pt x="996388" y="246144"/>
                </a:lnTo>
                <a:lnTo>
                  <a:pt x="990924" y="249708"/>
                </a:lnTo>
                <a:lnTo>
                  <a:pt x="985697" y="252797"/>
                </a:lnTo>
                <a:lnTo>
                  <a:pt x="980232" y="254935"/>
                </a:lnTo>
                <a:lnTo>
                  <a:pt x="975005" y="256836"/>
                </a:lnTo>
                <a:lnTo>
                  <a:pt x="969541" y="258262"/>
                </a:lnTo>
                <a:lnTo>
                  <a:pt x="963839" y="258499"/>
                </a:lnTo>
                <a:lnTo>
                  <a:pt x="958612" y="258499"/>
                </a:lnTo>
                <a:lnTo>
                  <a:pt x="953622" y="257786"/>
                </a:lnTo>
                <a:lnTo>
                  <a:pt x="970966" y="244006"/>
                </a:lnTo>
                <a:lnTo>
                  <a:pt x="990211" y="229275"/>
                </a:lnTo>
                <a:lnTo>
                  <a:pt x="1010169" y="214069"/>
                </a:lnTo>
                <a:lnTo>
                  <a:pt x="1020385" y="206942"/>
                </a:lnTo>
                <a:close/>
                <a:moveTo>
                  <a:pt x="389581" y="176768"/>
                </a:moveTo>
                <a:lnTo>
                  <a:pt x="397422" y="177243"/>
                </a:lnTo>
                <a:lnTo>
                  <a:pt x="414766" y="178906"/>
                </a:lnTo>
                <a:lnTo>
                  <a:pt x="405500" y="179856"/>
                </a:lnTo>
                <a:lnTo>
                  <a:pt x="396946" y="181995"/>
                </a:lnTo>
                <a:lnTo>
                  <a:pt x="389581" y="184371"/>
                </a:lnTo>
                <a:lnTo>
                  <a:pt x="381978" y="186984"/>
                </a:lnTo>
                <a:lnTo>
                  <a:pt x="375326" y="190548"/>
                </a:lnTo>
                <a:lnTo>
                  <a:pt x="368911" y="194112"/>
                </a:lnTo>
                <a:lnTo>
                  <a:pt x="363208" y="198626"/>
                </a:lnTo>
                <a:lnTo>
                  <a:pt x="357981" y="202903"/>
                </a:lnTo>
                <a:lnTo>
                  <a:pt x="352517" y="208367"/>
                </a:lnTo>
                <a:lnTo>
                  <a:pt x="348003" y="214070"/>
                </a:lnTo>
                <a:lnTo>
                  <a:pt x="343726" y="220247"/>
                </a:lnTo>
                <a:lnTo>
                  <a:pt x="339687" y="226662"/>
                </a:lnTo>
                <a:lnTo>
                  <a:pt x="335648" y="233790"/>
                </a:lnTo>
                <a:lnTo>
                  <a:pt x="332559" y="240917"/>
                </a:lnTo>
                <a:lnTo>
                  <a:pt x="328995" y="248758"/>
                </a:lnTo>
                <a:lnTo>
                  <a:pt x="325907" y="256836"/>
                </a:lnTo>
                <a:lnTo>
                  <a:pt x="325432" y="252797"/>
                </a:lnTo>
                <a:lnTo>
                  <a:pt x="324956" y="248283"/>
                </a:lnTo>
                <a:lnTo>
                  <a:pt x="323056" y="239492"/>
                </a:lnTo>
                <a:lnTo>
                  <a:pt x="320917" y="229275"/>
                </a:lnTo>
                <a:lnTo>
                  <a:pt x="320442" y="223811"/>
                </a:lnTo>
                <a:lnTo>
                  <a:pt x="319967" y="217633"/>
                </a:lnTo>
                <a:lnTo>
                  <a:pt x="314740" y="217633"/>
                </a:lnTo>
                <a:lnTo>
                  <a:pt x="302148" y="243056"/>
                </a:lnTo>
                <a:lnTo>
                  <a:pt x="289793" y="267528"/>
                </a:lnTo>
                <a:lnTo>
                  <a:pt x="277438" y="291049"/>
                </a:lnTo>
                <a:lnTo>
                  <a:pt x="264371" y="312907"/>
                </a:lnTo>
                <a:lnTo>
                  <a:pt x="267459" y="295088"/>
                </a:lnTo>
                <a:lnTo>
                  <a:pt x="271023" y="279170"/>
                </a:lnTo>
                <a:lnTo>
                  <a:pt x="274587" y="263964"/>
                </a:lnTo>
                <a:lnTo>
                  <a:pt x="279101" y="250183"/>
                </a:lnTo>
                <a:lnTo>
                  <a:pt x="284091" y="238066"/>
                </a:lnTo>
                <a:lnTo>
                  <a:pt x="289318" y="226900"/>
                </a:lnTo>
                <a:lnTo>
                  <a:pt x="292406" y="221673"/>
                </a:lnTo>
                <a:lnTo>
                  <a:pt x="295495" y="217158"/>
                </a:lnTo>
                <a:lnTo>
                  <a:pt x="298584" y="212406"/>
                </a:lnTo>
                <a:lnTo>
                  <a:pt x="302148" y="208367"/>
                </a:lnTo>
                <a:lnTo>
                  <a:pt x="305711" y="204328"/>
                </a:lnTo>
                <a:lnTo>
                  <a:pt x="309275" y="200765"/>
                </a:lnTo>
                <a:lnTo>
                  <a:pt x="313314" y="197201"/>
                </a:lnTo>
                <a:lnTo>
                  <a:pt x="317354" y="194112"/>
                </a:lnTo>
                <a:lnTo>
                  <a:pt x="321868" y="191498"/>
                </a:lnTo>
                <a:lnTo>
                  <a:pt x="326382" y="188647"/>
                </a:lnTo>
                <a:lnTo>
                  <a:pt x="330659" y="186509"/>
                </a:lnTo>
                <a:lnTo>
                  <a:pt x="335648" y="184371"/>
                </a:lnTo>
                <a:lnTo>
                  <a:pt x="340637" y="182470"/>
                </a:lnTo>
                <a:lnTo>
                  <a:pt x="345864" y="181282"/>
                </a:lnTo>
                <a:lnTo>
                  <a:pt x="351091" y="179856"/>
                </a:lnTo>
                <a:lnTo>
                  <a:pt x="357031" y="178431"/>
                </a:lnTo>
                <a:lnTo>
                  <a:pt x="368911" y="177243"/>
                </a:lnTo>
                <a:lnTo>
                  <a:pt x="381978" y="176768"/>
                </a:lnTo>
                <a:close/>
                <a:moveTo>
                  <a:pt x="609353" y="174629"/>
                </a:moveTo>
                <a:lnTo>
                  <a:pt x="602463" y="180807"/>
                </a:lnTo>
                <a:lnTo>
                  <a:pt x="596285" y="187459"/>
                </a:lnTo>
                <a:lnTo>
                  <a:pt x="583931" y="201715"/>
                </a:lnTo>
                <a:lnTo>
                  <a:pt x="571101" y="215495"/>
                </a:lnTo>
                <a:lnTo>
                  <a:pt x="564686" y="222148"/>
                </a:lnTo>
                <a:lnTo>
                  <a:pt x="558508" y="228325"/>
                </a:lnTo>
                <a:lnTo>
                  <a:pt x="557558" y="223335"/>
                </a:lnTo>
                <a:lnTo>
                  <a:pt x="557083" y="219059"/>
                </a:lnTo>
                <a:lnTo>
                  <a:pt x="557083" y="215020"/>
                </a:lnTo>
                <a:lnTo>
                  <a:pt x="557558" y="210981"/>
                </a:lnTo>
                <a:lnTo>
                  <a:pt x="558508" y="207417"/>
                </a:lnTo>
                <a:lnTo>
                  <a:pt x="560409" y="203853"/>
                </a:lnTo>
                <a:lnTo>
                  <a:pt x="562072" y="200764"/>
                </a:lnTo>
                <a:lnTo>
                  <a:pt x="564686" y="197676"/>
                </a:lnTo>
                <a:lnTo>
                  <a:pt x="567774" y="194587"/>
                </a:lnTo>
                <a:lnTo>
                  <a:pt x="571813" y="191973"/>
                </a:lnTo>
                <a:lnTo>
                  <a:pt x="576328" y="188647"/>
                </a:lnTo>
                <a:lnTo>
                  <a:pt x="581317" y="186034"/>
                </a:lnTo>
                <a:lnTo>
                  <a:pt x="587019" y="183420"/>
                </a:lnTo>
                <a:lnTo>
                  <a:pt x="593672" y="180332"/>
                </a:lnTo>
                <a:close/>
                <a:moveTo>
                  <a:pt x="586544" y="0"/>
                </a:moveTo>
                <a:lnTo>
                  <a:pt x="570150" y="2851"/>
                </a:lnTo>
                <a:lnTo>
                  <a:pt x="553519" y="5940"/>
                </a:lnTo>
                <a:lnTo>
                  <a:pt x="536650" y="10454"/>
                </a:lnTo>
                <a:lnTo>
                  <a:pt x="520256" y="14731"/>
                </a:lnTo>
                <a:lnTo>
                  <a:pt x="486993" y="24472"/>
                </a:lnTo>
                <a:lnTo>
                  <a:pt x="469887" y="28986"/>
                </a:lnTo>
                <a:lnTo>
                  <a:pt x="453493" y="33500"/>
                </a:lnTo>
                <a:lnTo>
                  <a:pt x="438762" y="40153"/>
                </a:lnTo>
                <a:lnTo>
                  <a:pt x="424507" y="47281"/>
                </a:lnTo>
                <a:lnTo>
                  <a:pt x="417379" y="51320"/>
                </a:lnTo>
                <a:lnTo>
                  <a:pt x="410727" y="55834"/>
                </a:lnTo>
                <a:lnTo>
                  <a:pt x="403599" y="60111"/>
                </a:lnTo>
                <a:lnTo>
                  <a:pt x="397422" y="65100"/>
                </a:lnTo>
                <a:lnTo>
                  <a:pt x="390769" y="69852"/>
                </a:lnTo>
                <a:lnTo>
                  <a:pt x="384592" y="75792"/>
                </a:lnTo>
                <a:lnTo>
                  <a:pt x="378889" y="81494"/>
                </a:lnTo>
                <a:lnTo>
                  <a:pt x="372950" y="87671"/>
                </a:lnTo>
                <a:lnTo>
                  <a:pt x="367723" y="94324"/>
                </a:lnTo>
                <a:lnTo>
                  <a:pt x="362733" y="101452"/>
                </a:lnTo>
                <a:lnTo>
                  <a:pt x="357981" y="109055"/>
                </a:lnTo>
                <a:lnTo>
                  <a:pt x="353467" y="117608"/>
                </a:lnTo>
                <a:lnTo>
                  <a:pt x="409064" y="117608"/>
                </a:lnTo>
                <a:lnTo>
                  <a:pt x="406925" y="119271"/>
                </a:lnTo>
                <a:lnTo>
                  <a:pt x="404074" y="121647"/>
                </a:lnTo>
                <a:lnTo>
                  <a:pt x="400510" y="123310"/>
                </a:lnTo>
                <a:lnTo>
                  <a:pt x="397422" y="125211"/>
                </a:lnTo>
                <a:lnTo>
                  <a:pt x="393383" y="126399"/>
                </a:lnTo>
                <a:lnTo>
                  <a:pt x="389581" y="127824"/>
                </a:lnTo>
                <a:lnTo>
                  <a:pt x="385542" y="128299"/>
                </a:lnTo>
                <a:lnTo>
                  <a:pt x="381503" y="128774"/>
                </a:lnTo>
                <a:lnTo>
                  <a:pt x="375326" y="130438"/>
                </a:lnTo>
                <a:lnTo>
                  <a:pt x="368435" y="131863"/>
                </a:lnTo>
                <a:lnTo>
                  <a:pt x="361783" y="133051"/>
                </a:lnTo>
                <a:lnTo>
                  <a:pt x="355606" y="134001"/>
                </a:lnTo>
                <a:lnTo>
                  <a:pt x="342300" y="135427"/>
                </a:lnTo>
                <a:lnTo>
                  <a:pt x="329471" y="137090"/>
                </a:lnTo>
                <a:lnTo>
                  <a:pt x="322818" y="138040"/>
                </a:lnTo>
                <a:lnTo>
                  <a:pt x="316403" y="139704"/>
                </a:lnTo>
                <a:lnTo>
                  <a:pt x="310226" y="141604"/>
                </a:lnTo>
                <a:lnTo>
                  <a:pt x="304048" y="144218"/>
                </a:lnTo>
                <a:lnTo>
                  <a:pt x="298346" y="147307"/>
                </a:lnTo>
                <a:lnTo>
                  <a:pt x="292406" y="151346"/>
                </a:lnTo>
                <a:lnTo>
                  <a:pt x="286704" y="156335"/>
                </a:lnTo>
                <a:lnTo>
                  <a:pt x="281240" y="162037"/>
                </a:lnTo>
                <a:lnTo>
                  <a:pt x="262232" y="182945"/>
                </a:lnTo>
                <a:lnTo>
                  <a:pt x="242987" y="203378"/>
                </a:lnTo>
                <a:lnTo>
                  <a:pt x="203547" y="244006"/>
                </a:lnTo>
                <a:lnTo>
                  <a:pt x="183827" y="264439"/>
                </a:lnTo>
                <a:lnTo>
                  <a:pt x="164345" y="285822"/>
                </a:lnTo>
                <a:lnTo>
                  <a:pt x="144862" y="307443"/>
                </a:lnTo>
                <a:lnTo>
                  <a:pt x="126093" y="329777"/>
                </a:lnTo>
                <a:lnTo>
                  <a:pt x="122054" y="335004"/>
                </a:lnTo>
                <a:lnTo>
                  <a:pt x="118015" y="340468"/>
                </a:lnTo>
                <a:lnTo>
                  <a:pt x="110887" y="352110"/>
                </a:lnTo>
                <a:lnTo>
                  <a:pt x="104709" y="363514"/>
                </a:lnTo>
                <a:lnTo>
                  <a:pt x="99007" y="375156"/>
                </a:lnTo>
                <a:lnTo>
                  <a:pt x="87840" y="400103"/>
                </a:lnTo>
                <a:lnTo>
                  <a:pt x="82138" y="412458"/>
                </a:lnTo>
                <a:lnTo>
                  <a:pt x="75723" y="425050"/>
                </a:lnTo>
                <a:lnTo>
                  <a:pt x="75723" y="429802"/>
                </a:lnTo>
                <a:lnTo>
                  <a:pt x="76674" y="436217"/>
                </a:lnTo>
                <a:lnTo>
                  <a:pt x="77149" y="439306"/>
                </a:lnTo>
                <a:lnTo>
                  <a:pt x="78574" y="442395"/>
                </a:lnTo>
                <a:lnTo>
                  <a:pt x="79762" y="445008"/>
                </a:lnTo>
                <a:lnTo>
                  <a:pt x="81663" y="447147"/>
                </a:lnTo>
                <a:lnTo>
                  <a:pt x="94018" y="468055"/>
                </a:lnTo>
                <a:lnTo>
                  <a:pt x="106848" y="488963"/>
                </a:lnTo>
                <a:lnTo>
                  <a:pt x="113975" y="499654"/>
                </a:lnTo>
                <a:lnTo>
                  <a:pt x="121103" y="510346"/>
                </a:lnTo>
                <a:lnTo>
                  <a:pt x="128706" y="520562"/>
                </a:lnTo>
                <a:lnTo>
                  <a:pt x="137259" y="531254"/>
                </a:lnTo>
                <a:lnTo>
                  <a:pt x="149614" y="514385"/>
                </a:lnTo>
                <a:lnTo>
                  <a:pt x="162206" y="498466"/>
                </a:lnTo>
                <a:lnTo>
                  <a:pt x="174561" y="483260"/>
                </a:lnTo>
                <a:lnTo>
                  <a:pt x="180739" y="476133"/>
                </a:lnTo>
                <a:lnTo>
                  <a:pt x="186916" y="469480"/>
                </a:lnTo>
                <a:lnTo>
                  <a:pt x="182639" y="482310"/>
                </a:lnTo>
                <a:lnTo>
                  <a:pt x="178125" y="495615"/>
                </a:lnTo>
                <a:lnTo>
                  <a:pt x="172423" y="509871"/>
                </a:lnTo>
                <a:lnTo>
                  <a:pt x="164820" y="525552"/>
                </a:lnTo>
                <a:lnTo>
                  <a:pt x="156267" y="538381"/>
                </a:lnTo>
                <a:lnTo>
                  <a:pt x="152703" y="544559"/>
                </a:lnTo>
                <a:lnTo>
                  <a:pt x="148664" y="551449"/>
                </a:lnTo>
                <a:lnTo>
                  <a:pt x="145100" y="558339"/>
                </a:lnTo>
                <a:lnTo>
                  <a:pt x="142011" y="565467"/>
                </a:lnTo>
                <a:lnTo>
                  <a:pt x="139398" y="573070"/>
                </a:lnTo>
                <a:lnTo>
                  <a:pt x="137259" y="581623"/>
                </a:lnTo>
                <a:lnTo>
                  <a:pt x="136309" y="583761"/>
                </a:lnTo>
                <a:lnTo>
                  <a:pt x="135359" y="586137"/>
                </a:lnTo>
                <a:lnTo>
                  <a:pt x="134883" y="590889"/>
                </a:lnTo>
                <a:lnTo>
                  <a:pt x="134883" y="595879"/>
                </a:lnTo>
                <a:lnTo>
                  <a:pt x="135359" y="601106"/>
                </a:lnTo>
                <a:lnTo>
                  <a:pt x="136784" y="606095"/>
                </a:lnTo>
                <a:lnTo>
                  <a:pt x="138447" y="611322"/>
                </a:lnTo>
                <a:lnTo>
                  <a:pt x="140348" y="616311"/>
                </a:lnTo>
                <a:lnTo>
                  <a:pt x="142486" y="620826"/>
                </a:lnTo>
                <a:lnTo>
                  <a:pt x="148664" y="629616"/>
                </a:lnTo>
                <a:lnTo>
                  <a:pt x="155554" y="637219"/>
                </a:lnTo>
                <a:lnTo>
                  <a:pt x="162444" y="643872"/>
                </a:lnTo>
                <a:lnTo>
                  <a:pt x="169572" y="649099"/>
                </a:lnTo>
                <a:lnTo>
                  <a:pt x="177175" y="653613"/>
                </a:lnTo>
                <a:lnTo>
                  <a:pt x="184778" y="657177"/>
                </a:lnTo>
                <a:lnTo>
                  <a:pt x="192856" y="659553"/>
                </a:lnTo>
                <a:lnTo>
                  <a:pt x="200934" y="661216"/>
                </a:lnTo>
                <a:lnTo>
                  <a:pt x="209250" y="661691"/>
                </a:lnTo>
                <a:lnTo>
                  <a:pt x="218278" y="661691"/>
                </a:lnTo>
                <a:lnTo>
                  <a:pt x="227069" y="660266"/>
                </a:lnTo>
                <a:lnTo>
                  <a:pt x="236335" y="658603"/>
                </a:lnTo>
                <a:lnTo>
                  <a:pt x="245838" y="655514"/>
                </a:lnTo>
                <a:lnTo>
                  <a:pt x="255580" y="652425"/>
                </a:lnTo>
                <a:lnTo>
                  <a:pt x="265321" y="647911"/>
                </a:lnTo>
                <a:lnTo>
                  <a:pt x="276013" y="642922"/>
                </a:lnTo>
                <a:lnTo>
                  <a:pt x="288367" y="635081"/>
                </a:lnTo>
                <a:lnTo>
                  <a:pt x="301910" y="627478"/>
                </a:lnTo>
                <a:lnTo>
                  <a:pt x="315215" y="620350"/>
                </a:lnTo>
                <a:lnTo>
                  <a:pt x="329471" y="613698"/>
                </a:lnTo>
                <a:lnTo>
                  <a:pt x="343726" y="607283"/>
                </a:lnTo>
                <a:lnTo>
                  <a:pt x="357981" y="602056"/>
                </a:lnTo>
                <a:lnTo>
                  <a:pt x="371999" y="597066"/>
                </a:lnTo>
                <a:lnTo>
                  <a:pt x="386730" y="592790"/>
                </a:lnTo>
                <a:lnTo>
                  <a:pt x="394808" y="590414"/>
                </a:lnTo>
                <a:lnTo>
                  <a:pt x="402411" y="587325"/>
                </a:lnTo>
                <a:lnTo>
                  <a:pt x="409064" y="583761"/>
                </a:lnTo>
                <a:lnTo>
                  <a:pt x="411677" y="581623"/>
                </a:lnTo>
                <a:lnTo>
                  <a:pt x="414766" y="579247"/>
                </a:lnTo>
                <a:lnTo>
                  <a:pt x="417142" y="577109"/>
                </a:lnTo>
                <a:lnTo>
                  <a:pt x="419280" y="574495"/>
                </a:lnTo>
                <a:lnTo>
                  <a:pt x="420943" y="571407"/>
                </a:lnTo>
                <a:lnTo>
                  <a:pt x="422844" y="568318"/>
                </a:lnTo>
                <a:lnTo>
                  <a:pt x="424269" y="565229"/>
                </a:lnTo>
                <a:lnTo>
                  <a:pt x="424982" y="561665"/>
                </a:lnTo>
                <a:lnTo>
                  <a:pt x="425457" y="557626"/>
                </a:lnTo>
                <a:lnTo>
                  <a:pt x="425932" y="553587"/>
                </a:lnTo>
                <a:lnTo>
                  <a:pt x="425932" y="413884"/>
                </a:lnTo>
                <a:lnTo>
                  <a:pt x="425932" y="285347"/>
                </a:lnTo>
                <a:lnTo>
                  <a:pt x="429496" y="300078"/>
                </a:lnTo>
                <a:lnTo>
                  <a:pt x="433060" y="314096"/>
                </a:lnTo>
                <a:lnTo>
                  <a:pt x="436149" y="328826"/>
                </a:lnTo>
                <a:lnTo>
                  <a:pt x="438762" y="343082"/>
                </a:lnTo>
                <a:lnTo>
                  <a:pt x="443752" y="370642"/>
                </a:lnTo>
                <a:lnTo>
                  <a:pt x="447791" y="397015"/>
                </a:lnTo>
                <a:lnTo>
                  <a:pt x="451830" y="421962"/>
                </a:lnTo>
                <a:lnTo>
                  <a:pt x="454919" y="446434"/>
                </a:lnTo>
                <a:lnTo>
                  <a:pt x="456106" y="458313"/>
                </a:lnTo>
                <a:lnTo>
                  <a:pt x="457057" y="470430"/>
                </a:lnTo>
                <a:lnTo>
                  <a:pt x="457532" y="482310"/>
                </a:lnTo>
                <a:lnTo>
                  <a:pt x="457532" y="493952"/>
                </a:lnTo>
                <a:lnTo>
                  <a:pt x="457532" y="506069"/>
                </a:lnTo>
                <a:lnTo>
                  <a:pt x="456582" y="517473"/>
                </a:lnTo>
                <a:lnTo>
                  <a:pt x="455869" y="529116"/>
                </a:lnTo>
                <a:lnTo>
                  <a:pt x="453968" y="540757"/>
                </a:lnTo>
                <a:lnTo>
                  <a:pt x="452305" y="552162"/>
                </a:lnTo>
                <a:lnTo>
                  <a:pt x="449454" y="563804"/>
                </a:lnTo>
                <a:lnTo>
                  <a:pt x="446365" y="575446"/>
                </a:lnTo>
                <a:lnTo>
                  <a:pt x="442326" y="586850"/>
                </a:lnTo>
                <a:lnTo>
                  <a:pt x="440188" y="591364"/>
                </a:lnTo>
                <a:lnTo>
                  <a:pt x="437574" y="595403"/>
                </a:lnTo>
                <a:lnTo>
                  <a:pt x="434486" y="598967"/>
                </a:lnTo>
                <a:lnTo>
                  <a:pt x="431397" y="602531"/>
                </a:lnTo>
                <a:lnTo>
                  <a:pt x="428071" y="605145"/>
                </a:lnTo>
                <a:lnTo>
                  <a:pt x="424982" y="607283"/>
                </a:lnTo>
                <a:lnTo>
                  <a:pt x="422369" y="608708"/>
                </a:lnTo>
                <a:lnTo>
                  <a:pt x="420230" y="609659"/>
                </a:lnTo>
                <a:lnTo>
                  <a:pt x="410727" y="610847"/>
                </a:lnTo>
                <a:lnTo>
                  <a:pt x="401461" y="612748"/>
                </a:lnTo>
                <a:lnTo>
                  <a:pt x="392670" y="614886"/>
                </a:lnTo>
                <a:lnTo>
                  <a:pt x="383641" y="617262"/>
                </a:lnTo>
                <a:lnTo>
                  <a:pt x="374850" y="620350"/>
                </a:lnTo>
                <a:lnTo>
                  <a:pt x="365822" y="623914"/>
                </a:lnTo>
                <a:lnTo>
                  <a:pt x="348478" y="631042"/>
                </a:lnTo>
                <a:lnTo>
                  <a:pt x="331609" y="639358"/>
                </a:lnTo>
                <a:lnTo>
                  <a:pt x="314740" y="647911"/>
                </a:lnTo>
                <a:lnTo>
                  <a:pt x="281240" y="665255"/>
                </a:lnTo>
                <a:lnTo>
                  <a:pt x="274587" y="669294"/>
                </a:lnTo>
                <a:lnTo>
                  <a:pt x="267935" y="672858"/>
                </a:lnTo>
                <a:lnTo>
                  <a:pt x="261757" y="675947"/>
                </a:lnTo>
                <a:lnTo>
                  <a:pt x="255105" y="679035"/>
                </a:lnTo>
                <a:lnTo>
                  <a:pt x="248927" y="681174"/>
                </a:lnTo>
                <a:lnTo>
                  <a:pt x="242987" y="683075"/>
                </a:lnTo>
                <a:lnTo>
                  <a:pt x="236810" y="684738"/>
                </a:lnTo>
                <a:lnTo>
                  <a:pt x="231108" y="686163"/>
                </a:lnTo>
                <a:lnTo>
                  <a:pt x="225406" y="687114"/>
                </a:lnTo>
                <a:lnTo>
                  <a:pt x="219466" y="687589"/>
                </a:lnTo>
                <a:lnTo>
                  <a:pt x="213764" y="687589"/>
                </a:lnTo>
                <a:lnTo>
                  <a:pt x="208299" y="687589"/>
                </a:lnTo>
                <a:lnTo>
                  <a:pt x="203072" y="687114"/>
                </a:lnTo>
                <a:lnTo>
                  <a:pt x="197607" y="686163"/>
                </a:lnTo>
                <a:lnTo>
                  <a:pt x="192380" y="684738"/>
                </a:lnTo>
                <a:lnTo>
                  <a:pt x="186916" y="683550"/>
                </a:lnTo>
                <a:lnTo>
                  <a:pt x="181689" y="681649"/>
                </a:lnTo>
                <a:lnTo>
                  <a:pt x="176699" y="679986"/>
                </a:lnTo>
                <a:lnTo>
                  <a:pt x="171472" y="677610"/>
                </a:lnTo>
                <a:lnTo>
                  <a:pt x="166483" y="674996"/>
                </a:lnTo>
                <a:lnTo>
                  <a:pt x="156742" y="669294"/>
                </a:lnTo>
                <a:lnTo>
                  <a:pt x="147001" y="662167"/>
                </a:lnTo>
                <a:lnTo>
                  <a:pt x="137735" y="654564"/>
                </a:lnTo>
                <a:lnTo>
                  <a:pt x="127756" y="645535"/>
                </a:lnTo>
                <a:lnTo>
                  <a:pt x="118490" y="636269"/>
                </a:lnTo>
                <a:lnTo>
                  <a:pt x="109224" y="626053"/>
                </a:lnTo>
                <a:lnTo>
                  <a:pt x="107323" y="623914"/>
                </a:lnTo>
                <a:lnTo>
                  <a:pt x="106135" y="620350"/>
                </a:lnTo>
                <a:lnTo>
                  <a:pt x="105185" y="616311"/>
                </a:lnTo>
                <a:lnTo>
                  <a:pt x="105185" y="612272"/>
                </a:lnTo>
                <a:lnTo>
                  <a:pt x="105185" y="608233"/>
                </a:lnTo>
                <a:lnTo>
                  <a:pt x="106135" y="604194"/>
                </a:lnTo>
                <a:lnTo>
                  <a:pt x="107323" y="600630"/>
                </a:lnTo>
                <a:lnTo>
                  <a:pt x="109224" y="598017"/>
                </a:lnTo>
                <a:lnTo>
                  <a:pt x="111837" y="591840"/>
                </a:lnTo>
                <a:lnTo>
                  <a:pt x="113975" y="586137"/>
                </a:lnTo>
                <a:lnTo>
                  <a:pt x="115401" y="579722"/>
                </a:lnTo>
                <a:lnTo>
                  <a:pt x="115876" y="574020"/>
                </a:lnTo>
                <a:lnTo>
                  <a:pt x="115876" y="568318"/>
                </a:lnTo>
                <a:lnTo>
                  <a:pt x="115401" y="562378"/>
                </a:lnTo>
                <a:lnTo>
                  <a:pt x="114451" y="557151"/>
                </a:lnTo>
                <a:lnTo>
                  <a:pt x="112788" y="551449"/>
                </a:lnTo>
                <a:lnTo>
                  <a:pt x="110412" y="545984"/>
                </a:lnTo>
                <a:lnTo>
                  <a:pt x="108273" y="540757"/>
                </a:lnTo>
                <a:lnTo>
                  <a:pt x="105185" y="535293"/>
                </a:lnTo>
                <a:lnTo>
                  <a:pt x="102096" y="530066"/>
                </a:lnTo>
                <a:lnTo>
                  <a:pt x="94968" y="519374"/>
                </a:lnTo>
                <a:lnTo>
                  <a:pt x="86890" y="508683"/>
                </a:lnTo>
                <a:lnTo>
                  <a:pt x="78812" y="497991"/>
                </a:lnTo>
                <a:lnTo>
                  <a:pt x="70972" y="486824"/>
                </a:lnTo>
                <a:lnTo>
                  <a:pt x="67408" y="481122"/>
                </a:lnTo>
                <a:lnTo>
                  <a:pt x="64319" y="474707"/>
                </a:lnTo>
                <a:lnTo>
                  <a:pt x="61230" y="469005"/>
                </a:lnTo>
                <a:lnTo>
                  <a:pt x="58379" y="462828"/>
                </a:lnTo>
                <a:lnTo>
                  <a:pt x="56716" y="456175"/>
                </a:lnTo>
                <a:lnTo>
                  <a:pt x="54815" y="449998"/>
                </a:lnTo>
                <a:lnTo>
                  <a:pt x="54103" y="443345"/>
                </a:lnTo>
                <a:lnTo>
                  <a:pt x="53627" y="436455"/>
                </a:lnTo>
                <a:lnTo>
                  <a:pt x="53627" y="429327"/>
                </a:lnTo>
                <a:lnTo>
                  <a:pt x="54815" y="422675"/>
                </a:lnTo>
                <a:lnTo>
                  <a:pt x="56716" y="415547"/>
                </a:lnTo>
                <a:lnTo>
                  <a:pt x="59330" y="408182"/>
                </a:lnTo>
                <a:lnTo>
                  <a:pt x="60280" y="403192"/>
                </a:lnTo>
                <a:lnTo>
                  <a:pt x="61943" y="397965"/>
                </a:lnTo>
                <a:lnTo>
                  <a:pt x="65507" y="387986"/>
                </a:lnTo>
                <a:lnTo>
                  <a:pt x="69546" y="378720"/>
                </a:lnTo>
                <a:lnTo>
                  <a:pt x="74535" y="369929"/>
                </a:lnTo>
                <a:lnTo>
                  <a:pt x="79762" y="360901"/>
                </a:lnTo>
                <a:lnTo>
                  <a:pt x="85940" y="352585"/>
                </a:lnTo>
                <a:lnTo>
                  <a:pt x="98057" y="335479"/>
                </a:lnTo>
                <a:lnTo>
                  <a:pt x="102571" y="328113"/>
                </a:lnTo>
                <a:lnTo>
                  <a:pt x="106848" y="320986"/>
                </a:lnTo>
                <a:lnTo>
                  <a:pt x="116827" y="307205"/>
                </a:lnTo>
                <a:lnTo>
                  <a:pt x="127043" y="293188"/>
                </a:lnTo>
                <a:lnTo>
                  <a:pt x="137735" y="279407"/>
                </a:lnTo>
                <a:lnTo>
                  <a:pt x="159831" y="251847"/>
                </a:lnTo>
                <a:lnTo>
                  <a:pt x="170522" y="238066"/>
                </a:lnTo>
                <a:lnTo>
                  <a:pt x="181214" y="223336"/>
                </a:lnTo>
                <a:lnTo>
                  <a:pt x="164820" y="223336"/>
                </a:lnTo>
                <a:lnTo>
                  <a:pt x="137972" y="230226"/>
                </a:lnTo>
                <a:lnTo>
                  <a:pt x="125142" y="233790"/>
                </a:lnTo>
                <a:lnTo>
                  <a:pt x="112788" y="237591"/>
                </a:lnTo>
                <a:lnTo>
                  <a:pt x="100195" y="241630"/>
                </a:lnTo>
                <a:lnTo>
                  <a:pt x="87840" y="245669"/>
                </a:lnTo>
                <a:lnTo>
                  <a:pt x="75723" y="250183"/>
                </a:lnTo>
                <a:lnTo>
                  <a:pt x="64319" y="254935"/>
                </a:lnTo>
                <a:lnTo>
                  <a:pt x="52677" y="260400"/>
                </a:lnTo>
                <a:lnTo>
                  <a:pt x="41035" y="265627"/>
                </a:lnTo>
                <a:lnTo>
                  <a:pt x="29868" y="271567"/>
                </a:lnTo>
                <a:lnTo>
                  <a:pt x="18939" y="277744"/>
                </a:lnTo>
                <a:lnTo>
                  <a:pt x="7772" y="284397"/>
                </a:lnTo>
                <a:lnTo>
                  <a:pt x="0" y="289924"/>
                </a:lnTo>
                <a:lnTo>
                  <a:pt x="0" y="895572"/>
                </a:lnTo>
                <a:lnTo>
                  <a:pt x="125653" y="895572"/>
                </a:lnTo>
                <a:lnTo>
                  <a:pt x="127756" y="892155"/>
                </a:lnTo>
                <a:lnTo>
                  <a:pt x="131082" y="885502"/>
                </a:lnTo>
                <a:lnTo>
                  <a:pt x="133696" y="878374"/>
                </a:lnTo>
                <a:lnTo>
                  <a:pt x="135834" y="871722"/>
                </a:lnTo>
                <a:lnTo>
                  <a:pt x="137735" y="864594"/>
                </a:lnTo>
                <a:lnTo>
                  <a:pt x="138923" y="857466"/>
                </a:lnTo>
                <a:lnTo>
                  <a:pt x="140348" y="850339"/>
                </a:lnTo>
                <a:lnTo>
                  <a:pt x="141298" y="843211"/>
                </a:lnTo>
                <a:lnTo>
                  <a:pt x="142011" y="828955"/>
                </a:lnTo>
                <a:lnTo>
                  <a:pt x="142486" y="814225"/>
                </a:lnTo>
                <a:lnTo>
                  <a:pt x="142486" y="799494"/>
                </a:lnTo>
                <a:lnTo>
                  <a:pt x="142486" y="782625"/>
                </a:lnTo>
                <a:lnTo>
                  <a:pt x="142486" y="771458"/>
                </a:lnTo>
                <a:lnTo>
                  <a:pt x="143912" y="778586"/>
                </a:lnTo>
                <a:lnTo>
                  <a:pt x="145100" y="784526"/>
                </a:lnTo>
                <a:lnTo>
                  <a:pt x="147476" y="789753"/>
                </a:lnTo>
                <a:lnTo>
                  <a:pt x="149614" y="794267"/>
                </a:lnTo>
                <a:lnTo>
                  <a:pt x="152228" y="797831"/>
                </a:lnTo>
                <a:lnTo>
                  <a:pt x="155554" y="801395"/>
                </a:lnTo>
                <a:lnTo>
                  <a:pt x="158643" y="803533"/>
                </a:lnTo>
                <a:lnTo>
                  <a:pt x="162206" y="805909"/>
                </a:lnTo>
                <a:lnTo>
                  <a:pt x="165770" y="807572"/>
                </a:lnTo>
                <a:lnTo>
                  <a:pt x="169572" y="808523"/>
                </a:lnTo>
                <a:lnTo>
                  <a:pt x="174086" y="809473"/>
                </a:lnTo>
                <a:lnTo>
                  <a:pt x="178600" y="810186"/>
                </a:lnTo>
                <a:lnTo>
                  <a:pt x="187866" y="810661"/>
                </a:lnTo>
                <a:lnTo>
                  <a:pt x="198083" y="810661"/>
                </a:lnTo>
                <a:lnTo>
                  <a:pt x="236810" y="810661"/>
                </a:lnTo>
                <a:lnTo>
                  <a:pt x="249640" y="811136"/>
                </a:lnTo>
                <a:lnTo>
                  <a:pt x="263183" y="811611"/>
                </a:lnTo>
                <a:lnTo>
                  <a:pt x="270310" y="811611"/>
                </a:lnTo>
                <a:lnTo>
                  <a:pt x="276963" y="811136"/>
                </a:lnTo>
                <a:lnTo>
                  <a:pt x="283140" y="810186"/>
                </a:lnTo>
                <a:lnTo>
                  <a:pt x="289793" y="808523"/>
                </a:lnTo>
                <a:lnTo>
                  <a:pt x="295495" y="806147"/>
                </a:lnTo>
                <a:lnTo>
                  <a:pt x="301435" y="803058"/>
                </a:lnTo>
                <a:lnTo>
                  <a:pt x="304524" y="801395"/>
                </a:lnTo>
                <a:lnTo>
                  <a:pt x="307137" y="799256"/>
                </a:lnTo>
                <a:lnTo>
                  <a:pt x="309275" y="796881"/>
                </a:lnTo>
                <a:lnTo>
                  <a:pt x="312126" y="794267"/>
                </a:lnTo>
                <a:lnTo>
                  <a:pt x="314265" y="791178"/>
                </a:lnTo>
                <a:lnTo>
                  <a:pt x="316403" y="788090"/>
                </a:lnTo>
                <a:lnTo>
                  <a:pt x="318304" y="784051"/>
                </a:lnTo>
                <a:lnTo>
                  <a:pt x="319967" y="780012"/>
                </a:lnTo>
                <a:lnTo>
                  <a:pt x="321868" y="775973"/>
                </a:lnTo>
                <a:lnTo>
                  <a:pt x="323056" y="771221"/>
                </a:lnTo>
                <a:lnTo>
                  <a:pt x="324481" y="765756"/>
                </a:lnTo>
                <a:lnTo>
                  <a:pt x="325907" y="760529"/>
                </a:lnTo>
                <a:lnTo>
                  <a:pt x="325907" y="827530"/>
                </a:lnTo>
                <a:lnTo>
                  <a:pt x="310226" y="835608"/>
                </a:lnTo>
                <a:lnTo>
                  <a:pt x="295970" y="843686"/>
                </a:lnTo>
                <a:lnTo>
                  <a:pt x="282665" y="850339"/>
                </a:lnTo>
                <a:lnTo>
                  <a:pt x="276488" y="852952"/>
                </a:lnTo>
                <a:lnTo>
                  <a:pt x="270310" y="855565"/>
                </a:lnTo>
                <a:lnTo>
                  <a:pt x="266271" y="857942"/>
                </a:lnTo>
                <a:lnTo>
                  <a:pt x="262708" y="860080"/>
                </a:lnTo>
                <a:lnTo>
                  <a:pt x="259619" y="862693"/>
                </a:lnTo>
                <a:lnTo>
                  <a:pt x="256768" y="865544"/>
                </a:lnTo>
                <a:lnTo>
                  <a:pt x="254154" y="868633"/>
                </a:lnTo>
                <a:lnTo>
                  <a:pt x="252491" y="871722"/>
                </a:lnTo>
                <a:lnTo>
                  <a:pt x="250590" y="874810"/>
                </a:lnTo>
                <a:lnTo>
                  <a:pt x="249402" y="877899"/>
                </a:lnTo>
                <a:lnTo>
                  <a:pt x="248452" y="880988"/>
                </a:lnTo>
                <a:lnTo>
                  <a:pt x="247977" y="884076"/>
                </a:lnTo>
                <a:lnTo>
                  <a:pt x="247977" y="887165"/>
                </a:lnTo>
                <a:lnTo>
                  <a:pt x="248452" y="890016"/>
                </a:lnTo>
                <a:lnTo>
                  <a:pt x="249402" y="893105"/>
                </a:lnTo>
                <a:lnTo>
                  <a:pt x="250075" y="895572"/>
                </a:lnTo>
                <a:lnTo>
                  <a:pt x="474750" y="895572"/>
                </a:lnTo>
                <a:lnTo>
                  <a:pt x="475827" y="894768"/>
                </a:lnTo>
                <a:lnTo>
                  <a:pt x="486993" y="882889"/>
                </a:lnTo>
                <a:lnTo>
                  <a:pt x="497210" y="870296"/>
                </a:lnTo>
                <a:lnTo>
                  <a:pt x="506951" y="857942"/>
                </a:lnTo>
                <a:lnTo>
                  <a:pt x="515742" y="844636"/>
                </a:lnTo>
                <a:lnTo>
                  <a:pt x="523820" y="831094"/>
                </a:lnTo>
                <a:lnTo>
                  <a:pt x="531898" y="816838"/>
                </a:lnTo>
                <a:lnTo>
                  <a:pt x="539026" y="802583"/>
                </a:lnTo>
                <a:lnTo>
                  <a:pt x="545678" y="788565"/>
                </a:lnTo>
                <a:lnTo>
                  <a:pt x="552331" y="773359"/>
                </a:lnTo>
                <a:lnTo>
                  <a:pt x="558033" y="758628"/>
                </a:lnTo>
                <a:lnTo>
                  <a:pt x="563498" y="743185"/>
                </a:lnTo>
                <a:lnTo>
                  <a:pt x="568725" y="727979"/>
                </a:lnTo>
                <a:lnTo>
                  <a:pt x="573714" y="712298"/>
                </a:lnTo>
                <a:lnTo>
                  <a:pt x="577991" y="696855"/>
                </a:lnTo>
                <a:lnTo>
                  <a:pt x="586544" y="665255"/>
                </a:lnTo>
                <a:lnTo>
                  <a:pt x="586069" y="663117"/>
                </a:lnTo>
                <a:lnTo>
                  <a:pt x="584881" y="660266"/>
                </a:lnTo>
                <a:lnTo>
                  <a:pt x="582980" y="657177"/>
                </a:lnTo>
                <a:lnTo>
                  <a:pt x="580367" y="654088"/>
                </a:lnTo>
                <a:lnTo>
                  <a:pt x="574902" y="647911"/>
                </a:lnTo>
                <a:lnTo>
                  <a:pt x="570150" y="642922"/>
                </a:lnTo>
                <a:lnTo>
                  <a:pt x="565636" y="636744"/>
                </a:lnTo>
                <a:lnTo>
                  <a:pt x="560647" y="631517"/>
                </a:lnTo>
                <a:lnTo>
                  <a:pt x="555420" y="626053"/>
                </a:lnTo>
                <a:lnTo>
                  <a:pt x="550193" y="621301"/>
                </a:lnTo>
                <a:lnTo>
                  <a:pt x="544253" y="616787"/>
                </a:lnTo>
                <a:lnTo>
                  <a:pt x="538075" y="612272"/>
                </a:lnTo>
                <a:lnTo>
                  <a:pt x="525721" y="603719"/>
                </a:lnTo>
                <a:lnTo>
                  <a:pt x="563023" y="619875"/>
                </a:lnTo>
                <a:lnTo>
                  <a:pt x="581317" y="628191"/>
                </a:lnTo>
                <a:lnTo>
                  <a:pt x="599374" y="636744"/>
                </a:lnTo>
                <a:lnTo>
                  <a:pt x="607927" y="641259"/>
                </a:lnTo>
                <a:lnTo>
                  <a:pt x="616718" y="646010"/>
                </a:lnTo>
                <a:lnTo>
                  <a:pt x="625271" y="651000"/>
                </a:lnTo>
                <a:lnTo>
                  <a:pt x="633349" y="656227"/>
                </a:lnTo>
                <a:lnTo>
                  <a:pt x="641665" y="662167"/>
                </a:lnTo>
                <a:lnTo>
                  <a:pt x="649268" y="668344"/>
                </a:lnTo>
                <a:lnTo>
                  <a:pt x="656871" y="674996"/>
                </a:lnTo>
                <a:lnTo>
                  <a:pt x="664474" y="682124"/>
                </a:lnTo>
                <a:lnTo>
                  <a:pt x="668988" y="686163"/>
                </a:lnTo>
                <a:lnTo>
                  <a:pt x="672790" y="690202"/>
                </a:lnTo>
                <a:lnTo>
                  <a:pt x="677304" y="693291"/>
                </a:lnTo>
                <a:lnTo>
                  <a:pt x="682293" y="696855"/>
                </a:lnTo>
                <a:lnTo>
                  <a:pt x="686570" y="699468"/>
                </a:lnTo>
                <a:lnTo>
                  <a:pt x="691559" y="702082"/>
                </a:lnTo>
                <a:lnTo>
                  <a:pt x="696549" y="703983"/>
                </a:lnTo>
                <a:lnTo>
                  <a:pt x="701300" y="705646"/>
                </a:lnTo>
                <a:lnTo>
                  <a:pt x="706290" y="707071"/>
                </a:lnTo>
                <a:lnTo>
                  <a:pt x="711042" y="708497"/>
                </a:lnTo>
                <a:lnTo>
                  <a:pt x="716506" y="708734"/>
                </a:lnTo>
                <a:lnTo>
                  <a:pt x="721258" y="708734"/>
                </a:lnTo>
                <a:lnTo>
                  <a:pt x="726723" y="708497"/>
                </a:lnTo>
                <a:lnTo>
                  <a:pt x="731712" y="707546"/>
                </a:lnTo>
                <a:lnTo>
                  <a:pt x="736939" y="706121"/>
                </a:lnTo>
                <a:lnTo>
                  <a:pt x="742166" y="704458"/>
                </a:lnTo>
                <a:lnTo>
                  <a:pt x="749294" y="702082"/>
                </a:lnTo>
                <a:lnTo>
                  <a:pt x="756184" y="699468"/>
                </a:lnTo>
                <a:lnTo>
                  <a:pt x="762361" y="696380"/>
                </a:lnTo>
                <a:lnTo>
                  <a:pt x="768063" y="692816"/>
                </a:lnTo>
                <a:lnTo>
                  <a:pt x="773528" y="689252"/>
                </a:lnTo>
                <a:lnTo>
                  <a:pt x="778755" y="684738"/>
                </a:lnTo>
                <a:lnTo>
                  <a:pt x="783269" y="680461"/>
                </a:lnTo>
                <a:lnTo>
                  <a:pt x="787308" y="674996"/>
                </a:lnTo>
                <a:lnTo>
                  <a:pt x="791110" y="669769"/>
                </a:lnTo>
                <a:lnTo>
                  <a:pt x="794436" y="663830"/>
                </a:lnTo>
                <a:lnTo>
                  <a:pt x="797050" y="657652"/>
                </a:lnTo>
                <a:lnTo>
                  <a:pt x="799188" y="651000"/>
                </a:lnTo>
                <a:lnTo>
                  <a:pt x="801089" y="643872"/>
                </a:lnTo>
                <a:lnTo>
                  <a:pt x="802277" y="636744"/>
                </a:lnTo>
                <a:lnTo>
                  <a:pt x="803227" y="628666"/>
                </a:lnTo>
                <a:lnTo>
                  <a:pt x="803227" y="620826"/>
                </a:lnTo>
                <a:lnTo>
                  <a:pt x="801089" y="622489"/>
                </a:lnTo>
                <a:lnTo>
                  <a:pt x="798238" y="623914"/>
                </a:lnTo>
                <a:lnTo>
                  <a:pt x="793011" y="626053"/>
                </a:lnTo>
                <a:lnTo>
                  <a:pt x="790397" y="627478"/>
                </a:lnTo>
                <a:lnTo>
                  <a:pt x="788496" y="628191"/>
                </a:lnTo>
                <a:lnTo>
                  <a:pt x="787308" y="630092"/>
                </a:lnTo>
                <a:lnTo>
                  <a:pt x="786833" y="631755"/>
                </a:lnTo>
                <a:lnTo>
                  <a:pt x="785408" y="635794"/>
                </a:lnTo>
                <a:lnTo>
                  <a:pt x="784220" y="639833"/>
                </a:lnTo>
                <a:lnTo>
                  <a:pt x="780656" y="646485"/>
                </a:lnTo>
                <a:lnTo>
                  <a:pt x="776617" y="653138"/>
                </a:lnTo>
                <a:lnTo>
                  <a:pt x="772103" y="659078"/>
                </a:lnTo>
                <a:lnTo>
                  <a:pt x="762361" y="670007"/>
                </a:lnTo>
                <a:lnTo>
                  <a:pt x="757847" y="675947"/>
                </a:lnTo>
                <a:lnTo>
                  <a:pt x="753333" y="682124"/>
                </a:lnTo>
                <a:lnTo>
                  <a:pt x="750244" y="684738"/>
                </a:lnTo>
                <a:lnTo>
                  <a:pt x="747155" y="687589"/>
                </a:lnTo>
                <a:lnTo>
                  <a:pt x="744067" y="689252"/>
                </a:lnTo>
                <a:lnTo>
                  <a:pt x="740978" y="690915"/>
                </a:lnTo>
                <a:lnTo>
                  <a:pt x="737890" y="691865"/>
                </a:lnTo>
                <a:lnTo>
                  <a:pt x="734801" y="692816"/>
                </a:lnTo>
                <a:lnTo>
                  <a:pt x="731950" y="693291"/>
                </a:lnTo>
                <a:lnTo>
                  <a:pt x="728861" y="693291"/>
                </a:lnTo>
                <a:lnTo>
                  <a:pt x="723634" y="692816"/>
                </a:lnTo>
                <a:lnTo>
                  <a:pt x="718169" y="691390"/>
                </a:lnTo>
                <a:lnTo>
                  <a:pt x="713418" y="689727"/>
                </a:lnTo>
                <a:lnTo>
                  <a:pt x="708903" y="687826"/>
                </a:lnTo>
                <a:lnTo>
                  <a:pt x="706765" y="687589"/>
                </a:lnTo>
                <a:lnTo>
                  <a:pt x="704864" y="687114"/>
                </a:lnTo>
                <a:lnTo>
                  <a:pt x="703201" y="686163"/>
                </a:lnTo>
                <a:lnTo>
                  <a:pt x="701776" y="684738"/>
                </a:lnTo>
                <a:lnTo>
                  <a:pt x="698687" y="681649"/>
                </a:lnTo>
                <a:lnTo>
                  <a:pt x="696549" y="678085"/>
                </a:lnTo>
                <a:lnTo>
                  <a:pt x="694648" y="673571"/>
                </a:lnTo>
                <a:lnTo>
                  <a:pt x="693460" y="668819"/>
                </a:lnTo>
                <a:lnTo>
                  <a:pt x="692510" y="664305"/>
                </a:lnTo>
                <a:lnTo>
                  <a:pt x="692510" y="659790"/>
                </a:lnTo>
                <a:lnTo>
                  <a:pt x="692510" y="647436"/>
                </a:lnTo>
                <a:lnTo>
                  <a:pt x="693460" y="635319"/>
                </a:lnTo>
                <a:lnTo>
                  <a:pt x="694173" y="624389"/>
                </a:lnTo>
                <a:lnTo>
                  <a:pt x="695598" y="612748"/>
                </a:lnTo>
                <a:lnTo>
                  <a:pt x="699162" y="591364"/>
                </a:lnTo>
                <a:lnTo>
                  <a:pt x="703676" y="570456"/>
                </a:lnTo>
                <a:lnTo>
                  <a:pt x="720070" y="574971"/>
                </a:lnTo>
                <a:lnTo>
                  <a:pt x="736939" y="579247"/>
                </a:lnTo>
                <a:lnTo>
                  <a:pt x="770677" y="589226"/>
                </a:lnTo>
                <a:lnTo>
                  <a:pt x="788021" y="593503"/>
                </a:lnTo>
                <a:lnTo>
                  <a:pt x="805365" y="597542"/>
                </a:lnTo>
                <a:lnTo>
                  <a:pt x="823660" y="601106"/>
                </a:lnTo>
                <a:lnTo>
                  <a:pt x="841954" y="603719"/>
                </a:lnTo>
                <a:lnTo>
                  <a:pt x="861437" y="606570"/>
                </a:lnTo>
                <a:lnTo>
                  <a:pt x="880682" y="608233"/>
                </a:lnTo>
                <a:lnTo>
                  <a:pt x="889948" y="608708"/>
                </a:lnTo>
                <a:lnTo>
                  <a:pt x="898976" y="608708"/>
                </a:lnTo>
                <a:lnTo>
                  <a:pt x="908242" y="608708"/>
                </a:lnTo>
                <a:lnTo>
                  <a:pt x="916795" y="608233"/>
                </a:lnTo>
                <a:lnTo>
                  <a:pt x="925586" y="607283"/>
                </a:lnTo>
                <a:lnTo>
                  <a:pt x="934140" y="606095"/>
                </a:lnTo>
                <a:lnTo>
                  <a:pt x="942455" y="604669"/>
                </a:lnTo>
                <a:lnTo>
                  <a:pt x="950533" y="603006"/>
                </a:lnTo>
                <a:lnTo>
                  <a:pt x="958611" y="600630"/>
                </a:lnTo>
                <a:lnTo>
                  <a:pt x="966452" y="598017"/>
                </a:lnTo>
                <a:lnTo>
                  <a:pt x="974055" y="595403"/>
                </a:lnTo>
                <a:lnTo>
                  <a:pt x="981658" y="591840"/>
                </a:lnTo>
                <a:lnTo>
                  <a:pt x="989261" y="588276"/>
                </a:lnTo>
                <a:lnTo>
                  <a:pt x="996388" y="584237"/>
                </a:lnTo>
                <a:lnTo>
                  <a:pt x="1003041" y="579247"/>
                </a:lnTo>
                <a:lnTo>
                  <a:pt x="1009694" y="574495"/>
                </a:lnTo>
                <a:lnTo>
                  <a:pt x="1016346" y="569031"/>
                </a:lnTo>
                <a:lnTo>
                  <a:pt x="1022998" y="562853"/>
                </a:lnTo>
                <a:lnTo>
                  <a:pt x="1029176" y="556676"/>
                </a:lnTo>
                <a:lnTo>
                  <a:pt x="1035116" y="549548"/>
                </a:lnTo>
                <a:lnTo>
                  <a:pt x="1040818" y="541945"/>
                </a:lnTo>
                <a:lnTo>
                  <a:pt x="1046520" y="534342"/>
                </a:lnTo>
                <a:lnTo>
                  <a:pt x="1051985" y="526027"/>
                </a:lnTo>
                <a:lnTo>
                  <a:pt x="1056737" y="516523"/>
                </a:lnTo>
                <a:lnTo>
                  <a:pt x="1061726" y="507257"/>
                </a:lnTo>
                <a:lnTo>
                  <a:pt x="1066715" y="497041"/>
                </a:lnTo>
                <a:lnTo>
                  <a:pt x="1070992" y="486349"/>
                </a:lnTo>
                <a:lnTo>
                  <a:pt x="1075506" y="475182"/>
                </a:lnTo>
                <a:lnTo>
                  <a:pt x="1079070" y="462828"/>
                </a:lnTo>
                <a:lnTo>
                  <a:pt x="1082634" y="449998"/>
                </a:lnTo>
                <a:lnTo>
                  <a:pt x="1084772" y="437405"/>
                </a:lnTo>
                <a:lnTo>
                  <a:pt x="1087148" y="425050"/>
                </a:lnTo>
                <a:lnTo>
                  <a:pt x="1088811" y="411983"/>
                </a:lnTo>
                <a:lnTo>
                  <a:pt x="1089762" y="399628"/>
                </a:lnTo>
                <a:lnTo>
                  <a:pt x="1090712" y="386798"/>
                </a:lnTo>
                <a:lnTo>
                  <a:pt x="1090712" y="373731"/>
                </a:lnTo>
                <a:lnTo>
                  <a:pt x="1090712" y="360901"/>
                </a:lnTo>
                <a:lnTo>
                  <a:pt x="1089762" y="348071"/>
                </a:lnTo>
                <a:lnTo>
                  <a:pt x="1088811" y="335004"/>
                </a:lnTo>
                <a:lnTo>
                  <a:pt x="1088099" y="321698"/>
                </a:lnTo>
                <a:lnTo>
                  <a:pt x="1084772" y="295563"/>
                </a:lnTo>
                <a:lnTo>
                  <a:pt x="1080971" y="268478"/>
                </a:lnTo>
                <a:lnTo>
                  <a:pt x="1078595" y="258262"/>
                </a:lnTo>
                <a:lnTo>
                  <a:pt x="1075981" y="248283"/>
                </a:lnTo>
                <a:lnTo>
                  <a:pt x="1072417" y="238542"/>
                </a:lnTo>
                <a:lnTo>
                  <a:pt x="1069329" y="229275"/>
                </a:lnTo>
                <a:lnTo>
                  <a:pt x="1061251" y="210031"/>
                </a:lnTo>
                <a:lnTo>
                  <a:pt x="1053173" y="190073"/>
                </a:lnTo>
                <a:lnTo>
                  <a:pt x="1051034" y="186034"/>
                </a:lnTo>
                <a:lnTo>
                  <a:pt x="1048896" y="182470"/>
                </a:lnTo>
                <a:lnTo>
                  <a:pt x="1046045" y="179381"/>
                </a:lnTo>
                <a:lnTo>
                  <a:pt x="1043906" y="176768"/>
                </a:lnTo>
                <a:lnTo>
                  <a:pt x="1041293" y="174630"/>
                </a:lnTo>
                <a:lnTo>
                  <a:pt x="1038680" y="172729"/>
                </a:lnTo>
                <a:lnTo>
                  <a:pt x="1035828" y="171303"/>
                </a:lnTo>
                <a:lnTo>
                  <a:pt x="1032740" y="170591"/>
                </a:lnTo>
                <a:lnTo>
                  <a:pt x="1030126" y="170591"/>
                </a:lnTo>
                <a:lnTo>
                  <a:pt x="1027038" y="170591"/>
                </a:lnTo>
                <a:lnTo>
                  <a:pt x="1024424" y="171303"/>
                </a:lnTo>
                <a:lnTo>
                  <a:pt x="1021335" y="172729"/>
                </a:lnTo>
                <a:lnTo>
                  <a:pt x="1018247" y="174867"/>
                </a:lnTo>
                <a:lnTo>
                  <a:pt x="1014920" y="177718"/>
                </a:lnTo>
                <a:lnTo>
                  <a:pt x="1011832" y="180807"/>
                </a:lnTo>
                <a:lnTo>
                  <a:pt x="1008743" y="184846"/>
                </a:lnTo>
                <a:lnTo>
                  <a:pt x="991874" y="201240"/>
                </a:lnTo>
                <a:lnTo>
                  <a:pt x="983321" y="209318"/>
                </a:lnTo>
                <a:lnTo>
                  <a:pt x="974530" y="216683"/>
                </a:lnTo>
                <a:lnTo>
                  <a:pt x="965739" y="223811"/>
                </a:lnTo>
                <a:lnTo>
                  <a:pt x="956236" y="230226"/>
                </a:lnTo>
                <a:lnTo>
                  <a:pt x="946494" y="235928"/>
                </a:lnTo>
                <a:lnTo>
                  <a:pt x="941505" y="238066"/>
                </a:lnTo>
                <a:lnTo>
                  <a:pt x="936753" y="240442"/>
                </a:lnTo>
                <a:lnTo>
                  <a:pt x="932239" y="242581"/>
                </a:lnTo>
                <a:lnTo>
                  <a:pt x="928675" y="245669"/>
                </a:lnTo>
                <a:lnTo>
                  <a:pt x="925111" y="249233"/>
                </a:lnTo>
                <a:lnTo>
                  <a:pt x="922022" y="252797"/>
                </a:lnTo>
                <a:lnTo>
                  <a:pt x="919884" y="257311"/>
                </a:lnTo>
                <a:lnTo>
                  <a:pt x="918934" y="259925"/>
                </a:lnTo>
                <a:lnTo>
                  <a:pt x="918459" y="262538"/>
                </a:lnTo>
                <a:lnTo>
                  <a:pt x="918459" y="265389"/>
                </a:lnTo>
                <a:lnTo>
                  <a:pt x="918459" y="268003"/>
                </a:lnTo>
                <a:lnTo>
                  <a:pt x="918934" y="271091"/>
                </a:lnTo>
                <a:lnTo>
                  <a:pt x="919884" y="274180"/>
                </a:lnTo>
                <a:lnTo>
                  <a:pt x="921547" y="282258"/>
                </a:lnTo>
                <a:lnTo>
                  <a:pt x="922973" y="290574"/>
                </a:lnTo>
                <a:lnTo>
                  <a:pt x="923923" y="299127"/>
                </a:lnTo>
                <a:lnTo>
                  <a:pt x="924161" y="307443"/>
                </a:lnTo>
                <a:lnTo>
                  <a:pt x="924161" y="315996"/>
                </a:lnTo>
                <a:lnTo>
                  <a:pt x="923923" y="324550"/>
                </a:lnTo>
                <a:lnTo>
                  <a:pt x="922973" y="332865"/>
                </a:lnTo>
                <a:lnTo>
                  <a:pt x="922022" y="340943"/>
                </a:lnTo>
                <a:lnTo>
                  <a:pt x="920597" y="349259"/>
                </a:lnTo>
                <a:lnTo>
                  <a:pt x="918934" y="357812"/>
                </a:lnTo>
                <a:lnTo>
                  <a:pt x="914420" y="374681"/>
                </a:lnTo>
                <a:lnTo>
                  <a:pt x="909192" y="391075"/>
                </a:lnTo>
                <a:lnTo>
                  <a:pt x="903253" y="408182"/>
                </a:lnTo>
                <a:lnTo>
                  <a:pt x="903253" y="397965"/>
                </a:lnTo>
                <a:lnTo>
                  <a:pt x="904203" y="387274"/>
                </a:lnTo>
                <a:lnTo>
                  <a:pt x="906104" y="367078"/>
                </a:lnTo>
                <a:lnTo>
                  <a:pt x="907767" y="347596"/>
                </a:lnTo>
                <a:lnTo>
                  <a:pt x="908717" y="338567"/>
                </a:lnTo>
                <a:lnTo>
                  <a:pt x="908717" y="329777"/>
                </a:lnTo>
                <a:lnTo>
                  <a:pt x="908717" y="325738"/>
                </a:lnTo>
                <a:lnTo>
                  <a:pt x="907767" y="322649"/>
                </a:lnTo>
                <a:lnTo>
                  <a:pt x="906817" y="319560"/>
                </a:lnTo>
                <a:lnTo>
                  <a:pt x="905154" y="316471"/>
                </a:lnTo>
                <a:lnTo>
                  <a:pt x="903728" y="314096"/>
                </a:lnTo>
                <a:lnTo>
                  <a:pt x="901590" y="311957"/>
                </a:lnTo>
                <a:lnTo>
                  <a:pt x="897551" y="307443"/>
                </a:lnTo>
                <a:lnTo>
                  <a:pt x="895412" y="309344"/>
                </a:lnTo>
                <a:lnTo>
                  <a:pt x="892561" y="310769"/>
                </a:lnTo>
                <a:lnTo>
                  <a:pt x="887334" y="313383"/>
                </a:lnTo>
                <a:lnTo>
                  <a:pt x="884721" y="314096"/>
                </a:lnTo>
                <a:lnTo>
                  <a:pt x="882820" y="315521"/>
                </a:lnTo>
                <a:lnTo>
                  <a:pt x="881632" y="316947"/>
                </a:lnTo>
                <a:lnTo>
                  <a:pt x="881157" y="318610"/>
                </a:lnTo>
                <a:lnTo>
                  <a:pt x="872604" y="331915"/>
                </a:lnTo>
                <a:lnTo>
                  <a:pt x="864288" y="346646"/>
                </a:lnTo>
                <a:lnTo>
                  <a:pt x="856210" y="361376"/>
                </a:lnTo>
                <a:lnTo>
                  <a:pt x="847656" y="374681"/>
                </a:lnTo>
                <a:lnTo>
                  <a:pt x="841954" y="374681"/>
                </a:lnTo>
                <a:lnTo>
                  <a:pt x="846468" y="357812"/>
                </a:lnTo>
                <a:lnTo>
                  <a:pt x="850508" y="339518"/>
                </a:lnTo>
                <a:lnTo>
                  <a:pt x="854784" y="319560"/>
                </a:lnTo>
                <a:lnTo>
                  <a:pt x="858823" y="296514"/>
                </a:lnTo>
                <a:lnTo>
                  <a:pt x="848132" y="303879"/>
                </a:lnTo>
                <a:lnTo>
                  <a:pt x="840054" y="310294"/>
                </a:lnTo>
                <a:lnTo>
                  <a:pt x="833163" y="316947"/>
                </a:lnTo>
                <a:lnTo>
                  <a:pt x="825560" y="324550"/>
                </a:lnTo>
                <a:lnTo>
                  <a:pt x="823185" y="326688"/>
                </a:lnTo>
                <a:lnTo>
                  <a:pt x="821522" y="329301"/>
                </a:lnTo>
                <a:lnTo>
                  <a:pt x="817007" y="335954"/>
                </a:lnTo>
                <a:lnTo>
                  <a:pt x="812968" y="344032"/>
                </a:lnTo>
                <a:lnTo>
                  <a:pt x="808929" y="352585"/>
                </a:lnTo>
                <a:lnTo>
                  <a:pt x="809880" y="343557"/>
                </a:lnTo>
                <a:lnTo>
                  <a:pt x="811305" y="335479"/>
                </a:lnTo>
                <a:lnTo>
                  <a:pt x="812493" y="328826"/>
                </a:lnTo>
                <a:lnTo>
                  <a:pt x="814394" y="323124"/>
                </a:lnTo>
                <a:lnTo>
                  <a:pt x="816532" y="317659"/>
                </a:lnTo>
                <a:lnTo>
                  <a:pt x="819146" y="313383"/>
                </a:lnTo>
                <a:lnTo>
                  <a:pt x="822709" y="309344"/>
                </a:lnTo>
                <a:lnTo>
                  <a:pt x="826748" y="306255"/>
                </a:lnTo>
                <a:lnTo>
                  <a:pt x="832213" y="303166"/>
                </a:lnTo>
                <a:lnTo>
                  <a:pt x="838390" y="300315"/>
                </a:lnTo>
                <a:lnTo>
                  <a:pt x="845518" y="298177"/>
                </a:lnTo>
                <a:lnTo>
                  <a:pt x="854071" y="295563"/>
                </a:lnTo>
                <a:lnTo>
                  <a:pt x="875217" y="290574"/>
                </a:lnTo>
                <a:lnTo>
                  <a:pt x="903253" y="285347"/>
                </a:lnTo>
                <a:lnTo>
                  <a:pt x="886384" y="268478"/>
                </a:lnTo>
                <a:lnTo>
                  <a:pt x="879731" y="270141"/>
                </a:lnTo>
                <a:lnTo>
                  <a:pt x="873079" y="271091"/>
                </a:lnTo>
                <a:lnTo>
                  <a:pt x="867376" y="271567"/>
                </a:lnTo>
                <a:lnTo>
                  <a:pt x="862387" y="271091"/>
                </a:lnTo>
                <a:lnTo>
                  <a:pt x="857398" y="269666"/>
                </a:lnTo>
                <a:lnTo>
                  <a:pt x="853596" y="268003"/>
                </a:lnTo>
                <a:lnTo>
                  <a:pt x="849557" y="265627"/>
                </a:lnTo>
                <a:lnTo>
                  <a:pt x="846468" y="262538"/>
                </a:lnTo>
                <a:lnTo>
                  <a:pt x="843380" y="259450"/>
                </a:lnTo>
                <a:lnTo>
                  <a:pt x="840529" y="255411"/>
                </a:lnTo>
                <a:lnTo>
                  <a:pt x="838390" y="251134"/>
                </a:lnTo>
                <a:lnTo>
                  <a:pt x="836490" y="246620"/>
                </a:lnTo>
                <a:lnTo>
                  <a:pt x="834827" y="241155"/>
                </a:lnTo>
                <a:lnTo>
                  <a:pt x="833401" y="235453"/>
                </a:lnTo>
                <a:lnTo>
                  <a:pt x="831263" y="223336"/>
                </a:lnTo>
                <a:lnTo>
                  <a:pt x="897551" y="206942"/>
                </a:lnTo>
                <a:lnTo>
                  <a:pt x="888997" y="194112"/>
                </a:lnTo>
                <a:lnTo>
                  <a:pt x="880682" y="181282"/>
                </a:lnTo>
                <a:lnTo>
                  <a:pt x="871416" y="168690"/>
                </a:lnTo>
                <a:lnTo>
                  <a:pt x="866901" y="162988"/>
                </a:lnTo>
                <a:lnTo>
                  <a:pt x="861437" y="157048"/>
                </a:lnTo>
                <a:lnTo>
                  <a:pt x="856210" y="151821"/>
                </a:lnTo>
                <a:lnTo>
                  <a:pt x="850745" y="146831"/>
                </a:lnTo>
                <a:lnTo>
                  <a:pt x="844568" y="142555"/>
                </a:lnTo>
                <a:lnTo>
                  <a:pt x="838390" y="138516"/>
                </a:lnTo>
                <a:lnTo>
                  <a:pt x="831738" y="134952"/>
                </a:lnTo>
                <a:lnTo>
                  <a:pt x="824610" y="132338"/>
                </a:lnTo>
                <a:lnTo>
                  <a:pt x="817007" y="129963"/>
                </a:lnTo>
                <a:lnTo>
                  <a:pt x="808929" y="128774"/>
                </a:lnTo>
                <a:lnTo>
                  <a:pt x="806791" y="128299"/>
                </a:lnTo>
                <a:lnTo>
                  <a:pt x="804652" y="127824"/>
                </a:lnTo>
                <a:lnTo>
                  <a:pt x="802752" y="126399"/>
                </a:lnTo>
                <a:lnTo>
                  <a:pt x="801089" y="125211"/>
                </a:lnTo>
                <a:lnTo>
                  <a:pt x="799663" y="123310"/>
                </a:lnTo>
                <a:lnTo>
                  <a:pt x="798713" y="121647"/>
                </a:lnTo>
                <a:lnTo>
                  <a:pt x="798000" y="119271"/>
                </a:lnTo>
                <a:lnTo>
                  <a:pt x="798000" y="117608"/>
                </a:lnTo>
                <a:lnTo>
                  <a:pt x="785408" y="106916"/>
                </a:lnTo>
                <a:lnTo>
                  <a:pt x="772578" y="95749"/>
                </a:lnTo>
                <a:lnTo>
                  <a:pt x="747155" y="72703"/>
                </a:lnTo>
                <a:lnTo>
                  <a:pt x="733850" y="61061"/>
                </a:lnTo>
                <a:lnTo>
                  <a:pt x="720545" y="49894"/>
                </a:lnTo>
                <a:lnTo>
                  <a:pt x="706765" y="38728"/>
                </a:lnTo>
                <a:lnTo>
                  <a:pt x="692510" y="28036"/>
                </a:lnTo>
                <a:lnTo>
                  <a:pt x="679442" y="21859"/>
                </a:lnTo>
                <a:lnTo>
                  <a:pt x="666137" y="16632"/>
                </a:lnTo>
                <a:lnTo>
                  <a:pt x="652832" y="11642"/>
                </a:lnTo>
                <a:lnTo>
                  <a:pt x="639527" y="7603"/>
                </a:lnTo>
                <a:lnTo>
                  <a:pt x="626222" y="4514"/>
                </a:lnTo>
                <a:lnTo>
                  <a:pt x="612917" y="1901"/>
                </a:lnTo>
                <a:lnTo>
                  <a:pt x="599374" y="475"/>
                </a:lnTo>
                <a:close/>
              </a:path>
            </a:pathLst>
          </a:custGeom>
          <a:solidFill>
            <a:schemeClr val="bg1">
              <a:alpha val="25000"/>
            </a:schemeClr>
          </a:solidFill>
          <a:ln>
            <a:noFill/>
          </a:ln>
        </p:spPr>
        <p:txBody>
          <a:bodyPr vert="horz" wrap="square" lIns="91440" tIns="45720" rIns="91440" bIns="45720" numCol="1" anchor="t" anchorCtr="0" compatLnSpc="1">
            <a:prstTxWarp prst="textNoShape">
              <a:avLst/>
            </a:prstTxWarp>
            <a:noAutofit/>
          </a:bodyPr>
          <a:lstStyle/>
          <a:p>
            <a:endParaRPr lang="en-IN"/>
          </a:p>
        </p:txBody>
      </p:sp>
      <p:sp>
        <p:nvSpPr>
          <p:cNvPr id="7" name="Rectangle 6"/>
          <p:cNvSpPr/>
          <p:nvPr/>
        </p:nvSpPr>
        <p:spPr>
          <a:xfrm>
            <a:off x="9108" y="1237136"/>
            <a:ext cx="5325034" cy="1588127"/>
          </a:xfrm>
          <a:prstGeom prst="rect">
            <a:avLst/>
          </a:prstGeom>
        </p:spPr>
        <p:txBody>
          <a:bodyPr wrap="square" lIns="274320">
            <a:spAutoFit/>
          </a:bodyPr>
          <a:lstStyle/>
          <a:p>
            <a:pPr defTabSz="932472" fontAlgn="base">
              <a:lnSpc>
                <a:spcPct val="90000"/>
              </a:lnSpc>
              <a:spcBef>
                <a:spcPct val="0"/>
              </a:spcBef>
              <a:spcAft>
                <a:spcPct val="0"/>
              </a:spcAft>
            </a:pPr>
            <a:r>
              <a:rPr lang="en-US" sz="5400" dirty="0">
                <a:solidFill>
                  <a:schemeClr val="bg1"/>
                </a:solidFill>
                <a:latin typeface="+mj-lt"/>
                <a:ea typeface="Segoe UI" pitchFamily="34" charset="0"/>
                <a:cs typeface="Segoe UI" pitchFamily="34" charset="0"/>
              </a:rPr>
              <a:t>Collect and load big data</a:t>
            </a:r>
          </a:p>
        </p:txBody>
      </p:sp>
      <p:sp>
        <p:nvSpPr>
          <p:cNvPr id="2" name="Slide Number Placeholder 1"/>
          <p:cNvSpPr>
            <a:spLocks noGrp="1"/>
          </p:cNvSpPr>
          <p:nvPr>
            <p:ph type="sldNum" sz="quarter" idx="11"/>
          </p:nvPr>
        </p:nvSpPr>
        <p:spPr/>
        <p:txBody>
          <a:bodyPr/>
          <a:lstStyle/>
          <a:p>
            <a:pPr>
              <a:defRPr/>
            </a:pPr>
            <a:fld id="{F8A0AC42-AA1D-4944-8D96-660DE70C7E1B}" type="slidenum">
              <a:rPr lang="en-IN" smtClean="0"/>
              <a:pPr>
                <a:defRPr/>
              </a:pPr>
              <a:t>6</a:t>
            </a:fld>
            <a:endParaRPr lang="en-IN" dirty="0"/>
          </a:p>
        </p:txBody>
      </p:sp>
      <p:sp>
        <p:nvSpPr>
          <p:cNvPr id="10" name="TextBox 9"/>
          <p:cNvSpPr txBox="1"/>
          <p:nvPr/>
        </p:nvSpPr>
        <p:spPr>
          <a:xfrm>
            <a:off x="5325034" y="4591994"/>
            <a:ext cx="6684403" cy="1874520"/>
          </a:xfrm>
          <a:prstGeom prst="rect">
            <a:avLst/>
          </a:prstGeom>
          <a:noFill/>
        </p:spPr>
        <p:txBody>
          <a:bodyPr wrap="square" lIns="274320" tIns="146304" rIns="182880" bIns="146304" rtlCol="0">
            <a:noAutofit/>
          </a:bodyPr>
          <a:lstStyle/>
          <a:p>
            <a:pPr marL="53975" lvl="1" defTabSz="932133" fontAlgn="base">
              <a:spcBef>
                <a:spcPts val="1200"/>
              </a:spcBef>
              <a:buClr>
                <a:srgbClr val="68217A">
                  <a:lumMod val="50000"/>
                </a:srgbClr>
              </a:buClr>
            </a:pPr>
            <a:r>
              <a:rPr lang="en-US" sz="3200" dirty="0">
                <a:ln>
                  <a:solidFill>
                    <a:srgbClr val="FFFFFF">
                      <a:alpha val="0"/>
                    </a:srgbClr>
                  </a:solidFill>
                </a:ln>
                <a:solidFill>
                  <a:srgbClr val="68217A"/>
                </a:solidFill>
                <a:latin typeface="Segoe UI Light"/>
                <a:ea typeface="Segoe UI" pitchFamily="34" charset="0"/>
                <a:cs typeface="Segoe UI" pitchFamily="34" charset="0"/>
              </a:rPr>
              <a:t>Data processing</a:t>
            </a:r>
          </a:p>
          <a:p>
            <a:pPr marL="569913" lvl="1" indent="-457200" defTabSz="932133" fontAlgn="base">
              <a:buClr>
                <a:schemeClr val="accent3">
                  <a:lumMod val="50000"/>
                </a:schemeClr>
              </a:buClr>
              <a:buBlip>
                <a:blip r:embed="rId2"/>
              </a:buBlip>
            </a:pPr>
            <a:r>
              <a:rPr lang="en-US"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re-processing data</a:t>
            </a:r>
          </a:p>
          <a:p>
            <a:pPr marL="569913" lvl="1" indent="-457200" defTabSz="932133" fontAlgn="base">
              <a:buClr>
                <a:schemeClr val="accent3">
                  <a:lumMod val="50000"/>
                </a:schemeClr>
              </a:buClr>
              <a:buBlip>
                <a:blip r:embed="rId2"/>
              </a:buBlip>
            </a:pPr>
            <a:r>
              <a:rPr lang="en-US"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erialization and compression</a:t>
            </a:r>
          </a:p>
          <a:p>
            <a:pPr marL="569913" lvl="1" indent="-457200" defTabSz="932133" fontAlgn="base">
              <a:buClr>
                <a:schemeClr val="accent3">
                  <a:lumMod val="50000"/>
                </a:schemeClr>
              </a:buClr>
              <a:buBlip>
                <a:blip r:embed="rId2"/>
              </a:buBlip>
            </a:pPr>
            <a:r>
              <a:rPr lang="en-US"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hoosing tools and technologies</a:t>
            </a:r>
          </a:p>
        </p:txBody>
      </p:sp>
      <p:sp>
        <p:nvSpPr>
          <p:cNvPr id="11" name="TextBox 10"/>
          <p:cNvSpPr txBox="1"/>
          <p:nvPr/>
        </p:nvSpPr>
        <p:spPr>
          <a:xfrm>
            <a:off x="5325034" y="3178005"/>
            <a:ext cx="6684403" cy="1419040"/>
          </a:xfrm>
          <a:prstGeom prst="rect">
            <a:avLst/>
          </a:prstGeom>
          <a:noFill/>
        </p:spPr>
        <p:txBody>
          <a:bodyPr wrap="square" lIns="274320" tIns="146304" rIns="182880" bIns="146304" rtlCol="0">
            <a:noAutofit/>
          </a:bodyPr>
          <a:lstStyle/>
          <a:p>
            <a:pPr marL="53975" lvl="1" defTabSz="932133" fontAlgn="base">
              <a:spcBef>
                <a:spcPts val="1200"/>
              </a:spcBef>
              <a:buClr>
                <a:srgbClr val="68217A">
                  <a:lumMod val="50000"/>
                </a:srgbClr>
              </a:buClr>
            </a:pPr>
            <a:r>
              <a:rPr lang="en-US" sz="3200" dirty="0">
                <a:ln>
                  <a:solidFill>
                    <a:srgbClr val="FFFFFF">
                      <a:alpha val="0"/>
                    </a:srgbClr>
                  </a:solidFill>
                </a:ln>
                <a:solidFill>
                  <a:srgbClr val="68217A"/>
                </a:solidFill>
                <a:latin typeface="Segoe UI Light"/>
                <a:ea typeface="Segoe UI" pitchFamily="34" charset="0"/>
                <a:cs typeface="Segoe UI" pitchFamily="34" charset="0"/>
              </a:rPr>
              <a:t>Administration</a:t>
            </a:r>
          </a:p>
          <a:p>
            <a:pPr marL="569913" lvl="1" indent="-457200" defTabSz="932133" fontAlgn="base">
              <a:buClr>
                <a:srgbClr val="68217A">
                  <a:lumMod val="50000"/>
                </a:srgbClr>
              </a:buClr>
              <a:buBlip>
                <a:blip r:embed="rId2"/>
              </a:buBlip>
            </a:pPr>
            <a:r>
              <a:rPr lang="en-US"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liability</a:t>
            </a:r>
          </a:p>
          <a:p>
            <a:pPr marL="569913" lvl="1" indent="-457200" defTabSz="932133" fontAlgn="base">
              <a:buClr>
                <a:srgbClr val="68217A">
                  <a:lumMod val="50000"/>
                </a:srgbClr>
              </a:buClr>
              <a:buBlip>
                <a:blip r:embed="rId2"/>
              </a:buBlip>
            </a:pPr>
            <a:r>
              <a:rPr lang="en-US"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ecurity</a:t>
            </a:r>
          </a:p>
        </p:txBody>
      </p:sp>
      <p:sp>
        <p:nvSpPr>
          <p:cNvPr id="12" name="Rectangle 11"/>
          <p:cNvSpPr/>
          <p:nvPr/>
        </p:nvSpPr>
        <p:spPr bwMode="auto">
          <a:xfrm>
            <a:off x="5638800" y="4591994"/>
            <a:ext cx="5524499" cy="2092138"/>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13" name="Rectangle 12"/>
          <p:cNvSpPr/>
          <p:nvPr/>
        </p:nvSpPr>
        <p:spPr bwMode="auto">
          <a:xfrm>
            <a:off x="5363133" y="1499967"/>
            <a:ext cx="5524499" cy="1504182"/>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2295322330"/>
      </p:ext>
    </p:extLst>
  </p:cSld>
  <p:clrMapOvr>
    <a:masterClrMapping/>
  </p:clrMapOvr>
  <p:transition spd="med">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6" name="Picture 425"/>
          <p:cNvPicPr>
            <a:picLocks noChangeAspect="1"/>
          </p:cNvPicPr>
          <p:nvPr/>
        </p:nvPicPr>
        <p:blipFill>
          <a:blip r:embed="rId3"/>
          <a:stretch>
            <a:fillRect/>
          </a:stretch>
        </p:blipFill>
        <p:spPr>
          <a:xfrm>
            <a:off x="6811430" y="1292253"/>
            <a:ext cx="5158080" cy="3495617"/>
          </a:xfrm>
          <a:prstGeom prst="rect">
            <a:avLst/>
          </a:prstGeom>
        </p:spPr>
      </p:pic>
      <p:sp>
        <p:nvSpPr>
          <p:cNvPr id="2" name="Title 1"/>
          <p:cNvSpPr>
            <a:spLocks noGrp="1"/>
          </p:cNvSpPr>
          <p:nvPr>
            <p:ph type="title"/>
          </p:nvPr>
        </p:nvSpPr>
        <p:spPr/>
        <p:txBody>
          <a:bodyPr/>
          <a:lstStyle/>
          <a:p>
            <a:r>
              <a:rPr lang="en-US" dirty="0" smtClean="0"/>
              <a:t>Reliability</a:t>
            </a:r>
            <a:endParaRPr lang="en-US" dirty="0"/>
          </a:p>
        </p:txBody>
      </p:sp>
      <p:grpSp>
        <p:nvGrpSpPr>
          <p:cNvPr id="3" name="Group 2"/>
          <p:cNvGrpSpPr/>
          <p:nvPr/>
        </p:nvGrpSpPr>
        <p:grpSpPr>
          <a:xfrm>
            <a:off x="488396" y="1778475"/>
            <a:ext cx="6203967" cy="830997"/>
            <a:chOff x="603233" y="1238495"/>
            <a:chExt cx="6203967" cy="830997"/>
          </a:xfrm>
        </p:grpSpPr>
        <p:sp>
          <p:nvSpPr>
            <p:cNvPr id="457" name="Rectangle 456"/>
            <p:cNvSpPr/>
            <p:nvPr/>
          </p:nvSpPr>
          <p:spPr>
            <a:xfrm>
              <a:off x="899886" y="1238495"/>
              <a:ext cx="5907314" cy="830997"/>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IN" sz="24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Upload </a:t>
              </a:r>
              <a:r>
                <a:rPr lang="en-IN"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tool </a:t>
              </a:r>
              <a:r>
                <a:rPr lang="en-IN" sz="24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should </a:t>
              </a:r>
              <a:r>
                <a:rPr lang="en-IN"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handle transient connectivity and transmission failures</a:t>
              </a:r>
            </a:p>
          </p:txBody>
        </p:sp>
        <p:sp>
          <p:nvSpPr>
            <p:cNvPr id="458" name="Freeform 457"/>
            <p:cNvSpPr>
              <a:spLocks/>
            </p:cNvSpPr>
            <p:nvPr/>
          </p:nvSpPr>
          <p:spPr bwMode="auto">
            <a:xfrm>
              <a:off x="603233" y="1364239"/>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grpSp>
        <p:nvGrpSpPr>
          <p:cNvPr id="4" name="Group 3"/>
          <p:cNvGrpSpPr/>
          <p:nvPr/>
        </p:nvGrpSpPr>
        <p:grpSpPr>
          <a:xfrm>
            <a:off x="488396" y="2803790"/>
            <a:ext cx="6203967" cy="461665"/>
            <a:chOff x="603233" y="2713306"/>
            <a:chExt cx="6203967" cy="461665"/>
          </a:xfrm>
        </p:grpSpPr>
        <p:sp>
          <p:nvSpPr>
            <p:cNvPr id="460" name="Rectangle 459"/>
            <p:cNvSpPr/>
            <p:nvPr/>
          </p:nvSpPr>
          <p:spPr>
            <a:xfrm>
              <a:off x="899886" y="2713306"/>
              <a:ext cx="5907314" cy="461665"/>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IN"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Monitor upload to detect failures early</a:t>
              </a:r>
            </a:p>
          </p:txBody>
        </p:sp>
        <p:sp>
          <p:nvSpPr>
            <p:cNvPr id="461" name="Freeform 460"/>
            <p:cNvSpPr>
              <a:spLocks/>
            </p:cNvSpPr>
            <p:nvPr/>
          </p:nvSpPr>
          <p:spPr bwMode="auto">
            <a:xfrm>
              <a:off x="603233" y="2817671"/>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grpSp>
        <p:nvGrpSpPr>
          <p:cNvPr id="5" name="Group 4"/>
          <p:cNvGrpSpPr/>
          <p:nvPr/>
        </p:nvGrpSpPr>
        <p:grpSpPr>
          <a:xfrm>
            <a:off x="488396" y="3470687"/>
            <a:ext cx="6203967" cy="830997"/>
            <a:chOff x="603233" y="3338654"/>
            <a:chExt cx="6203967" cy="830997"/>
          </a:xfrm>
        </p:grpSpPr>
        <p:sp>
          <p:nvSpPr>
            <p:cNvPr id="463" name="Rectangle 462"/>
            <p:cNvSpPr/>
            <p:nvPr/>
          </p:nvSpPr>
          <p:spPr>
            <a:xfrm>
              <a:off x="899886" y="3338654"/>
              <a:ext cx="5907314" cy="830997"/>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IN"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cord each stage in a process that </a:t>
              </a:r>
              <a:r>
                <a:rPr lang="en-IN" sz="24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
              </a:r>
              <a:br>
                <a:rPr lang="en-IN" sz="24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IN" sz="24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raised </a:t>
              </a:r>
              <a:r>
                <a:rPr lang="en-IN"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n error</a:t>
              </a:r>
            </a:p>
          </p:txBody>
        </p:sp>
        <p:sp>
          <p:nvSpPr>
            <p:cNvPr id="464" name="Freeform 463"/>
            <p:cNvSpPr>
              <a:spLocks/>
            </p:cNvSpPr>
            <p:nvPr/>
          </p:nvSpPr>
          <p:spPr bwMode="auto">
            <a:xfrm>
              <a:off x="603233" y="3450215"/>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grpSp>
        <p:nvGrpSpPr>
          <p:cNvPr id="16" name="Group 15"/>
          <p:cNvGrpSpPr/>
          <p:nvPr/>
        </p:nvGrpSpPr>
        <p:grpSpPr>
          <a:xfrm>
            <a:off x="488396" y="4506916"/>
            <a:ext cx="6203967" cy="461665"/>
            <a:chOff x="603233" y="4388733"/>
            <a:chExt cx="6203967" cy="461665"/>
          </a:xfrm>
        </p:grpSpPr>
        <p:sp>
          <p:nvSpPr>
            <p:cNvPr id="466" name="Rectangle 465"/>
            <p:cNvSpPr/>
            <p:nvPr/>
          </p:nvSpPr>
          <p:spPr>
            <a:xfrm>
              <a:off x="899886" y="4388733"/>
              <a:ext cx="5907314" cy="461665"/>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IN"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cale out with multiple upload instances</a:t>
              </a:r>
            </a:p>
          </p:txBody>
        </p:sp>
        <p:sp>
          <p:nvSpPr>
            <p:cNvPr id="467" name="Freeform 466"/>
            <p:cNvSpPr>
              <a:spLocks/>
            </p:cNvSpPr>
            <p:nvPr/>
          </p:nvSpPr>
          <p:spPr bwMode="auto">
            <a:xfrm>
              <a:off x="603233" y="4497965"/>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grpSp>
        <p:nvGrpSpPr>
          <p:cNvPr id="448" name="Group 447"/>
          <p:cNvGrpSpPr/>
          <p:nvPr/>
        </p:nvGrpSpPr>
        <p:grpSpPr>
          <a:xfrm>
            <a:off x="488396" y="5173815"/>
            <a:ext cx="6203967" cy="461665"/>
            <a:chOff x="603233" y="5014081"/>
            <a:chExt cx="6203967" cy="461665"/>
          </a:xfrm>
        </p:grpSpPr>
        <p:sp>
          <p:nvSpPr>
            <p:cNvPr id="469" name="Rectangle 468"/>
            <p:cNvSpPr/>
            <p:nvPr/>
          </p:nvSpPr>
          <p:spPr>
            <a:xfrm>
              <a:off x="899886" y="5014081"/>
              <a:ext cx="5907314" cy="461665"/>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IN"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Validate the data before you upload</a:t>
              </a:r>
            </a:p>
          </p:txBody>
        </p:sp>
        <p:sp>
          <p:nvSpPr>
            <p:cNvPr id="470" name="Freeform 469"/>
            <p:cNvSpPr>
              <a:spLocks/>
            </p:cNvSpPr>
            <p:nvPr/>
          </p:nvSpPr>
          <p:spPr bwMode="auto">
            <a:xfrm>
              <a:off x="603233" y="5145664"/>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sp>
        <p:nvSpPr>
          <p:cNvPr id="449" name="Slide Number Placeholder 448"/>
          <p:cNvSpPr>
            <a:spLocks noGrp="1"/>
          </p:cNvSpPr>
          <p:nvPr>
            <p:ph type="sldNum" sz="quarter" idx="11"/>
          </p:nvPr>
        </p:nvSpPr>
        <p:spPr/>
        <p:txBody>
          <a:bodyPr/>
          <a:lstStyle/>
          <a:p>
            <a:pPr>
              <a:defRPr/>
            </a:pPr>
            <a:fld id="{F8A0AC42-AA1D-4944-8D96-660DE70C7E1B}" type="slidenum">
              <a:rPr lang="en-IN" smtClean="0"/>
              <a:pPr>
                <a:defRPr/>
              </a:pPr>
              <a:t>7</a:t>
            </a:fld>
            <a:endParaRPr lang="en-IN" dirty="0"/>
          </a:p>
        </p:txBody>
      </p:sp>
      <p:grpSp>
        <p:nvGrpSpPr>
          <p:cNvPr id="300" name="Group 299"/>
          <p:cNvGrpSpPr/>
          <p:nvPr/>
        </p:nvGrpSpPr>
        <p:grpSpPr>
          <a:xfrm>
            <a:off x="8842376" y="3213100"/>
            <a:ext cx="989556" cy="3244850"/>
            <a:chOff x="5121276" y="2658268"/>
            <a:chExt cx="736600" cy="2415382"/>
          </a:xfrm>
        </p:grpSpPr>
        <p:sp>
          <p:nvSpPr>
            <p:cNvPr id="301" name="Freeform 40"/>
            <p:cNvSpPr>
              <a:spLocks/>
            </p:cNvSpPr>
            <p:nvPr/>
          </p:nvSpPr>
          <p:spPr bwMode="auto">
            <a:xfrm>
              <a:off x="5276851" y="3927475"/>
              <a:ext cx="427038" cy="1030288"/>
            </a:xfrm>
            <a:custGeom>
              <a:avLst/>
              <a:gdLst>
                <a:gd name="T0" fmla="*/ 199 w 269"/>
                <a:gd name="T1" fmla="*/ 0 h 649"/>
                <a:gd name="T2" fmla="*/ 70 w 269"/>
                <a:gd name="T3" fmla="*/ 0 h 649"/>
                <a:gd name="T4" fmla="*/ 2 w 269"/>
                <a:gd name="T5" fmla="*/ 0 h 649"/>
                <a:gd name="T6" fmla="*/ 0 w 269"/>
                <a:gd name="T7" fmla="*/ 0 h 649"/>
                <a:gd name="T8" fmla="*/ 2 w 269"/>
                <a:gd name="T9" fmla="*/ 649 h 649"/>
                <a:gd name="T10" fmla="*/ 70 w 269"/>
                <a:gd name="T11" fmla="*/ 649 h 649"/>
                <a:gd name="T12" fmla="*/ 70 w 269"/>
                <a:gd name="T13" fmla="*/ 87 h 649"/>
                <a:gd name="T14" fmla="*/ 199 w 269"/>
                <a:gd name="T15" fmla="*/ 87 h 649"/>
                <a:gd name="T16" fmla="*/ 199 w 269"/>
                <a:gd name="T17" fmla="*/ 649 h 649"/>
                <a:gd name="T18" fmla="*/ 269 w 269"/>
                <a:gd name="T19" fmla="*/ 649 h 649"/>
                <a:gd name="T20" fmla="*/ 269 w 269"/>
                <a:gd name="T21" fmla="*/ 0 h 649"/>
                <a:gd name="T22" fmla="*/ 199 w 269"/>
                <a:gd name="T23" fmla="*/ 0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9" h="649">
                  <a:moveTo>
                    <a:pt x="199" y="0"/>
                  </a:moveTo>
                  <a:lnTo>
                    <a:pt x="70" y="0"/>
                  </a:lnTo>
                  <a:lnTo>
                    <a:pt x="2" y="0"/>
                  </a:lnTo>
                  <a:lnTo>
                    <a:pt x="0" y="0"/>
                  </a:lnTo>
                  <a:lnTo>
                    <a:pt x="2" y="649"/>
                  </a:lnTo>
                  <a:lnTo>
                    <a:pt x="70" y="649"/>
                  </a:lnTo>
                  <a:lnTo>
                    <a:pt x="70" y="87"/>
                  </a:lnTo>
                  <a:lnTo>
                    <a:pt x="199" y="87"/>
                  </a:lnTo>
                  <a:lnTo>
                    <a:pt x="199" y="649"/>
                  </a:lnTo>
                  <a:lnTo>
                    <a:pt x="269" y="649"/>
                  </a:lnTo>
                  <a:lnTo>
                    <a:pt x="269" y="0"/>
                  </a:lnTo>
                  <a:lnTo>
                    <a:pt x="19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2" name="Freeform 41"/>
            <p:cNvSpPr>
              <a:spLocks/>
            </p:cNvSpPr>
            <p:nvPr/>
          </p:nvSpPr>
          <p:spPr bwMode="auto">
            <a:xfrm>
              <a:off x="5279232" y="4943475"/>
              <a:ext cx="255588" cy="130175"/>
            </a:xfrm>
            <a:custGeom>
              <a:avLst/>
              <a:gdLst>
                <a:gd name="T0" fmla="*/ 56 w 129"/>
                <a:gd name="T1" fmla="*/ 0 h 66"/>
                <a:gd name="T2" fmla="*/ 129 w 129"/>
                <a:gd name="T3" fmla="*/ 66 h 66"/>
                <a:gd name="T4" fmla="*/ 56 w 129"/>
                <a:gd name="T5" fmla="*/ 66 h 66"/>
                <a:gd name="T6" fmla="*/ 0 w 129"/>
                <a:gd name="T7" fmla="*/ 66 h 66"/>
                <a:gd name="T8" fmla="*/ 0 w 129"/>
                <a:gd name="T9" fmla="*/ 0 h 66"/>
                <a:gd name="T10" fmla="*/ 56 w 129"/>
                <a:gd name="T11" fmla="*/ 0 h 66"/>
              </a:gdLst>
              <a:ahLst/>
              <a:cxnLst>
                <a:cxn ang="0">
                  <a:pos x="T0" y="T1"/>
                </a:cxn>
                <a:cxn ang="0">
                  <a:pos x="T2" y="T3"/>
                </a:cxn>
                <a:cxn ang="0">
                  <a:pos x="T4" y="T5"/>
                </a:cxn>
                <a:cxn ang="0">
                  <a:pos x="T6" y="T7"/>
                </a:cxn>
                <a:cxn ang="0">
                  <a:pos x="T8" y="T9"/>
                </a:cxn>
                <a:cxn ang="0">
                  <a:pos x="T10" y="T11"/>
                </a:cxn>
              </a:cxnLst>
              <a:rect l="0" t="0" r="r" b="b"/>
              <a:pathLst>
                <a:path w="129" h="66">
                  <a:moveTo>
                    <a:pt x="56" y="0"/>
                  </a:moveTo>
                  <a:cubicBezTo>
                    <a:pt x="94" y="0"/>
                    <a:pt x="126" y="29"/>
                    <a:pt x="129" y="66"/>
                  </a:cubicBezTo>
                  <a:cubicBezTo>
                    <a:pt x="56" y="66"/>
                    <a:pt x="56" y="66"/>
                    <a:pt x="56" y="66"/>
                  </a:cubicBezTo>
                  <a:cubicBezTo>
                    <a:pt x="0" y="66"/>
                    <a:pt x="0" y="66"/>
                    <a:pt x="0" y="66"/>
                  </a:cubicBezTo>
                  <a:cubicBezTo>
                    <a:pt x="0" y="0"/>
                    <a:pt x="0" y="0"/>
                    <a:pt x="0" y="0"/>
                  </a:cubicBezTo>
                  <a:lnTo>
                    <a:pt x="56" y="0"/>
                  </a:lnTo>
                  <a:close/>
                </a:path>
              </a:pathLst>
            </a:custGeom>
            <a:solidFill>
              <a:srgbClr val="725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3" name="Freeform 44"/>
            <p:cNvSpPr>
              <a:spLocks/>
            </p:cNvSpPr>
            <p:nvPr/>
          </p:nvSpPr>
          <p:spPr bwMode="auto">
            <a:xfrm>
              <a:off x="5297488" y="2870200"/>
              <a:ext cx="385763" cy="82550"/>
            </a:xfrm>
            <a:custGeom>
              <a:avLst/>
              <a:gdLst>
                <a:gd name="T0" fmla="*/ 0 w 196"/>
                <a:gd name="T1" fmla="*/ 32 h 42"/>
                <a:gd name="T2" fmla="*/ 10 w 196"/>
                <a:gd name="T3" fmla="*/ 42 h 42"/>
                <a:gd name="T4" fmla="*/ 186 w 196"/>
                <a:gd name="T5" fmla="*/ 42 h 42"/>
                <a:gd name="T6" fmla="*/ 196 w 196"/>
                <a:gd name="T7" fmla="*/ 32 h 42"/>
                <a:gd name="T8" fmla="*/ 196 w 196"/>
                <a:gd name="T9" fmla="*/ 10 h 42"/>
                <a:gd name="T10" fmla="*/ 186 w 196"/>
                <a:gd name="T11" fmla="*/ 0 h 42"/>
                <a:gd name="T12" fmla="*/ 10 w 196"/>
                <a:gd name="T13" fmla="*/ 0 h 42"/>
                <a:gd name="T14" fmla="*/ 0 w 196"/>
                <a:gd name="T15" fmla="*/ 10 h 42"/>
                <a:gd name="T16" fmla="*/ 0 w 196"/>
                <a:gd name="T17" fmla="*/ 3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42">
                  <a:moveTo>
                    <a:pt x="0" y="32"/>
                  </a:moveTo>
                  <a:cubicBezTo>
                    <a:pt x="0" y="37"/>
                    <a:pt x="4" y="42"/>
                    <a:pt x="10" y="42"/>
                  </a:cubicBezTo>
                  <a:cubicBezTo>
                    <a:pt x="186" y="42"/>
                    <a:pt x="186" y="42"/>
                    <a:pt x="186" y="42"/>
                  </a:cubicBezTo>
                  <a:cubicBezTo>
                    <a:pt x="191" y="42"/>
                    <a:pt x="196" y="37"/>
                    <a:pt x="196" y="32"/>
                  </a:cubicBezTo>
                  <a:cubicBezTo>
                    <a:pt x="196" y="10"/>
                    <a:pt x="196" y="10"/>
                    <a:pt x="196" y="10"/>
                  </a:cubicBezTo>
                  <a:cubicBezTo>
                    <a:pt x="196" y="5"/>
                    <a:pt x="191" y="0"/>
                    <a:pt x="186" y="0"/>
                  </a:cubicBezTo>
                  <a:cubicBezTo>
                    <a:pt x="10" y="0"/>
                    <a:pt x="10" y="0"/>
                    <a:pt x="10" y="0"/>
                  </a:cubicBezTo>
                  <a:cubicBezTo>
                    <a:pt x="4" y="0"/>
                    <a:pt x="0" y="5"/>
                    <a:pt x="0" y="10"/>
                  </a:cubicBezTo>
                  <a:lnTo>
                    <a:pt x="0" y="32"/>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4" name="Freeform 45"/>
            <p:cNvSpPr>
              <a:spLocks/>
            </p:cNvSpPr>
            <p:nvPr/>
          </p:nvSpPr>
          <p:spPr bwMode="auto">
            <a:xfrm>
              <a:off x="5590382" y="4943475"/>
              <a:ext cx="254000" cy="130175"/>
            </a:xfrm>
            <a:custGeom>
              <a:avLst/>
              <a:gdLst>
                <a:gd name="T0" fmla="*/ 56 w 129"/>
                <a:gd name="T1" fmla="*/ 0 h 66"/>
                <a:gd name="T2" fmla="*/ 129 w 129"/>
                <a:gd name="T3" fmla="*/ 66 h 66"/>
                <a:gd name="T4" fmla="*/ 56 w 129"/>
                <a:gd name="T5" fmla="*/ 66 h 66"/>
                <a:gd name="T6" fmla="*/ 0 w 129"/>
                <a:gd name="T7" fmla="*/ 66 h 66"/>
                <a:gd name="T8" fmla="*/ 0 w 129"/>
                <a:gd name="T9" fmla="*/ 0 h 66"/>
                <a:gd name="T10" fmla="*/ 56 w 129"/>
                <a:gd name="T11" fmla="*/ 0 h 66"/>
              </a:gdLst>
              <a:ahLst/>
              <a:cxnLst>
                <a:cxn ang="0">
                  <a:pos x="T0" y="T1"/>
                </a:cxn>
                <a:cxn ang="0">
                  <a:pos x="T2" y="T3"/>
                </a:cxn>
                <a:cxn ang="0">
                  <a:pos x="T4" y="T5"/>
                </a:cxn>
                <a:cxn ang="0">
                  <a:pos x="T6" y="T7"/>
                </a:cxn>
                <a:cxn ang="0">
                  <a:pos x="T8" y="T9"/>
                </a:cxn>
                <a:cxn ang="0">
                  <a:pos x="T10" y="T11"/>
                </a:cxn>
              </a:cxnLst>
              <a:rect l="0" t="0" r="r" b="b"/>
              <a:pathLst>
                <a:path w="129" h="66">
                  <a:moveTo>
                    <a:pt x="56" y="0"/>
                  </a:moveTo>
                  <a:cubicBezTo>
                    <a:pt x="94" y="0"/>
                    <a:pt x="125" y="29"/>
                    <a:pt x="129" y="66"/>
                  </a:cubicBezTo>
                  <a:cubicBezTo>
                    <a:pt x="56" y="66"/>
                    <a:pt x="56" y="66"/>
                    <a:pt x="56" y="66"/>
                  </a:cubicBezTo>
                  <a:cubicBezTo>
                    <a:pt x="0" y="66"/>
                    <a:pt x="0" y="66"/>
                    <a:pt x="0" y="66"/>
                  </a:cubicBezTo>
                  <a:cubicBezTo>
                    <a:pt x="0" y="0"/>
                    <a:pt x="0" y="0"/>
                    <a:pt x="0" y="0"/>
                  </a:cubicBezTo>
                  <a:lnTo>
                    <a:pt x="56" y="0"/>
                  </a:lnTo>
                  <a:close/>
                </a:path>
              </a:pathLst>
            </a:custGeom>
            <a:solidFill>
              <a:srgbClr val="725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5" name="Freeform 46"/>
            <p:cNvSpPr>
              <a:spLocks/>
            </p:cNvSpPr>
            <p:nvPr/>
          </p:nvSpPr>
          <p:spPr bwMode="auto">
            <a:xfrm>
              <a:off x="5511801" y="3578225"/>
              <a:ext cx="192088" cy="93663"/>
            </a:xfrm>
            <a:custGeom>
              <a:avLst/>
              <a:gdLst>
                <a:gd name="T0" fmla="*/ 97 w 97"/>
                <a:gd name="T1" fmla="*/ 48 h 48"/>
                <a:gd name="T2" fmla="*/ 0 w 97"/>
                <a:gd name="T3" fmla="*/ 48 h 48"/>
                <a:gd name="T4" fmla="*/ 48 w 97"/>
                <a:gd name="T5" fmla="*/ 0 h 48"/>
                <a:gd name="T6" fmla="*/ 97 w 97"/>
                <a:gd name="T7" fmla="*/ 48 h 48"/>
              </a:gdLst>
              <a:ahLst/>
              <a:cxnLst>
                <a:cxn ang="0">
                  <a:pos x="T0" y="T1"/>
                </a:cxn>
                <a:cxn ang="0">
                  <a:pos x="T2" y="T3"/>
                </a:cxn>
                <a:cxn ang="0">
                  <a:pos x="T4" y="T5"/>
                </a:cxn>
                <a:cxn ang="0">
                  <a:pos x="T6" y="T7"/>
                </a:cxn>
              </a:cxnLst>
              <a:rect l="0" t="0" r="r" b="b"/>
              <a:pathLst>
                <a:path w="97" h="48">
                  <a:moveTo>
                    <a:pt x="97" y="48"/>
                  </a:moveTo>
                  <a:cubicBezTo>
                    <a:pt x="0" y="48"/>
                    <a:pt x="0" y="48"/>
                    <a:pt x="0" y="48"/>
                  </a:cubicBezTo>
                  <a:cubicBezTo>
                    <a:pt x="0" y="21"/>
                    <a:pt x="22" y="0"/>
                    <a:pt x="48" y="0"/>
                  </a:cubicBezTo>
                  <a:cubicBezTo>
                    <a:pt x="75" y="0"/>
                    <a:pt x="97" y="21"/>
                    <a:pt x="97" y="48"/>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6" name="Freeform 47"/>
            <p:cNvSpPr>
              <a:spLocks/>
            </p:cNvSpPr>
            <p:nvPr/>
          </p:nvSpPr>
          <p:spPr bwMode="auto">
            <a:xfrm>
              <a:off x="5360988" y="3454400"/>
              <a:ext cx="476250" cy="336550"/>
            </a:xfrm>
            <a:custGeom>
              <a:avLst/>
              <a:gdLst>
                <a:gd name="T0" fmla="*/ 192 w 242"/>
                <a:gd name="T1" fmla="*/ 171 h 171"/>
                <a:gd name="T2" fmla="*/ 0 w 242"/>
                <a:gd name="T3" fmla="*/ 109 h 171"/>
                <a:gd name="T4" fmla="*/ 11 w 242"/>
                <a:gd name="T5" fmla="*/ 77 h 171"/>
                <a:gd name="T6" fmla="*/ 184 w 242"/>
                <a:gd name="T7" fmla="*/ 95 h 171"/>
                <a:gd name="T8" fmla="*/ 184 w 242"/>
                <a:gd name="T9" fmla="*/ 0 h 171"/>
                <a:gd name="T10" fmla="*/ 242 w 242"/>
                <a:gd name="T11" fmla="*/ 0 h 171"/>
                <a:gd name="T12" fmla="*/ 242 w 242"/>
                <a:gd name="T13" fmla="*/ 122 h 171"/>
                <a:gd name="T14" fmla="*/ 192 w 242"/>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171">
                  <a:moveTo>
                    <a:pt x="192" y="171"/>
                  </a:moveTo>
                  <a:cubicBezTo>
                    <a:pt x="0" y="109"/>
                    <a:pt x="0" y="109"/>
                    <a:pt x="0" y="109"/>
                  </a:cubicBezTo>
                  <a:cubicBezTo>
                    <a:pt x="11" y="77"/>
                    <a:pt x="11" y="77"/>
                    <a:pt x="11" y="77"/>
                  </a:cubicBezTo>
                  <a:cubicBezTo>
                    <a:pt x="184" y="95"/>
                    <a:pt x="184" y="95"/>
                    <a:pt x="184" y="95"/>
                  </a:cubicBezTo>
                  <a:cubicBezTo>
                    <a:pt x="184" y="0"/>
                    <a:pt x="184" y="0"/>
                    <a:pt x="184" y="0"/>
                  </a:cubicBezTo>
                  <a:cubicBezTo>
                    <a:pt x="242" y="0"/>
                    <a:pt x="242" y="0"/>
                    <a:pt x="242" y="0"/>
                  </a:cubicBezTo>
                  <a:cubicBezTo>
                    <a:pt x="242" y="122"/>
                    <a:pt x="242" y="122"/>
                    <a:pt x="242" y="122"/>
                  </a:cubicBezTo>
                  <a:cubicBezTo>
                    <a:pt x="242" y="149"/>
                    <a:pt x="219" y="171"/>
                    <a:pt x="192" y="17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7" name="Freeform 48"/>
            <p:cNvSpPr>
              <a:spLocks/>
            </p:cNvSpPr>
            <p:nvPr/>
          </p:nvSpPr>
          <p:spPr bwMode="auto">
            <a:xfrm>
              <a:off x="5143501" y="3454400"/>
              <a:ext cx="579438" cy="336550"/>
            </a:xfrm>
            <a:custGeom>
              <a:avLst/>
              <a:gdLst>
                <a:gd name="T0" fmla="*/ 50 w 294"/>
                <a:gd name="T1" fmla="*/ 171 h 171"/>
                <a:gd name="T2" fmla="*/ 294 w 294"/>
                <a:gd name="T3" fmla="*/ 108 h 171"/>
                <a:gd name="T4" fmla="*/ 181 w 294"/>
                <a:gd name="T5" fmla="*/ 88 h 171"/>
                <a:gd name="T6" fmla="*/ 58 w 294"/>
                <a:gd name="T7" fmla="*/ 95 h 171"/>
                <a:gd name="T8" fmla="*/ 58 w 294"/>
                <a:gd name="T9" fmla="*/ 0 h 171"/>
                <a:gd name="T10" fmla="*/ 0 w 294"/>
                <a:gd name="T11" fmla="*/ 0 h 171"/>
                <a:gd name="T12" fmla="*/ 0 w 294"/>
                <a:gd name="T13" fmla="*/ 122 h 171"/>
                <a:gd name="T14" fmla="*/ 50 w 294"/>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 h="171">
                  <a:moveTo>
                    <a:pt x="50" y="171"/>
                  </a:moveTo>
                  <a:cubicBezTo>
                    <a:pt x="294" y="108"/>
                    <a:pt x="294" y="108"/>
                    <a:pt x="294" y="108"/>
                  </a:cubicBezTo>
                  <a:cubicBezTo>
                    <a:pt x="181" y="88"/>
                    <a:pt x="181" y="88"/>
                    <a:pt x="181" y="88"/>
                  </a:cubicBezTo>
                  <a:cubicBezTo>
                    <a:pt x="58" y="95"/>
                    <a:pt x="58" y="95"/>
                    <a:pt x="58" y="95"/>
                  </a:cubicBezTo>
                  <a:cubicBezTo>
                    <a:pt x="58" y="0"/>
                    <a:pt x="58" y="0"/>
                    <a:pt x="58" y="0"/>
                  </a:cubicBezTo>
                  <a:cubicBezTo>
                    <a:pt x="0" y="0"/>
                    <a:pt x="0" y="0"/>
                    <a:pt x="0" y="0"/>
                  </a:cubicBezTo>
                  <a:cubicBezTo>
                    <a:pt x="0" y="122"/>
                    <a:pt x="0" y="122"/>
                    <a:pt x="0" y="122"/>
                  </a:cubicBezTo>
                  <a:cubicBezTo>
                    <a:pt x="0" y="149"/>
                    <a:pt x="22" y="171"/>
                    <a:pt x="50" y="17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8" name="Freeform 50"/>
            <p:cNvSpPr>
              <a:spLocks/>
            </p:cNvSpPr>
            <p:nvPr/>
          </p:nvSpPr>
          <p:spPr bwMode="auto">
            <a:xfrm>
              <a:off x="5391151" y="3181350"/>
              <a:ext cx="198438" cy="285750"/>
            </a:xfrm>
            <a:custGeom>
              <a:avLst/>
              <a:gdLst>
                <a:gd name="T0" fmla="*/ 63 w 125"/>
                <a:gd name="T1" fmla="*/ 180 h 180"/>
                <a:gd name="T2" fmla="*/ 0 w 125"/>
                <a:gd name="T3" fmla="*/ 0 h 180"/>
                <a:gd name="T4" fmla="*/ 125 w 125"/>
                <a:gd name="T5" fmla="*/ 0 h 180"/>
                <a:gd name="T6" fmla="*/ 63 w 125"/>
                <a:gd name="T7" fmla="*/ 180 h 180"/>
              </a:gdLst>
              <a:ahLst/>
              <a:cxnLst>
                <a:cxn ang="0">
                  <a:pos x="T0" y="T1"/>
                </a:cxn>
                <a:cxn ang="0">
                  <a:pos x="T2" y="T3"/>
                </a:cxn>
                <a:cxn ang="0">
                  <a:pos x="T4" y="T5"/>
                </a:cxn>
                <a:cxn ang="0">
                  <a:pos x="T6" y="T7"/>
                </a:cxn>
              </a:cxnLst>
              <a:rect l="0" t="0" r="r" b="b"/>
              <a:pathLst>
                <a:path w="125" h="180">
                  <a:moveTo>
                    <a:pt x="63" y="180"/>
                  </a:moveTo>
                  <a:lnTo>
                    <a:pt x="0" y="0"/>
                  </a:lnTo>
                  <a:lnTo>
                    <a:pt x="125" y="0"/>
                  </a:lnTo>
                  <a:lnTo>
                    <a:pt x="63" y="18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9" name="Freeform 51"/>
            <p:cNvSpPr>
              <a:spLocks/>
            </p:cNvSpPr>
            <p:nvPr/>
          </p:nvSpPr>
          <p:spPr bwMode="auto">
            <a:xfrm>
              <a:off x="5391151" y="3035300"/>
              <a:ext cx="198438" cy="203200"/>
            </a:xfrm>
            <a:custGeom>
              <a:avLst/>
              <a:gdLst>
                <a:gd name="T0" fmla="*/ 100 w 100"/>
                <a:gd name="T1" fmla="*/ 17 h 104"/>
                <a:gd name="T2" fmla="*/ 85 w 100"/>
                <a:gd name="T3" fmla="*/ 0 h 104"/>
                <a:gd name="T4" fmla="*/ 15 w 100"/>
                <a:gd name="T5" fmla="*/ 0 h 104"/>
                <a:gd name="T6" fmla="*/ 0 w 100"/>
                <a:gd name="T7" fmla="*/ 17 h 104"/>
                <a:gd name="T8" fmla="*/ 0 w 100"/>
                <a:gd name="T9" fmla="*/ 75 h 104"/>
                <a:gd name="T10" fmla="*/ 50 w 100"/>
                <a:gd name="T11" fmla="*/ 104 h 104"/>
                <a:gd name="T12" fmla="*/ 100 w 100"/>
                <a:gd name="T13" fmla="*/ 75 h 104"/>
                <a:gd name="T14" fmla="*/ 100 w 100"/>
                <a:gd name="T15" fmla="*/ 17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04">
                  <a:moveTo>
                    <a:pt x="100" y="17"/>
                  </a:moveTo>
                  <a:cubicBezTo>
                    <a:pt x="96" y="10"/>
                    <a:pt x="91" y="4"/>
                    <a:pt x="85" y="0"/>
                  </a:cubicBezTo>
                  <a:cubicBezTo>
                    <a:pt x="15" y="0"/>
                    <a:pt x="15" y="0"/>
                    <a:pt x="15" y="0"/>
                  </a:cubicBezTo>
                  <a:cubicBezTo>
                    <a:pt x="9" y="4"/>
                    <a:pt x="4" y="10"/>
                    <a:pt x="0" y="17"/>
                  </a:cubicBezTo>
                  <a:cubicBezTo>
                    <a:pt x="0" y="75"/>
                    <a:pt x="0" y="75"/>
                    <a:pt x="0" y="75"/>
                  </a:cubicBezTo>
                  <a:cubicBezTo>
                    <a:pt x="10" y="92"/>
                    <a:pt x="29" y="104"/>
                    <a:pt x="50" y="104"/>
                  </a:cubicBezTo>
                  <a:cubicBezTo>
                    <a:pt x="71" y="104"/>
                    <a:pt x="90" y="92"/>
                    <a:pt x="100" y="75"/>
                  </a:cubicBezTo>
                  <a:lnTo>
                    <a:pt x="100" y="17"/>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10" name="Freeform 52"/>
            <p:cNvSpPr>
              <a:spLocks/>
            </p:cNvSpPr>
            <p:nvPr/>
          </p:nvSpPr>
          <p:spPr bwMode="auto">
            <a:xfrm>
              <a:off x="5391151" y="2989263"/>
              <a:ext cx="198438" cy="166688"/>
            </a:xfrm>
            <a:custGeom>
              <a:avLst/>
              <a:gdLst>
                <a:gd name="T0" fmla="*/ 100 w 100"/>
                <a:gd name="T1" fmla="*/ 79 h 85"/>
                <a:gd name="T2" fmla="*/ 50 w 100"/>
                <a:gd name="T3" fmla="*/ 85 h 85"/>
                <a:gd name="T4" fmla="*/ 0 w 100"/>
                <a:gd name="T5" fmla="*/ 78 h 85"/>
                <a:gd name="T6" fmla="*/ 0 w 100"/>
                <a:gd name="T7" fmla="*/ 0 h 85"/>
                <a:gd name="T8" fmla="*/ 100 w 100"/>
                <a:gd name="T9" fmla="*/ 0 h 85"/>
                <a:gd name="T10" fmla="*/ 100 w 100"/>
                <a:gd name="T11" fmla="*/ 79 h 85"/>
              </a:gdLst>
              <a:ahLst/>
              <a:cxnLst>
                <a:cxn ang="0">
                  <a:pos x="T0" y="T1"/>
                </a:cxn>
                <a:cxn ang="0">
                  <a:pos x="T2" y="T3"/>
                </a:cxn>
                <a:cxn ang="0">
                  <a:pos x="T4" y="T5"/>
                </a:cxn>
                <a:cxn ang="0">
                  <a:pos x="T6" y="T7"/>
                </a:cxn>
                <a:cxn ang="0">
                  <a:pos x="T8" y="T9"/>
                </a:cxn>
                <a:cxn ang="0">
                  <a:pos x="T10" y="T11"/>
                </a:cxn>
              </a:cxnLst>
              <a:rect l="0" t="0" r="r" b="b"/>
              <a:pathLst>
                <a:path w="100" h="85">
                  <a:moveTo>
                    <a:pt x="100" y="79"/>
                  </a:moveTo>
                  <a:cubicBezTo>
                    <a:pt x="84" y="83"/>
                    <a:pt x="67" y="85"/>
                    <a:pt x="50" y="85"/>
                  </a:cubicBezTo>
                  <a:cubicBezTo>
                    <a:pt x="33" y="85"/>
                    <a:pt x="16" y="83"/>
                    <a:pt x="0" y="78"/>
                  </a:cubicBezTo>
                  <a:cubicBezTo>
                    <a:pt x="0" y="0"/>
                    <a:pt x="0" y="0"/>
                    <a:pt x="0" y="0"/>
                  </a:cubicBezTo>
                  <a:cubicBezTo>
                    <a:pt x="100" y="0"/>
                    <a:pt x="100" y="0"/>
                    <a:pt x="100" y="0"/>
                  </a:cubicBezTo>
                  <a:lnTo>
                    <a:pt x="100" y="7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11" name="Rectangle 54"/>
            <p:cNvSpPr>
              <a:spLocks noChangeArrowheads="1"/>
            </p:cNvSpPr>
            <p:nvPr/>
          </p:nvSpPr>
          <p:spPr bwMode="auto">
            <a:xfrm>
              <a:off x="5143501" y="3454400"/>
              <a:ext cx="114300" cy="33338"/>
            </a:xfrm>
            <a:prstGeom prst="rect">
              <a:avLst/>
            </a:prstGeom>
            <a:solidFill>
              <a:srgbClr val="C3986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12" name="Freeform 60"/>
            <p:cNvSpPr>
              <a:spLocks/>
            </p:cNvSpPr>
            <p:nvPr/>
          </p:nvSpPr>
          <p:spPr bwMode="auto">
            <a:xfrm>
              <a:off x="5284788" y="3605213"/>
              <a:ext cx="192088" cy="96838"/>
            </a:xfrm>
            <a:custGeom>
              <a:avLst/>
              <a:gdLst>
                <a:gd name="T0" fmla="*/ 97 w 97"/>
                <a:gd name="T1" fmla="*/ 49 h 49"/>
                <a:gd name="T2" fmla="*/ 0 w 97"/>
                <a:gd name="T3" fmla="*/ 49 h 49"/>
                <a:gd name="T4" fmla="*/ 49 w 97"/>
                <a:gd name="T5" fmla="*/ 0 h 49"/>
                <a:gd name="T6" fmla="*/ 97 w 97"/>
                <a:gd name="T7" fmla="*/ 49 h 49"/>
              </a:gdLst>
              <a:ahLst/>
              <a:cxnLst>
                <a:cxn ang="0">
                  <a:pos x="T0" y="T1"/>
                </a:cxn>
                <a:cxn ang="0">
                  <a:pos x="T2" y="T3"/>
                </a:cxn>
                <a:cxn ang="0">
                  <a:pos x="T4" y="T5"/>
                </a:cxn>
                <a:cxn ang="0">
                  <a:pos x="T6" y="T7"/>
                </a:cxn>
              </a:cxnLst>
              <a:rect l="0" t="0" r="r" b="b"/>
              <a:pathLst>
                <a:path w="97" h="49">
                  <a:moveTo>
                    <a:pt x="97" y="49"/>
                  </a:moveTo>
                  <a:cubicBezTo>
                    <a:pt x="0" y="49"/>
                    <a:pt x="0" y="49"/>
                    <a:pt x="0" y="49"/>
                  </a:cubicBezTo>
                  <a:cubicBezTo>
                    <a:pt x="0" y="22"/>
                    <a:pt x="22" y="0"/>
                    <a:pt x="49" y="0"/>
                  </a:cubicBezTo>
                  <a:cubicBezTo>
                    <a:pt x="75" y="0"/>
                    <a:pt x="97" y="22"/>
                    <a:pt x="97" y="49"/>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13" name="Freeform 61"/>
            <p:cNvSpPr>
              <a:spLocks/>
            </p:cNvSpPr>
            <p:nvPr/>
          </p:nvSpPr>
          <p:spPr bwMode="auto">
            <a:xfrm>
              <a:off x="5310188" y="3636963"/>
              <a:ext cx="219075" cy="112713"/>
            </a:xfrm>
            <a:custGeom>
              <a:avLst/>
              <a:gdLst>
                <a:gd name="T0" fmla="*/ 59 w 138"/>
                <a:gd name="T1" fmla="*/ 71 h 71"/>
                <a:gd name="T2" fmla="*/ 0 w 138"/>
                <a:gd name="T3" fmla="*/ 0 h 71"/>
                <a:gd name="T4" fmla="*/ 138 w 138"/>
                <a:gd name="T5" fmla="*/ 55 h 71"/>
                <a:gd name="T6" fmla="*/ 59 w 138"/>
                <a:gd name="T7" fmla="*/ 71 h 71"/>
              </a:gdLst>
              <a:ahLst/>
              <a:cxnLst>
                <a:cxn ang="0">
                  <a:pos x="T0" y="T1"/>
                </a:cxn>
                <a:cxn ang="0">
                  <a:pos x="T2" y="T3"/>
                </a:cxn>
                <a:cxn ang="0">
                  <a:pos x="T4" y="T5"/>
                </a:cxn>
                <a:cxn ang="0">
                  <a:pos x="T6" y="T7"/>
                </a:cxn>
              </a:cxnLst>
              <a:rect l="0" t="0" r="r" b="b"/>
              <a:pathLst>
                <a:path w="138" h="71">
                  <a:moveTo>
                    <a:pt x="59" y="71"/>
                  </a:moveTo>
                  <a:lnTo>
                    <a:pt x="0" y="0"/>
                  </a:lnTo>
                  <a:lnTo>
                    <a:pt x="138" y="55"/>
                  </a:lnTo>
                  <a:lnTo>
                    <a:pt x="59" y="71"/>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14" name="Rectangle 65"/>
            <p:cNvSpPr>
              <a:spLocks noChangeArrowheads="1"/>
            </p:cNvSpPr>
            <p:nvPr/>
          </p:nvSpPr>
          <p:spPr bwMode="auto">
            <a:xfrm>
              <a:off x="5121276" y="3419475"/>
              <a:ext cx="163513" cy="130175"/>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IN"/>
            </a:p>
          </p:txBody>
        </p:sp>
        <p:sp>
          <p:nvSpPr>
            <p:cNvPr id="315" name="Rectangle 66"/>
            <p:cNvSpPr>
              <a:spLocks noChangeArrowheads="1"/>
            </p:cNvSpPr>
            <p:nvPr/>
          </p:nvSpPr>
          <p:spPr bwMode="auto">
            <a:xfrm>
              <a:off x="5703888" y="3433763"/>
              <a:ext cx="153988" cy="115888"/>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IN"/>
            </a:p>
          </p:txBody>
        </p:sp>
        <p:sp>
          <p:nvSpPr>
            <p:cNvPr id="316" name="Freeform 53"/>
            <p:cNvSpPr>
              <a:spLocks/>
            </p:cNvSpPr>
            <p:nvPr/>
          </p:nvSpPr>
          <p:spPr bwMode="auto">
            <a:xfrm>
              <a:off x="5330826" y="2768600"/>
              <a:ext cx="317500" cy="336550"/>
            </a:xfrm>
            <a:custGeom>
              <a:avLst/>
              <a:gdLst>
                <a:gd name="T0" fmla="*/ 161 w 161"/>
                <a:gd name="T1" fmla="*/ 20 h 172"/>
                <a:gd name="T2" fmla="*/ 161 w 161"/>
                <a:gd name="T3" fmla="*/ 146 h 172"/>
                <a:gd name="T4" fmla="*/ 161 w 161"/>
                <a:gd name="T5" fmla="*/ 146 h 172"/>
                <a:gd name="T6" fmla="*/ 81 w 161"/>
                <a:gd name="T7" fmla="*/ 172 h 172"/>
                <a:gd name="T8" fmla="*/ 0 w 161"/>
                <a:gd name="T9" fmla="*/ 146 h 172"/>
                <a:gd name="T10" fmla="*/ 0 w 161"/>
                <a:gd name="T11" fmla="*/ 20 h 172"/>
                <a:gd name="T12" fmla="*/ 81 w 161"/>
                <a:gd name="T13" fmla="*/ 0 h 172"/>
                <a:gd name="T14" fmla="*/ 161 w 161"/>
                <a:gd name="T15" fmla="*/ 20 h 1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172">
                  <a:moveTo>
                    <a:pt x="161" y="20"/>
                  </a:moveTo>
                  <a:cubicBezTo>
                    <a:pt x="161" y="146"/>
                    <a:pt x="161" y="146"/>
                    <a:pt x="161" y="146"/>
                  </a:cubicBezTo>
                  <a:cubicBezTo>
                    <a:pt x="161" y="146"/>
                    <a:pt x="161" y="146"/>
                    <a:pt x="161" y="146"/>
                  </a:cubicBezTo>
                  <a:cubicBezTo>
                    <a:pt x="138" y="162"/>
                    <a:pt x="111" y="172"/>
                    <a:pt x="81" y="172"/>
                  </a:cubicBezTo>
                  <a:cubicBezTo>
                    <a:pt x="51" y="172"/>
                    <a:pt x="22" y="162"/>
                    <a:pt x="0" y="146"/>
                  </a:cubicBezTo>
                  <a:cubicBezTo>
                    <a:pt x="0" y="20"/>
                    <a:pt x="0" y="20"/>
                    <a:pt x="0" y="20"/>
                  </a:cubicBezTo>
                  <a:cubicBezTo>
                    <a:pt x="0" y="20"/>
                    <a:pt x="40" y="0"/>
                    <a:pt x="81" y="0"/>
                  </a:cubicBezTo>
                  <a:cubicBezTo>
                    <a:pt x="121" y="0"/>
                    <a:pt x="161" y="20"/>
                    <a:pt x="161" y="2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17" name="Freeform 43"/>
            <p:cNvSpPr>
              <a:spLocks/>
            </p:cNvSpPr>
            <p:nvPr/>
          </p:nvSpPr>
          <p:spPr bwMode="auto">
            <a:xfrm>
              <a:off x="5330826" y="2658268"/>
              <a:ext cx="317500" cy="323056"/>
            </a:xfrm>
            <a:prstGeom prst="round2SameRect">
              <a:avLst>
                <a:gd name="adj1" fmla="val 50000"/>
                <a:gd name="adj2" fmla="val 0"/>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IN"/>
            </a:p>
          </p:txBody>
        </p:sp>
        <p:sp>
          <p:nvSpPr>
            <p:cNvPr id="318" name="Freeform 317"/>
            <p:cNvSpPr>
              <a:spLocks/>
            </p:cNvSpPr>
            <p:nvPr/>
          </p:nvSpPr>
          <p:spPr bwMode="auto">
            <a:xfrm>
              <a:off x="5345348" y="3105150"/>
              <a:ext cx="290846" cy="65088"/>
            </a:xfrm>
            <a:custGeom>
              <a:avLst/>
              <a:gdLst>
                <a:gd name="connsiteX0" fmla="*/ 45803 w 290846"/>
                <a:gd name="connsiteY0" fmla="*/ 0 h 65088"/>
                <a:gd name="connsiteX1" fmla="*/ 244240 w 290846"/>
                <a:gd name="connsiteY1" fmla="*/ 0 h 65088"/>
                <a:gd name="connsiteX2" fmla="*/ 290846 w 290846"/>
                <a:gd name="connsiteY2" fmla="*/ 65088 h 65088"/>
                <a:gd name="connsiteX3" fmla="*/ 0 w 290846"/>
                <a:gd name="connsiteY3" fmla="*/ 65088 h 65088"/>
              </a:gdLst>
              <a:ahLst/>
              <a:cxnLst>
                <a:cxn ang="0">
                  <a:pos x="connsiteX0" y="connsiteY0"/>
                </a:cxn>
                <a:cxn ang="0">
                  <a:pos x="connsiteX1" y="connsiteY1"/>
                </a:cxn>
                <a:cxn ang="0">
                  <a:pos x="connsiteX2" y="connsiteY2"/>
                </a:cxn>
                <a:cxn ang="0">
                  <a:pos x="connsiteX3" y="connsiteY3"/>
                </a:cxn>
              </a:cxnLst>
              <a:rect l="l" t="t" r="r" b="b"/>
              <a:pathLst>
                <a:path w="290846" h="65088">
                  <a:moveTo>
                    <a:pt x="45803" y="0"/>
                  </a:moveTo>
                  <a:lnTo>
                    <a:pt x="244240" y="0"/>
                  </a:lnTo>
                  <a:lnTo>
                    <a:pt x="290846" y="65088"/>
                  </a:lnTo>
                  <a:lnTo>
                    <a:pt x="0" y="65088"/>
                  </a:ln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IN"/>
            </a:p>
          </p:txBody>
        </p:sp>
        <p:sp>
          <p:nvSpPr>
            <p:cNvPr id="319" name="Rectangle 318"/>
            <p:cNvSpPr/>
            <p:nvPr/>
          </p:nvSpPr>
          <p:spPr bwMode="auto">
            <a:xfrm>
              <a:off x="5338881" y="4040981"/>
              <a:ext cx="302978" cy="9525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grpSp>
          <p:nvGrpSpPr>
            <p:cNvPr id="320" name="Group 319"/>
            <p:cNvGrpSpPr/>
            <p:nvPr/>
          </p:nvGrpSpPr>
          <p:grpSpPr>
            <a:xfrm>
              <a:off x="5290345" y="3957634"/>
              <a:ext cx="149601" cy="147242"/>
              <a:chOff x="4818857" y="3945728"/>
              <a:chExt cx="149601" cy="147242"/>
            </a:xfrm>
          </p:grpSpPr>
          <p:sp>
            <p:nvSpPr>
              <p:cNvPr id="325" name="Freeform 324"/>
              <p:cNvSpPr/>
              <p:nvPr/>
            </p:nvSpPr>
            <p:spPr bwMode="auto">
              <a:xfrm rot="10800000">
                <a:off x="4818857" y="3950493"/>
                <a:ext cx="149601" cy="142477"/>
              </a:xfrm>
              <a:custGeom>
                <a:avLst/>
                <a:gdLst>
                  <a:gd name="connsiteX0" fmla="*/ 213360 w 213360"/>
                  <a:gd name="connsiteY0" fmla="*/ 203200 h 203200"/>
                  <a:gd name="connsiteX1" fmla="*/ 0 w 213360"/>
                  <a:gd name="connsiteY1" fmla="*/ 203200 h 203200"/>
                  <a:gd name="connsiteX2" fmla="*/ 0 w 213360"/>
                  <a:gd name="connsiteY2" fmla="*/ 78582 h 203200"/>
                  <a:gd name="connsiteX3" fmla="*/ 314 w 213360"/>
                  <a:gd name="connsiteY3" fmla="*/ 78582 h 203200"/>
                  <a:gd name="connsiteX4" fmla="*/ 0 w 213360"/>
                  <a:gd name="connsiteY4" fmla="*/ 77615 h 203200"/>
                  <a:gd name="connsiteX5" fmla="*/ 106680 w 213360"/>
                  <a:gd name="connsiteY5" fmla="*/ 0 h 203200"/>
                  <a:gd name="connsiteX6" fmla="*/ 213360 w 213360"/>
                  <a:gd name="connsiteY6" fmla="*/ 77615 h 203200"/>
                  <a:gd name="connsiteX7" fmla="*/ 213046 w 213360"/>
                  <a:gd name="connsiteY7" fmla="*/ 78582 h 203200"/>
                  <a:gd name="connsiteX8" fmla="*/ 213360 w 213360"/>
                  <a:gd name="connsiteY8" fmla="*/ 7858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360" h="203200">
                    <a:moveTo>
                      <a:pt x="213360" y="203200"/>
                    </a:moveTo>
                    <a:lnTo>
                      <a:pt x="0" y="203200"/>
                    </a:lnTo>
                    <a:lnTo>
                      <a:pt x="0" y="78582"/>
                    </a:lnTo>
                    <a:lnTo>
                      <a:pt x="314" y="78582"/>
                    </a:lnTo>
                    <a:lnTo>
                      <a:pt x="0" y="77615"/>
                    </a:lnTo>
                    <a:lnTo>
                      <a:pt x="106680" y="0"/>
                    </a:lnTo>
                    <a:lnTo>
                      <a:pt x="213360" y="77615"/>
                    </a:lnTo>
                    <a:lnTo>
                      <a:pt x="213046" y="78582"/>
                    </a:lnTo>
                    <a:lnTo>
                      <a:pt x="213360" y="78582"/>
                    </a:lnTo>
                    <a:close/>
                  </a:path>
                </a:pathLst>
              </a:custGeom>
              <a:solidFill>
                <a:srgbClr val="000F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326" name="Freeform 325"/>
              <p:cNvSpPr/>
              <p:nvPr/>
            </p:nvSpPr>
            <p:spPr bwMode="auto">
              <a:xfrm rot="10800000">
                <a:off x="4831636" y="3945728"/>
                <a:ext cx="124043" cy="128189"/>
              </a:xfrm>
              <a:custGeom>
                <a:avLst/>
                <a:gdLst>
                  <a:gd name="connsiteX0" fmla="*/ 213360 w 213360"/>
                  <a:gd name="connsiteY0" fmla="*/ 203200 h 203200"/>
                  <a:gd name="connsiteX1" fmla="*/ 0 w 213360"/>
                  <a:gd name="connsiteY1" fmla="*/ 203200 h 203200"/>
                  <a:gd name="connsiteX2" fmla="*/ 0 w 213360"/>
                  <a:gd name="connsiteY2" fmla="*/ 78582 h 203200"/>
                  <a:gd name="connsiteX3" fmla="*/ 314 w 213360"/>
                  <a:gd name="connsiteY3" fmla="*/ 78582 h 203200"/>
                  <a:gd name="connsiteX4" fmla="*/ 0 w 213360"/>
                  <a:gd name="connsiteY4" fmla="*/ 77615 h 203200"/>
                  <a:gd name="connsiteX5" fmla="*/ 106680 w 213360"/>
                  <a:gd name="connsiteY5" fmla="*/ 0 h 203200"/>
                  <a:gd name="connsiteX6" fmla="*/ 213360 w 213360"/>
                  <a:gd name="connsiteY6" fmla="*/ 77615 h 203200"/>
                  <a:gd name="connsiteX7" fmla="*/ 213046 w 213360"/>
                  <a:gd name="connsiteY7" fmla="*/ 78582 h 203200"/>
                  <a:gd name="connsiteX8" fmla="*/ 213360 w 213360"/>
                  <a:gd name="connsiteY8" fmla="*/ 7858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360" h="203200">
                    <a:moveTo>
                      <a:pt x="213360" y="203200"/>
                    </a:moveTo>
                    <a:lnTo>
                      <a:pt x="0" y="203200"/>
                    </a:lnTo>
                    <a:lnTo>
                      <a:pt x="0" y="78582"/>
                    </a:lnTo>
                    <a:lnTo>
                      <a:pt x="314" y="78582"/>
                    </a:lnTo>
                    <a:lnTo>
                      <a:pt x="0" y="77615"/>
                    </a:lnTo>
                    <a:lnTo>
                      <a:pt x="106680" y="0"/>
                    </a:lnTo>
                    <a:lnTo>
                      <a:pt x="213360" y="77615"/>
                    </a:lnTo>
                    <a:lnTo>
                      <a:pt x="213046" y="78582"/>
                    </a:lnTo>
                    <a:lnTo>
                      <a:pt x="213360" y="78582"/>
                    </a:lnTo>
                    <a:close/>
                  </a:path>
                </a:pathLst>
              </a:custGeom>
              <a:noFill/>
              <a:ln w="3175">
                <a:solidFill>
                  <a:schemeClr val="accent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a:solidFill>
                    <a:schemeClr val="bg1"/>
                  </a:solidFill>
                  <a:latin typeface="+mj-lt"/>
                  <a:ea typeface="Segoe UI" pitchFamily="34" charset="0"/>
                  <a:cs typeface="Segoe UI" pitchFamily="34" charset="0"/>
                </a:endParaRPr>
              </a:p>
            </p:txBody>
          </p:sp>
        </p:grpSp>
        <p:grpSp>
          <p:nvGrpSpPr>
            <p:cNvPr id="321" name="Group 320"/>
            <p:cNvGrpSpPr/>
            <p:nvPr/>
          </p:nvGrpSpPr>
          <p:grpSpPr>
            <a:xfrm>
              <a:off x="5542757" y="3957634"/>
              <a:ext cx="149601" cy="147242"/>
              <a:chOff x="4818857" y="3945728"/>
              <a:chExt cx="149601" cy="147242"/>
            </a:xfrm>
          </p:grpSpPr>
          <p:sp>
            <p:nvSpPr>
              <p:cNvPr id="323" name="Freeform 322"/>
              <p:cNvSpPr/>
              <p:nvPr/>
            </p:nvSpPr>
            <p:spPr bwMode="auto">
              <a:xfrm rot="10800000">
                <a:off x="4818857" y="3950493"/>
                <a:ext cx="149601" cy="142477"/>
              </a:xfrm>
              <a:custGeom>
                <a:avLst/>
                <a:gdLst>
                  <a:gd name="connsiteX0" fmla="*/ 213360 w 213360"/>
                  <a:gd name="connsiteY0" fmla="*/ 203200 h 203200"/>
                  <a:gd name="connsiteX1" fmla="*/ 0 w 213360"/>
                  <a:gd name="connsiteY1" fmla="*/ 203200 h 203200"/>
                  <a:gd name="connsiteX2" fmla="*/ 0 w 213360"/>
                  <a:gd name="connsiteY2" fmla="*/ 78582 h 203200"/>
                  <a:gd name="connsiteX3" fmla="*/ 314 w 213360"/>
                  <a:gd name="connsiteY3" fmla="*/ 78582 h 203200"/>
                  <a:gd name="connsiteX4" fmla="*/ 0 w 213360"/>
                  <a:gd name="connsiteY4" fmla="*/ 77615 h 203200"/>
                  <a:gd name="connsiteX5" fmla="*/ 106680 w 213360"/>
                  <a:gd name="connsiteY5" fmla="*/ 0 h 203200"/>
                  <a:gd name="connsiteX6" fmla="*/ 213360 w 213360"/>
                  <a:gd name="connsiteY6" fmla="*/ 77615 h 203200"/>
                  <a:gd name="connsiteX7" fmla="*/ 213046 w 213360"/>
                  <a:gd name="connsiteY7" fmla="*/ 78582 h 203200"/>
                  <a:gd name="connsiteX8" fmla="*/ 213360 w 213360"/>
                  <a:gd name="connsiteY8" fmla="*/ 7858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360" h="203200">
                    <a:moveTo>
                      <a:pt x="213360" y="203200"/>
                    </a:moveTo>
                    <a:lnTo>
                      <a:pt x="0" y="203200"/>
                    </a:lnTo>
                    <a:lnTo>
                      <a:pt x="0" y="78582"/>
                    </a:lnTo>
                    <a:lnTo>
                      <a:pt x="314" y="78582"/>
                    </a:lnTo>
                    <a:lnTo>
                      <a:pt x="0" y="77615"/>
                    </a:lnTo>
                    <a:lnTo>
                      <a:pt x="106680" y="0"/>
                    </a:lnTo>
                    <a:lnTo>
                      <a:pt x="213360" y="77615"/>
                    </a:lnTo>
                    <a:lnTo>
                      <a:pt x="213046" y="78582"/>
                    </a:lnTo>
                    <a:lnTo>
                      <a:pt x="213360" y="78582"/>
                    </a:lnTo>
                    <a:close/>
                  </a:path>
                </a:pathLst>
              </a:custGeom>
              <a:solidFill>
                <a:srgbClr val="000F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sp>
            <p:nvSpPr>
              <p:cNvPr id="324" name="Freeform 323"/>
              <p:cNvSpPr/>
              <p:nvPr/>
            </p:nvSpPr>
            <p:spPr bwMode="auto">
              <a:xfrm rot="10800000">
                <a:off x="4831636" y="3945728"/>
                <a:ext cx="124043" cy="128189"/>
              </a:xfrm>
              <a:custGeom>
                <a:avLst/>
                <a:gdLst>
                  <a:gd name="connsiteX0" fmla="*/ 213360 w 213360"/>
                  <a:gd name="connsiteY0" fmla="*/ 203200 h 203200"/>
                  <a:gd name="connsiteX1" fmla="*/ 0 w 213360"/>
                  <a:gd name="connsiteY1" fmla="*/ 203200 h 203200"/>
                  <a:gd name="connsiteX2" fmla="*/ 0 w 213360"/>
                  <a:gd name="connsiteY2" fmla="*/ 78582 h 203200"/>
                  <a:gd name="connsiteX3" fmla="*/ 314 w 213360"/>
                  <a:gd name="connsiteY3" fmla="*/ 78582 h 203200"/>
                  <a:gd name="connsiteX4" fmla="*/ 0 w 213360"/>
                  <a:gd name="connsiteY4" fmla="*/ 77615 h 203200"/>
                  <a:gd name="connsiteX5" fmla="*/ 106680 w 213360"/>
                  <a:gd name="connsiteY5" fmla="*/ 0 h 203200"/>
                  <a:gd name="connsiteX6" fmla="*/ 213360 w 213360"/>
                  <a:gd name="connsiteY6" fmla="*/ 77615 h 203200"/>
                  <a:gd name="connsiteX7" fmla="*/ 213046 w 213360"/>
                  <a:gd name="connsiteY7" fmla="*/ 78582 h 203200"/>
                  <a:gd name="connsiteX8" fmla="*/ 213360 w 213360"/>
                  <a:gd name="connsiteY8" fmla="*/ 7858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360" h="203200">
                    <a:moveTo>
                      <a:pt x="213360" y="203200"/>
                    </a:moveTo>
                    <a:lnTo>
                      <a:pt x="0" y="203200"/>
                    </a:lnTo>
                    <a:lnTo>
                      <a:pt x="0" y="78582"/>
                    </a:lnTo>
                    <a:lnTo>
                      <a:pt x="314" y="78582"/>
                    </a:lnTo>
                    <a:lnTo>
                      <a:pt x="0" y="77615"/>
                    </a:lnTo>
                    <a:lnTo>
                      <a:pt x="106680" y="0"/>
                    </a:lnTo>
                    <a:lnTo>
                      <a:pt x="213360" y="77615"/>
                    </a:lnTo>
                    <a:lnTo>
                      <a:pt x="213046" y="78582"/>
                    </a:lnTo>
                    <a:lnTo>
                      <a:pt x="213360" y="78582"/>
                    </a:lnTo>
                    <a:close/>
                  </a:path>
                </a:pathLst>
              </a:custGeom>
              <a:noFill/>
              <a:ln w="3175">
                <a:solidFill>
                  <a:schemeClr val="accent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000" b="1" dirty="0" smtClean="0">
                  <a:solidFill>
                    <a:schemeClr val="bg1"/>
                  </a:solidFill>
                  <a:latin typeface="+mj-lt"/>
                  <a:ea typeface="Segoe UI" pitchFamily="34" charset="0"/>
                  <a:cs typeface="Segoe UI" pitchFamily="34" charset="0"/>
                </a:endParaRPr>
              </a:p>
            </p:txBody>
          </p:sp>
        </p:grpSp>
        <p:sp>
          <p:nvSpPr>
            <p:cNvPr id="322" name="Freeform 42"/>
            <p:cNvSpPr>
              <a:spLocks/>
            </p:cNvSpPr>
            <p:nvPr/>
          </p:nvSpPr>
          <p:spPr bwMode="auto">
            <a:xfrm>
              <a:off x="5121276" y="3170238"/>
              <a:ext cx="736600" cy="820738"/>
            </a:xfrm>
            <a:custGeom>
              <a:avLst/>
              <a:gdLst>
                <a:gd name="T0" fmla="*/ 294 w 373"/>
                <a:gd name="T1" fmla="*/ 0 h 418"/>
                <a:gd name="T2" fmla="*/ 221 w 373"/>
                <a:gd name="T3" fmla="*/ 0 h 418"/>
                <a:gd name="T4" fmla="*/ 187 w 373"/>
                <a:gd name="T5" fmla="*/ 17 h 418"/>
                <a:gd name="T6" fmla="*/ 153 w 373"/>
                <a:gd name="T7" fmla="*/ 0 h 418"/>
                <a:gd name="T8" fmla="*/ 79 w 373"/>
                <a:gd name="T9" fmla="*/ 0 h 418"/>
                <a:gd name="T10" fmla="*/ 0 w 373"/>
                <a:gd name="T11" fmla="*/ 79 h 418"/>
                <a:gd name="T12" fmla="*/ 0 w 373"/>
                <a:gd name="T13" fmla="*/ 145 h 418"/>
                <a:gd name="T14" fmla="*/ 69 w 373"/>
                <a:gd name="T15" fmla="*/ 145 h 418"/>
                <a:gd name="T16" fmla="*/ 69 w 373"/>
                <a:gd name="T17" fmla="*/ 418 h 418"/>
                <a:gd name="T18" fmla="*/ 305 w 373"/>
                <a:gd name="T19" fmla="*/ 418 h 418"/>
                <a:gd name="T20" fmla="*/ 305 w 373"/>
                <a:gd name="T21" fmla="*/ 145 h 418"/>
                <a:gd name="T22" fmla="*/ 373 w 373"/>
                <a:gd name="T23" fmla="*/ 145 h 418"/>
                <a:gd name="T24" fmla="*/ 373 w 373"/>
                <a:gd name="T25" fmla="*/ 79 h 418"/>
                <a:gd name="T26" fmla="*/ 294 w 373"/>
                <a:gd name="T27" fmla="*/ 0 h 418"/>
                <a:gd name="connsiteX0" fmla="*/ 7882 w 10000"/>
                <a:gd name="connsiteY0" fmla="*/ 0 h 10000"/>
                <a:gd name="connsiteX1" fmla="*/ 5925 w 10000"/>
                <a:gd name="connsiteY1" fmla="*/ 0 h 10000"/>
                <a:gd name="connsiteX2" fmla="*/ 4102 w 10000"/>
                <a:gd name="connsiteY2" fmla="*/ 0 h 10000"/>
                <a:gd name="connsiteX3" fmla="*/ 2118 w 10000"/>
                <a:gd name="connsiteY3" fmla="*/ 0 h 10000"/>
                <a:gd name="connsiteX4" fmla="*/ 0 w 10000"/>
                <a:gd name="connsiteY4" fmla="*/ 1890 h 10000"/>
                <a:gd name="connsiteX5" fmla="*/ 0 w 10000"/>
                <a:gd name="connsiteY5" fmla="*/ 3469 h 10000"/>
                <a:gd name="connsiteX6" fmla="*/ 1850 w 10000"/>
                <a:gd name="connsiteY6" fmla="*/ 3469 h 10000"/>
                <a:gd name="connsiteX7" fmla="*/ 1850 w 10000"/>
                <a:gd name="connsiteY7" fmla="*/ 10000 h 10000"/>
                <a:gd name="connsiteX8" fmla="*/ 8177 w 10000"/>
                <a:gd name="connsiteY8" fmla="*/ 10000 h 10000"/>
                <a:gd name="connsiteX9" fmla="*/ 8177 w 10000"/>
                <a:gd name="connsiteY9" fmla="*/ 3469 h 10000"/>
                <a:gd name="connsiteX10" fmla="*/ 10000 w 10000"/>
                <a:gd name="connsiteY10" fmla="*/ 3469 h 10000"/>
                <a:gd name="connsiteX11" fmla="*/ 10000 w 10000"/>
                <a:gd name="connsiteY11" fmla="*/ 1890 h 10000"/>
                <a:gd name="connsiteX12" fmla="*/ 7882 w 10000"/>
                <a:gd name="connsiteY12"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0" h="10000">
                  <a:moveTo>
                    <a:pt x="7882" y="0"/>
                  </a:moveTo>
                  <a:lnTo>
                    <a:pt x="5925" y="0"/>
                  </a:lnTo>
                  <a:lnTo>
                    <a:pt x="4102" y="0"/>
                  </a:lnTo>
                  <a:lnTo>
                    <a:pt x="2118" y="0"/>
                  </a:lnTo>
                  <a:cubicBezTo>
                    <a:pt x="938" y="0"/>
                    <a:pt x="0" y="837"/>
                    <a:pt x="0" y="1890"/>
                  </a:cubicBezTo>
                  <a:lnTo>
                    <a:pt x="0" y="3469"/>
                  </a:lnTo>
                  <a:lnTo>
                    <a:pt x="1850" y="3469"/>
                  </a:lnTo>
                  <a:lnTo>
                    <a:pt x="1850" y="10000"/>
                  </a:lnTo>
                  <a:lnTo>
                    <a:pt x="8177" y="10000"/>
                  </a:lnTo>
                  <a:lnTo>
                    <a:pt x="8177" y="3469"/>
                  </a:lnTo>
                  <a:lnTo>
                    <a:pt x="10000" y="3469"/>
                  </a:lnTo>
                  <a:lnTo>
                    <a:pt x="10000" y="1890"/>
                  </a:lnTo>
                  <a:cubicBezTo>
                    <a:pt x="10000" y="837"/>
                    <a:pt x="9062" y="0"/>
                    <a:pt x="7882" y="0"/>
                  </a:cubicBezTo>
                  <a:close/>
                </a:path>
              </a:pathLst>
            </a:custGeom>
            <a:solidFill>
              <a:schemeClr val="accent5">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2364078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48"/>
                                        </p:tgtEl>
                                        <p:attrNameLst>
                                          <p:attrName>style.visibility</p:attrName>
                                        </p:attrNameLst>
                                      </p:cBhvr>
                                      <p:to>
                                        <p:strVal val="visible"/>
                                      </p:to>
                                    </p:set>
                                    <p:animEffect transition="in" filter="fade">
                                      <p:cBhvr>
                                        <p:cTn id="27" dur="500"/>
                                        <p:tgtEl>
                                          <p:spTgt spid="4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p:cNvSpPr txBox="1"/>
          <p:nvPr/>
        </p:nvSpPr>
        <p:spPr>
          <a:xfrm>
            <a:off x="7243772" y="6105379"/>
            <a:ext cx="4003022" cy="369332"/>
          </a:xfrm>
          <a:prstGeom prst="rect">
            <a:avLst/>
          </a:prstGeom>
          <a:noFill/>
        </p:spPr>
        <p:txBody>
          <a:bodyPr wrap="square" lIns="0" tIns="0" rIns="0" bIns="0" rtlCol="0">
            <a:spAutoFit/>
          </a:bodyPr>
          <a:lstStyle/>
          <a:p>
            <a:pPr algn="ctr">
              <a:spcAft>
                <a:spcPts val="600"/>
              </a:spcAft>
            </a:pPr>
            <a:r>
              <a:rPr lang="en-US" sz="2400" b="1" dirty="0" smtClean="0">
                <a:solidFill>
                  <a:schemeClr val="tx2"/>
                </a:solidFill>
                <a:latin typeface="Segoe UI Semibold" panose="020B0702040204020203" pitchFamily="34" charset="0"/>
                <a:cs typeface="Segoe UI Semibold" panose="020B0702040204020203" pitchFamily="34" charset="0"/>
              </a:rPr>
              <a:t>HDInsight clusters</a:t>
            </a:r>
          </a:p>
        </p:txBody>
      </p:sp>
      <p:sp>
        <p:nvSpPr>
          <p:cNvPr id="2" name="Title 1"/>
          <p:cNvSpPr>
            <a:spLocks noGrp="1"/>
          </p:cNvSpPr>
          <p:nvPr>
            <p:ph type="title"/>
          </p:nvPr>
        </p:nvSpPr>
        <p:spPr/>
        <p:txBody>
          <a:bodyPr/>
          <a:lstStyle/>
          <a:p>
            <a:r>
              <a:rPr lang="en-US" dirty="0" smtClean="0"/>
              <a:t>Security</a:t>
            </a:r>
            <a:endParaRPr lang="en-US" dirty="0"/>
          </a:p>
        </p:txBody>
      </p:sp>
      <p:grpSp>
        <p:nvGrpSpPr>
          <p:cNvPr id="4785" name="Group 4784"/>
          <p:cNvGrpSpPr/>
          <p:nvPr/>
        </p:nvGrpSpPr>
        <p:grpSpPr>
          <a:xfrm>
            <a:off x="491711" y="1848099"/>
            <a:ext cx="6203967" cy="830997"/>
            <a:chOff x="603233" y="1238495"/>
            <a:chExt cx="6203967" cy="830997"/>
          </a:xfrm>
        </p:grpSpPr>
        <p:sp>
          <p:nvSpPr>
            <p:cNvPr id="4786" name="Rectangle 4785"/>
            <p:cNvSpPr/>
            <p:nvPr/>
          </p:nvSpPr>
          <p:spPr>
            <a:xfrm>
              <a:off x="899886" y="1238495"/>
              <a:ext cx="5907314" cy="830997"/>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IN"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rotect data at rest and in motion </a:t>
              </a:r>
              <a:r>
                <a:rPr lang="en-IN" sz="24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
              </a:r>
              <a:br>
                <a:rPr lang="en-IN" sz="24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IN" sz="24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with </a:t>
              </a:r>
              <a:r>
                <a:rPr lang="en-IN"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ecure authentication</a:t>
              </a:r>
            </a:p>
          </p:txBody>
        </p:sp>
        <p:sp>
          <p:nvSpPr>
            <p:cNvPr id="4787" name="Freeform 4786"/>
            <p:cNvSpPr>
              <a:spLocks/>
            </p:cNvSpPr>
            <p:nvPr/>
          </p:nvSpPr>
          <p:spPr bwMode="auto">
            <a:xfrm>
              <a:off x="603233" y="1341106"/>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grpSp>
        <p:nvGrpSpPr>
          <p:cNvPr id="4788" name="Group 4787"/>
          <p:cNvGrpSpPr/>
          <p:nvPr/>
        </p:nvGrpSpPr>
        <p:grpSpPr>
          <a:xfrm>
            <a:off x="491711" y="2884328"/>
            <a:ext cx="6203967" cy="830997"/>
            <a:chOff x="603233" y="2288574"/>
            <a:chExt cx="6203967" cy="830997"/>
          </a:xfrm>
        </p:grpSpPr>
        <p:sp>
          <p:nvSpPr>
            <p:cNvPr id="4789" name="Rectangle 4788"/>
            <p:cNvSpPr/>
            <p:nvPr/>
          </p:nvSpPr>
          <p:spPr>
            <a:xfrm>
              <a:off x="899886" y="2288574"/>
              <a:ext cx="5907314" cy="830997"/>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IN"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Leverage local security policies and features</a:t>
              </a:r>
            </a:p>
          </p:txBody>
        </p:sp>
        <p:sp>
          <p:nvSpPr>
            <p:cNvPr id="4790" name="Freeform 4789"/>
            <p:cNvSpPr>
              <a:spLocks/>
            </p:cNvSpPr>
            <p:nvPr/>
          </p:nvSpPr>
          <p:spPr bwMode="auto">
            <a:xfrm>
              <a:off x="603233" y="2369806"/>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grpSp>
        <p:nvGrpSpPr>
          <p:cNvPr id="4791" name="Group 4790"/>
          <p:cNvGrpSpPr/>
          <p:nvPr/>
        </p:nvGrpSpPr>
        <p:grpSpPr>
          <a:xfrm>
            <a:off x="491711" y="3920557"/>
            <a:ext cx="6203967" cy="830997"/>
            <a:chOff x="603233" y="3338653"/>
            <a:chExt cx="6203967" cy="830997"/>
          </a:xfrm>
        </p:grpSpPr>
        <p:sp>
          <p:nvSpPr>
            <p:cNvPr id="4792" name="Rectangle 4791"/>
            <p:cNvSpPr/>
            <p:nvPr/>
          </p:nvSpPr>
          <p:spPr>
            <a:xfrm>
              <a:off x="899886" y="3338653"/>
              <a:ext cx="5907314" cy="830997"/>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IN"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mploy a robust auditing and </a:t>
              </a:r>
              <a:r>
                <a:rPr lang="en-IN" sz="24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
              </a:r>
              <a:br>
                <a:rPr lang="en-IN" sz="24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IN" sz="24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monitoring </a:t>
              </a:r>
              <a:r>
                <a:rPr lang="en-IN"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rocess </a:t>
              </a:r>
            </a:p>
          </p:txBody>
        </p:sp>
        <p:sp>
          <p:nvSpPr>
            <p:cNvPr id="4793" name="Freeform 4792"/>
            <p:cNvSpPr>
              <a:spLocks/>
            </p:cNvSpPr>
            <p:nvPr/>
          </p:nvSpPr>
          <p:spPr bwMode="auto">
            <a:xfrm>
              <a:off x="603233" y="3427081"/>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grpSp>
        <p:nvGrpSpPr>
          <p:cNvPr id="4794" name="Group 4793"/>
          <p:cNvGrpSpPr/>
          <p:nvPr/>
        </p:nvGrpSpPr>
        <p:grpSpPr>
          <a:xfrm>
            <a:off x="491711" y="4956786"/>
            <a:ext cx="6203967" cy="461665"/>
            <a:chOff x="603233" y="4388732"/>
            <a:chExt cx="6203967" cy="461665"/>
          </a:xfrm>
        </p:grpSpPr>
        <p:sp>
          <p:nvSpPr>
            <p:cNvPr id="4795" name="Rectangle 4794"/>
            <p:cNvSpPr/>
            <p:nvPr/>
          </p:nvSpPr>
          <p:spPr>
            <a:xfrm>
              <a:off x="899886" y="4388732"/>
              <a:ext cx="5907314" cy="461665"/>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IN"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move non-essential sensitive data</a:t>
              </a:r>
            </a:p>
          </p:txBody>
        </p:sp>
        <p:sp>
          <p:nvSpPr>
            <p:cNvPr id="4796" name="Freeform 4795"/>
            <p:cNvSpPr>
              <a:spLocks/>
            </p:cNvSpPr>
            <p:nvPr/>
          </p:nvSpPr>
          <p:spPr bwMode="auto">
            <a:xfrm>
              <a:off x="603233" y="4474831"/>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grpSp>
        <p:nvGrpSpPr>
          <p:cNvPr id="4797" name="Group 4796"/>
          <p:cNvGrpSpPr/>
          <p:nvPr/>
        </p:nvGrpSpPr>
        <p:grpSpPr>
          <a:xfrm>
            <a:off x="491711" y="5623685"/>
            <a:ext cx="6203967" cy="461665"/>
            <a:chOff x="603233" y="5014081"/>
            <a:chExt cx="6203967" cy="461665"/>
          </a:xfrm>
        </p:grpSpPr>
        <p:sp>
          <p:nvSpPr>
            <p:cNvPr id="4798" name="Rectangle 4797"/>
            <p:cNvSpPr/>
            <p:nvPr/>
          </p:nvSpPr>
          <p:spPr>
            <a:xfrm>
              <a:off x="899886" y="5014081"/>
              <a:ext cx="5907314" cy="461665"/>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IN"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ncrypt essential sensitive data</a:t>
              </a:r>
            </a:p>
          </p:txBody>
        </p:sp>
        <p:sp>
          <p:nvSpPr>
            <p:cNvPr id="4799" name="Freeform 4798"/>
            <p:cNvSpPr>
              <a:spLocks/>
            </p:cNvSpPr>
            <p:nvPr/>
          </p:nvSpPr>
          <p:spPr bwMode="auto">
            <a:xfrm>
              <a:off x="603233" y="5122531"/>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sp>
        <p:nvSpPr>
          <p:cNvPr id="5" name="Slide Number Placeholder 4"/>
          <p:cNvSpPr>
            <a:spLocks noGrp="1"/>
          </p:cNvSpPr>
          <p:nvPr>
            <p:ph type="sldNum" sz="quarter" idx="11"/>
          </p:nvPr>
        </p:nvSpPr>
        <p:spPr/>
        <p:txBody>
          <a:bodyPr/>
          <a:lstStyle/>
          <a:p>
            <a:pPr>
              <a:defRPr/>
            </a:pPr>
            <a:fld id="{F8A0AC42-AA1D-4944-8D96-660DE70C7E1B}" type="slidenum">
              <a:rPr lang="en-IN" smtClean="0"/>
              <a:pPr>
                <a:defRPr/>
              </a:pPr>
              <a:t>8</a:t>
            </a:fld>
            <a:endParaRPr lang="en-IN" dirty="0"/>
          </a:p>
        </p:txBody>
      </p:sp>
      <p:pic>
        <p:nvPicPr>
          <p:cNvPr id="8" name="Picture 7"/>
          <p:cNvPicPr>
            <a:picLocks noChangeAspect="1"/>
          </p:cNvPicPr>
          <p:nvPr/>
        </p:nvPicPr>
        <p:blipFill>
          <a:blip r:embed="rId3"/>
          <a:stretch>
            <a:fillRect/>
          </a:stretch>
        </p:blipFill>
        <p:spPr>
          <a:xfrm>
            <a:off x="6012741" y="0"/>
            <a:ext cx="6057657" cy="6253152"/>
          </a:xfrm>
          <a:prstGeom prst="rect">
            <a:avLst/>
          </a:prstGeom>
        </p:spPr>
      </p:pic>
    </p:spTree>
    <p:extLst>
      <p:ext uri="{BB962C8B-B14F-4D97-AF65-F5344CB8AC3E}">
        <p14:creationId xmlns:p14="http://schemas.microsoft.com/office/powerpoint/2010/main" val="4230860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785"/>
                                        </p:tgtEl>
                                        <p:attrNameLst>
                                          <p:attrName>style.visibility</p:attrName>
                                        </p:attrNameLst>
                                      </p:cBhvr>
                                      <p:to>
                                        <p:strVal val="visible"/>
                                      </p:to>
                                    </p:set>
                                    <p:animEffect transition="in" filter="fade">
                                      <p:cBhvr>
                                        <p:cTn id="7" dur="500"/>
                                        <p:tgtEl>
                                          <p:spTgt spid="478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88"/>
                                        </p:tgtEl>
                                        <p:attrNameLst>
                                          <p:attrName>style.visibility</p:attrName>
                                        </p:attrNameLst>
                                      </p:cBhvr>
                                      <p:to>
                                        <p:strVal val="visible"/>
                                      </p:to>
                                    </p:set>
                                    <p:animEffect transition="in" filter="fade">
                                      <p:cBhvr>
                                        <p:cTn id="12" dur="500"/>
                                        <p:tgtEl>
                                          <p:spTgt spid="478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791"/>
                                        </p:tgtEl>
                                        <p:attrNameLst>
                                          <p:attrName>style.visibility</p:attrName>
                                        </p:attrNameLst>
                                      </p:cBhvr>
                                      <p:to>
                                        <p:strVal val="visible"/>
                                      </p:to>
                                    </p:set>
                                    <p:animEffect transition="in" filter="fade">
                                      <p:cBhvr>
                                        <p:cTn id="17" dur="500"/>
                                        <p:tgtEl>
                                          <p:spTgt spid="479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794"/>
                                        </p:tgtEl>
                                        <p:attrNameLst>
                                          <p:attrName>style.visibility</p:attrName>
                                        </p:attrNameLst>
                                      </p:cBhvr>
                                      <p:to>
                                        <p:strVal val="visible"/>
                                      </p:to>
                                    </p:set>
                                    <p:animEffect transition="in" filter="fade">
                                      <p:cBhvr>
                                        <p:cTn id="22" dur="500"/>
                                        <p:tgtEl>
                                          <p:spTgt spid="479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797"/>
                                        </p:tgtEl>
                                        <p:attrNameLst>
                                          <p:attrName>style.visibility</p:attrName>
                                        </p:attrNameLst>
                                      </p:cBhvr>
                                      <p:to>
                                        <p:strVal val="visible"/>
                                      </p:to>
                                    </p:set>
                                    <p:animEffect transition="in" filter="fade">
                                      <p:cBhvr>
                                        <p:cTn id="27" dur="500"/>
                                        <p:tgtEl>
                                          <p:spTgt spid="47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0"/>
            <a:ext cx="5325035" cy="6994525"/>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5400" dirty="0" smtClean="0">
              <a:solidFill>
                <a:schemeClr val="bg1"/>
              </a:solidFill>
              <a:latin typeface="+mj-lt"/>
              <a:ea typeface="Segoe UI" pitchFamily="34" charset="0"/>
              <a:cs typeface="Segoe UI" pitchFamily="34" charset="0"/>
            </a:endParaRPr>
          </a:p>
          <a:p>
            <a:pPr defTabSz="932472" fontAlgn="base">
              <a:lnSpc>
                <a:spcPct val="90000"/>
              </a:lnSpc>
              <a:spcBef>
                <a:spcPct val="0"/>
              </a:spcBef>
              <a:spcAft>
                <a:spcPct val="0"/>
              </a:spcAft>
            </a:pPr>
            <a:endParaRPr lang="en-US" sz="5400" dirty="0">
              <a:solidFill>
                <a:schemeClr val="bg1"/>
              </a:solidFill>
              <a:latin typeface="+mj-lt"/>
              <a:ea typeface="Segoe UI" pitchFamily="34" charset="0"/>
              <a:cs typeface="Segoe UI" pitchFamily="34" charset="0"/>
            </a:endParaRPr>
          </a:p>
        </p:txBody>
      </p:sp>
      <p:sp>
        <p:nvSpPr>
          <p:cNvPr id="4" name="TextBox 3"/>
          <p:cNvSpPr txBox="1"/>
          <p:nvPr/>
        </p:nvSpPr>
        <p:spPr>
          <a:xfrm>
            <a:off x="5325034" y="1308536"/>
            <a:ext cx="6684403" cy="1874520"/>
          </a:xfrm>
          <a:prstGeom prst="rect">
            <a:avLst/>
          </a:prstGeom>
          <a:noFill/>
        </p:spPr>
        <p:txBody>
          <a:bodyPr wrap="square" lIns="274320" tIns="146304" rIns="182880" bIns="146304" rtlCol="0">
            <a:noAutofit/>
          </a:bodyPr>
          <a:lstStyle/>
          <a:p>
            <a:pPr marL="53975" lvl="1" defTabSz="932133" fontAlgn="base">
              <a:spcBef>
                <a:spcPts val="1200"/>
              </a:spcBef>
              <a:buClr>
                <a:schemeClr val="accent3">
                  <a:lumMod val="50000"/>
                </a:schemeClr>
              </a:buClr>
            </a:pPr>
            <a:r>
              <a:rPr lang="en-US" sz="3200" dirty="0" smtClean="0">
                <a:ln>
                  <a:solidFill>
                    <a:srgbClr val="FFFFFF">
                      <a:alpha val="0"/>
                    </a:srgbClr>
                  </a:solidFill>
                </a:ln>
                <a:solidFill>
                  <a:schemeClr val="accent3"/>
                </a:solidFill>
                <a:latin typeface="+mj-lt"/>
                <a:ea typeface="Segoe UI" pitchFamily="34" charset="0"/>
                <a:cs typeface="Segoe UI" pitchFamily="34" charset="0"/>
              </a:rPr>
              <a:t>Prerequisites</a:t>
            </a:r>
          </a:p>
          <a:p>
            <a:pPr marL="569913" lvl="1" indent="-457200" defTabSz="932133" fontAlgn="base">
              <a:buClr>
                <a:schemeClr val="accent3">
                  <a:lumMod val="50000"/>
                </a:schemeClr>
              </a:buClr>
              <a:buBlip>
                <a:blip r:embed="rId3"/>
              </a:buBlip>
            </a:pPr>
            <a:r>
              <a:rPr lang="en-US" sz="24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Blob storage concepts</a:t>
            </a:r>
          </a:p>
          <a:p>
            <a:pPr marL="569913" lvl="1" indent="-457200" defTabSz="932133" fontAlgn="base">
              <a:buClr>
                <a:schemeClr val="accent3">
                  <a:lumMod val="50000"/>
                </a:schemeClr>
              </a:buClr>
              <a:buBlip>
                <a:blip r:embed="rId3"/>
              </a:buBlip>
            </a:pPr>
            <a:r>
              <a:rPr lang="en-US" sz="24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Data </a:t>
            </a:r>
            <a:r>
              <a:rPr lang="en-US"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types and </a:t>
            </a:r>
            <a:r>
              <a:rPr lang="en-US" sz="24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sources</a:t>
            </a:r>
            <a:endParaRPr lang="en-US"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pPr marL="569913" lvl="1" indent="-457200" defTabSz="932133" fontAlgn="base">
              <a:buClr>
                <a:schemeClr val="accent3">
                  <a:lumMod val="50000"/>
                </a:schemeClr>
              </a:buClr>
              <a:buBlip>
                <a:blip r:embed="rId3"/>
              </a:buBlip>
            </a:pPr>
            <a:r>
              <a:rPr lang="en-US"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erformance and </a:t>
            </a:r>
            <a:r>
              <a:rPr lang="en-US" sz="24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scalability</a:t>
            </a:r>
            <a:endParaRPr lang="en-US"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p:txBody>
      </p:sp>
      <p:sp>
        <p:nvSpPr>
          <p:cNvPr id="5" name="Rectangle 4"/>
          <p:cNvSpPr/>
          <p:nvPr/>
        </p:nvSpPr>
        <p:spPr bwMode="auto">
          <a:xfrm>
            <a:off x="0" y="6445885"/>
            <a:ext cx="5325035" cy="54864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rPr>
              <a:t>Tools</a:t>
            </a:r>
          </a:p>
        </p:txBody>
      </p:sp>
      <p:sp>
        <p:nvSpPr>
          <p:cNvPr id="6" name="Freeform 5"/>
          <p:cNvSpPr>
            <a:spLocks/>
          </p:cNvSpPr>
          <p:nvPr/>
        </p:nvSpPr>
        <p:spPr bwMode="auto">
          <a:xfrm flipH="1">
            <a:off x="2671625" y="4267200"/>
            <a:ext cx="2653409" cy="2178685"/>
          </a:xfrm>
          <a:custGeom>
            <a:avLst/>
            <a:gdLst>
              <a:gd name="connsiteX0" fmla="*/ 603413 w 1090712"/>
              <a:gd name="connsiteY0" fmla="*/ 721327 h 895572"/>
              <a:gd name="connsiteX1" fmla="*/ 578466 w 1090712"/>
              <a:gd name="connsiteY1" fmla="*/ 770746 h 895572"/>
              <a:gd name="connsiteX2" fmla="*/ 553519 w 1090712"/>
              <a:gd name="connsiteY2" fmla="*/ 818264 h 895572"/>
              <a:gd name="connsiteX3" fmla="*/ 528334 w 1090712"/>
              <a:gd name="connsiteY3" fmla="*/ 865069 h 895572"/>
              <a:gd name="connsiteX4" fmla="*/ 511825 w 1090712"/>
              <a:gd name="connsiteY4" fmla="*/ 895572 h 895572"/>
              <a:gd name="connsiteX5" fmla="*/ 624528 w 1090712"/>
              <a:gd name="connsiteY5" fmla="*/ 895572 h 895572"/>
              <a:gd name="connsiteX6" fmla="*/ 624796 w 1090712"/>
              <a:gd name="connsiteY6" fmla="*/ 894768 h 895572"/>
              <a:gd name="connsiteX7" fmla="*/ 625271 w 1090712"/>
              <a:gd name="connsiteY7" fmla="*/ 891679 h 895572"/>
              <a:gd name="connsiteX8" fmla="*/ 625747 w 1090712"/>
              <a:gd name="connsiteY8" fmla="*/ 889066 h 895572"/>
              <a:gd name="connsiteX9" fmla="*/ 625747 w 1090712"/>
              <a:gd name="connsiteY9" fmla="*/ 860555 h 895572"/>
              <a:gd name="connsiteX10" fmla="*/ 624796 w 1090712"/>
              <a:gd name="connsiteY10" fmla="*/ 833945 h 895572"/>
              <a:gd name="connsiteX11" fmla="*/ 624321 w 1090712"/>
              <a:gd name="connsiteY11" fmla="*/ 820877 h 895572"/>
              <a:gd name="connsiteX12" fmla="*/ 623608 w 1090712"/>
              <a:gd name="connsiteY12" fmla="*/ 808047 h 895572"/>
              <a:gd name="connsiteX13" fmla="*/ 621708 w 1090712"/>
              <a:gd name="connsiteY13" fmla="*/ 795218 h 895572"/>
              <a:gd name="connsiteX14" fmla="*/ 620044 w 1090712"/>
              <a:gd name="connsiteY14" fmla="*/ 782625 h 895572"/>
              <a:gd name="connsiteX15" fmla="*/ 616005 w 1090712"/>
              <a:gd name="connsiteY15" fmla="*/ 766707 h 895572"/>
              <a:gd name="connsiteX16" fmla="*/ 611966 w 1090712"/>
              <a:gd name="connsiteY16" fmla="*/ 751976 h 895572"/>
              <a:gd name="connsiteX17" fmla="*/ 607452 w 1090712"/>
              <a:gd name="connsiteY17" fmla="*/ 737245 h 895572"/>
              <a:gd name="connsiteX18" fmla="*/ 698212 w 1090712"/>
              <a:gd name="connsiteY18" fmla="*/ 530778 h 895572"/>
              <a:gd name="connsiteX19" fmla="*/ 693460 w 1090712"/>
              <a:gd name="connsiteY19" fmla="*/ 534818 h 895572"/>
              <a:gd name="connsiteX20" fmla="*/ 688471 w 1090712"/>
              <a:gd name="connsiteY20" fmla="*/ 538857 h 895572"/>
              <a:gd name="connsiteX21" fmla="*/ 678254 w 1090712"/>
              <a:gd name="connsiteY21" fmla="*/ 546935 h 895572"/>
              <a:gd name="connsiteX22" fmla="*/ 669226 w 1090712"/>
              <a:gd name="connsiteY22" fmla="*/ 553587 h 895572"/>
              <a:gd name="connsiteX23" fmla="*/ 663048 w 1090712"/>
              <a:gd name="connsiteY23" fmla="*/ 558814 h 895572"/>
              <a:gd name="connsiteX24" fmla="*/ 663048 w 1090712"/>
              <a:gd name="connsiteY24" fmla="*/ 556676 h 895572"/>
              <a:gd name="connsiteX25" fmla="*/ 663523 w 1090712"/>
              <a:gd name="connsiteY25" fmla="*/ 554538 h 895572"/>
              <a:gd name="connsiteX26" fmla="*/ 665424 w 1090712"/>
              <a:gd name="connsiteY26" fmla="*/ 550498 h 895572"/>
              <a:gd name="connsiteX27" fmla="*/ 668038 w 1090712"/>
              <a:gd name="connsiteY27" fmla="*/ 546459 h 895572"/>
              <a:gd name="connsiteX28" fmla="*/ 671602 w 1090712"/>
              <a:gd name="connsiteY28" fmla="*/ 542420 h 895572"/>
              <a:gd name="connsiteX29" fmla="*/ 676829 w 1090712"/>
              <a:gd name="connsiteY29" fmla="*/ 538857 h 895572"/>
              <a:gd name="connsiteX30" fmla="*/ 682768 w 1090712"/>
              <a:gd name="connsiteY30" fmla="*/ 535768 h 895572"/>
              <a:gd name="connsiteX31" fmla="*/ 689896 w 1090712"/>
              <a:gd name="connsiteY31" fmla="*/ 533154 h 895572"/>
              <a:gd name="connsiteX32" fmla="*/ 654257 w 1090712"/>
              <a:gd name="connsiteY32" fmla="*/ 302216 h 895572"/>
              <a:gd name="connsiteX33" fmla="*/ 651882 w 1090712"/>
              <a:gd name="connsiteY33" fmla="*/ 302691 h 895572"/>
              <a:gd name="connsiteX34" fmla="*/ 649268 w 1090712"/>
              <a:gd name="connsiteY34" fmla="*/ 303166 h 895572"/>
              <a:gd name="connsiteX35" fmla="*/ 647130 w 1090712"/>
              <a:gd name="connsiteY35" fmla="*/ 304354 h 895572"/>
              <a:gd name="connsiteX36" fmla="*/ 644516 w 1090712"/>
              <a:gd name="connsiteY36" fmla="*/ 306255 h 895572"/>
              <a:gd name="connsiteX37" fmla="*/ 642140 w 1090712"/>
              <a:gd name="connsiteY37" fmla="*/ 307918 h 895572"/>
              <a:gd name="connsiteX38" fmla="*/ 640002 w 1090712"/>
              <a:gd name="connsiteY38" fmla="*/ 310294 h 895572"/>
              <a:gd name="connsiteX39" fmla="*/ 638101 w 1090712"/>
              <a:gd name="connsiteY39" fmla="*/ 312432 h 895572"/>
              <a:gd name="connsiteX40" fmla="*/ 636913 w 1090712"/>
              <a:gd name="connsiteY40" fmla="*/ 314571 h 895572"/>
              <a:gd name="connsiteX41" fmla="*/ 635963 w 1090712"/>
              <a:gd name="connsiteY41" fmla="*/ 316946 h 895572"/>
              <a:gd name="connsiteX42" fmla="*/ 635963 w 1090712"/>
              <a:gd name="connsiteY42" fmla="*/ 319085 h 895572"/>
              <a:gd name="connsiteX43" fmla="*/ 636913 w 1090712"/>
              <a:gd name="connsiteY43" fmla="*/ 321223 h 895572"/>
              <a:gd name="connsiteX44" fmla="*/ 637626 w 1090712"/>
              <a:gd name="connsiteY44" fmla="*/ 324074 h 895572"/>
              <a:gd name="connsiteX45" fmla="*/ 639527 w 1090712"/>
              <a:gd name="connsiteY45" fmla="*/ 326688 h 895572"/>
              <a:gd name="connsiteX46" fmla="*/ 643091 w 1090712"/>
              <a:gd name="connsiteY46" fmla="*/ 331677 h 895572"/>
              <a:gd name="connsiteX47" fmla="*/ 647130 w 1090712"/>
              <a:gd name="connsiteY47" fmla="*/ 335954 h 895572"/>
              <a:gd name="connsiteX48" fmla="*/ 655920 w 1090712"/>
              <a:gd name="connsiteY48" fmla="*/ 330727 h 895572"/>
              <a:gd name="connsiteX49" fmla="*/ 663999 w 1090712"/>
              <a:gd name="connsiteY49" fmla="*/ 324787 h 895572"/>
              <a:gd name="connsiteX50" fmla="*/ 679917 w 1090712"/>
              <a:gd name="connsiteY50" fmla="*/ 313383 h 895572"/>
              <a:gd name="connsiteX51" fmla="*/ 676354 w 1090712"/>
              <a:gd name="connsiteY51" fmla="*/ 311007 h 895572"/>
              <a:gd name="connsiteX52" fmla="*/ 672790 w 1090712"/>
              <a:gd name="connsiteY52" fmla="*/ 308393 h 895572"/>
              <a:gd name="connsiteX53" fmla="*/ 668988 w 1090712"/>
              <a:gd name="connsiteY53" fmla="*/ 306730 h 895572"/>
              <a:gd name="connsiteX54" fmla="*/ 664949 w 1090712"/>
              <a:gd name="connsiteY54" fmla="*/ 304829 h 895572"/>
              <a:gd name="connsiteX55" fmla="*/ 660910 w 1090712"/>
              <a:gd name="connsiteY55" fmla="*/ 303641 h 895572"/>
              <a:gd name="connsiteX56" fmla="*/ 657346 w 1090712"/>
              <a:gd name="connsiteY56" fmla="*/ 302691 h 895572"/>
              <a:gd name="connsiteX57" fmla="*/ 696549 w 1090712"/>
              <a:gd name="connsiteY57" fmla="*/ 252322 h 895572"/>
              <a:gd name="connsiteX58" fmla="*/ 696786 w 1090712"/>
              <a:gd name="connsiteY58" fmla="*/ 259925 h 895572"/>
              <a:gd name="connsiteX59" fmla="*/ 698212 w 1090712"/>
              <a:gd name="connsiteY59" fmla="*/ 266102 h 895572"/>
              <a:gd name="connsiteX60" fmla="*/ 700113 w 1090712"/>
              <a:gd name="connsiteY60" fmla="*/ 272042 h 895572"/>
              <a:gd name="connsiteX61" fmla="*/ 701776 w 1090712"/>
              <a:gd name="connsiteY61" fmla="*/ 276794 h 895572"/>
              <a:gd name="connsiteX62" fmla="*/ 704389 w 1090712"/>
              <a:gd name="connsiteY62" fmla="*/ 280833 h 895572"/>
              <a:gd name="connsiteX63" fmla="*/ 707240 w 1090712"/>
              <a:gd name="connsiteY63" fmla="*/ 284397 h 895572"/>
              <a:gd name="connsiteX64" fmla="*/ 710329 w 1090712"/>
              <a:gd name="connsiteY64" fmla="*/ 287010 h 895572"/>
              <a:gd name="connsiteX65" fmla="*/ 713418 w 1090712"/>
              <a:gd name="connsiteY65" fmla="*/ 289624 h 895572"/>
              <a:gd name="connsiteX66" fmla="*/ 716506 w 1090712"/>
              <a:gd name="connsiteY66" fmla="*/ 291524 h 895572"/>
              <a:gd name="connsiteX67" fmla="*/ 719595 w 1090712"/>
              <a:gd name="connsiteY67" fmla="*/ 293187 h 895572"/>
              <a:gd name="connsiteX68" fmla="*/ 725772 w 1090712"/>
              <a:gd name="connsiteY68" fmla="*/ 295088 h 895572"/>
              <a:gd name="connsiteX69" fmla="*/ 731237 w 1090712"/>
              <a:gd name="connsiteY69" fmla="*/ 296514 h 895572"/>
              <a:gd name="connsiteX70" fmla="*/ 734801 w 1090712"/>
              <a:gd name="connsiteY70" fmla="*/ 296751 h 895572"/>
              <a:gd name="connsiteX71" fmla="*/ 722209 w 1090712"/>
              <a:gd name="connsiteY71" fmla="*/ 303879 h 895572"/>
              <a:gd name="connsiteX72" fmla="*/ 710804 w 1090712"/>
              <a:gd name="connsiteY72" fmla="*/ 311007 h 895572"/>
              <a:gd name="connsiteX73" fmla="*/ 688471 w 1090712"/>
              <a:gd name="connsiteY73" fmla="*/ 324787 h 895572"/>
              <a:gd name="connsiteX74" fmla="*/ 667563 w 1090712"/>
              <a:gd name="connsiteY74" fmla="*/ 339043 h 895572"/>
              <a:gd name="connsiteX75" fmla="*/ 646179 w 1090712"/>
              <a:gd name="connsiteY75" fmla="*/ 352823 h 895572"/>
              <a:gd name="connsiteX76" fmla="*/ 620044 w 1090712"/>
              <a:gd name="connsiteY76" fmla="*/ 313383 h 895572"/>
              <a:gd name="connsiteX77" fmla="*/ 617668 w 1090712"/>
              <a:gd name="connsiteY77" fmla="*/ 312432 h 895572"/>
              <a:gd name="connsiteX78" fmla="*/ 615055 w 1090712"/>
              <a:gd name="connsiteY78" fmla="*/ 312432 h 895572"/>
              <a:gd name="connsiteX79" fmla="*/ 612441 w 1090712"/>
              <a:gd name="connsiteY79" fmla="*/ 313383 h 895572"/>
              <a:gd name="connsiteX80" fmla="*/ 609353 w 1090712"/>
              <a:gd name="connsiteY80" fmla="*/ 314095 h 895572"/>
              <a:gd name="connsiteX81" fmla="*/ 602938 w 1090712"/>
              <a:gd name="connsiteY81" fmla="*/ 316946 h 895572"/>
              <a:gd name="connsiteX82" fmla="*/ 599849 w 1090712"/>
              <a:gd name="connsiteY82" fmla="*/ 317659 h 895572"/>
              <a:gd name="connsiteX83" fmla="*/ 596760 w 1090712"/>
              <a:gd name="connsiteY83" fmla="*/ 318610 h 895572"/>
              <a:gd name="connsiteX84" fmla="*/ 607927 w 1090712"/>
              <a:gd name="connsiteY84" fmla="*/ 307205 h 895572"/>
              <a:gd name="connsiteX85" fmla="*/ 618619 w 1090712"/>
              <a:gd name="connsiteY85" fmla="*/ 295088 h 895572"/>
              <a:gd name="connsiteX86" fmla="*/ 623846 w 1090712"/>
              <a:gd name="connsiteY86" fmla="*/ 289386 h 895572"/>
              <a:gd name="connsiteX87" fmla="*/ 629786 w 1090712"/>
              <a:gd name="connsiteY87" fmla="*/ 283921 h 895572"/>
              <a:gd name="connsiteX88" fmla="*/ 635963 w 1090712"/>
              <a:gd name="connsiteY88" fmla="*/ 278694 h 895572"/>
              <a:gd name="connsiteX89" fmla="*/ 642140 w 1090712"/>
              <a:gd name="connsiteY89" fmla="*/ 273705 h 895572"/>
              <a:gd name="connsiteX90" fmla="*/ 648793 w 1090712"/>
              <a:gd name="connsiteY90" fmla="*/ 269191 h 895572"/>
              <a:gd name="connsiteX91" fmla="*/ 655446 w 1090712"/>
              <a:gd name="connsiteY91" fmla="*/ 265627 h 895572"/>
              <a:gd name="connsiteX92" fmla="*/ 662098 w 1090712"/>
              <a:gd name="connsiteY92" fmla="*/ 263013 h 895572"/>
              <a:gd name="connsiteX93" fmla="*/ 668988 w 1090712"/>
              <a:gd name="connsiteY93" fmla="*/ 260400 h 895572"/>
              <a:gd name="connsiteX94" fmla="*/ 682768 w 1090712"/>
              <a:gd name="connsiteY94" fmla="*/ 256361 h 895572"/>
              <a:gd name="connsiteX95" fmla="*/ 1030602 w 1090712"/>
              <a:gd name="connsiteY95" fmla="*/ 200289 h 895572"/>
              <a:gd name="connsiteX96" fmla="*/ 1027513 w 1090712"/>
              <a:gd name="connsiteY96" fmla="*/ 207892 h 895572"/>
              <a:gd name="connsiteX97" fmla="*/ 1023949 w 1090712"/>
              <a:gd name="connsiteY97" fmla="*/ 214545 h 895572"/>
              <a:gd name="connsiteX98" fmla="*/ 1019910 w 1090712"/>
              <a:gd name="connsiteY98" fmla="*/ 221197 h 895572"/>
              <a:gd name="connsiteX99" fmla="*/ 1015396 w 1090712"/>
              <a:gd name="connsiteY99" fmla="*/ 226899 h 895572"/>
              <a:gd name="connsiteX100" fmla="*/ 1011119 w 1090712"/>
              <a:gd name="connsiteY100" fmla="*/ 232839 h 895572"/>
              <a:gd name="connsiteX101" fmla="*/ 1006130 w 1090712"/>
              <a:gd name="connsiteY101" fmla="*/ 237591 h 895572"/>
              <a:gd name="connsiteX102" fmla="*/ 1001140 w 1090712"/>
              <a:gd name="connsiteY102" fmla="*/ 242105 h 895572"/>
              <a:gd name="connsiteX103" fmla="*/ 996388 w 1090712"/>
              <a:gd name="connsiteY103" fmla="*/ 246144 h 895572"/>
              <a:gd name="connsiteX104" fmla="*/ 990924 w 1090712"/>
              <a:gd name="connsiteY104" fmla="*/ 249708 h 895572"/>
              <a:gd name="connsiteX105" fmla="*/ 985697 w 1090712"/>
              <a:gd name="connsiteY105" fmla="*/ 252797 h 895572"/>
              <a:gd name="connsiteX106" fmla="*/ 980232 w 1090712"/>
              <a:gd name="connsiteY106" fmla="*/ 254935 h 895572"/>
              <a:gd name="connsiteX107" fmla="*/ 975005 w 1090712"/>
              <a:gd name="connsiteY107" fmla="*/ 256836 h 895572"/>
              <a:gd name="connsiteX108" fmla="*/ 969541 w 1090712"/>
              <a:gd name="connsiteY108" fmla="*/ 258262 h 895572"/>
              <a:gd name="connsiteX109" fmla="*/ 963839 w 1090712"/>
              <a:gd name="connsiteY109" fmla="*/ 258499 h 895572"/>
              <a:gd name="connsiteX110" fmla="*/ 958612 w 1090712"/>
              <a:gd name="connsiteY110" fmla="*/ 258499 h 895572"/>
              <a:gd name="connsiteX111" fmla="*/ 953622 w 1090712"/>
              <a:gd name="connsiteY111" fmla="*/ 257786 h 895572"/>
              <a:gd name="connsiteX112" fmla="*/ 970966 w 1090712"/>
              <a:gd name="connsiteY112" fmla="*/ 244006 h 895572"/>
              <a:gd name="connsiteX113" fmla="*/ 990211 w 1090712"/>
              <a:gd name="connsiteY113" fmla="*/ 229275 h 895572"/>
              <a:gd name="connsiteX114" fmla="*/ 1010169 w 1090712"/>
              <a:gd name="connsiteY114" fmla="*/ 214069 h 895572"/>
              <a:gd name="connsiteX115" fmla="*/ 1020385 w 1090712"/>
              <a:gd name="connsiteY115" fmla="*/ 206942 h 895572"/>
              <a:gd name="connsiteX116" fmla="*/ 389581 w 1090712"/>
              <a:gd name="connsiteY116" fmla="*/ 176768 h 895572"/>
              <a:gd name="connsiteX117" fmla="*/ 397422 w 1090712"/>
              <a:gd name="connsiteY117" fmla="*/ 177243 h 895572"/>
              <a:gd name="connsiteX118" fmla="*/ 414766 w 1090712"/>
              <a:gd name="connsiteY118" fmla="*/ 178906 h 895572"/>
              <a:gd name="connsiteX119" fmla="*/ 405500 w 1090712"/>
              <a:gd name="connsiteY119" fmla="*/ 179856 h 895572"/>
              <a:gd name="connsiteX120" fmla="*/ 396946 w 1090712"/>
              <a:gd name="connsiteY120" fmla="*/ 181995 h 895572"/>
              <a:gd name="connsiteX121" fmla="*/ 389581 w 1090712"/>
              <a:gd name="connsiteY121" fmla="*/ 184371 h 895572"/>
              <a:gd name="connsiteX122" fmla="*/ 381978 w 1090712"/>
              <a:gd name="connsiteY122" fmla="*/ 186984 h 895572"/>
              <a:gd name="connsiteX123" fmla="*/ 375326 w 1090712"/>
              <a:gd name="connsiteY123" fmla="*/ 190548 h 895572"/>
              <a:gd name="connsiteX124" fmla="*/ 368911 w 1090712"/>
              <a:gd name="connsiteY124" fmla="*/ 194112 h 895572"/>
              <a:gd name="connsiteX125" fmla="*/ 363208 w 1090712"/>
              <a:gd name="connsiteY125" fmla="*/ 198626 h 895572"/>
              <a:gd name="connsiteX126" fmla="*/ 357981 w 1090712"/>
              <a:gd name="connsiteY126" fmla="*/ 202903 h 895572"/>
              <a:gd name="connsiteX127" fmla="*/ 352517 w 1090712"/>
              <a:gd name="connsiteY127" fmla="*/ 208367 h 895572"/>
              <a:gd name="connsiteX128" fmla="*/ 348003 w 1090712"/>
              <a:gd name="connsiteY128" fmla="*/ 214070 h 895572"/>
              <a:gd name="connsiteX129" fmla="*/ 343726 w 1090712"/>
              <a:gd name="connsiteY129" fmla="*/ 220247 h 895572"/>
              <a:gd name="connsiteX130" fmla="*/ 339687 w 1090712"/>
              <a:gd name="connsiteY130" fmla="*/ 226662 h 895572"/>
              <a:gd name="connsiteX131" fmla="*/ 335648 w 1090712"/>
              <a:gd name="connsiteY131" fmla="*/ 233790 h 895572"/>
              <a:gd name="connsiteX132" fmla="*/ 332559 w 1090712"/>
              <a:gd name="connsiteY132" fmla="*/ 240917 h 895572"/>
              <a:gd name="connsiteX133" fmla="*/ 328995 w 1090712"/>
              <a:gd name="connsiteY133" fmla="*/ 248758 h 895572"/>
              <a:gd name="connsiteX134" fmla="*/ 325907 w 1090712"/>
              <a:gd name="connsiteY134" fmla="*/ 256836 h 895572"/>
              <a:gd name="connsiteX135" fmla="*/ 325432 w 1090712"/>
              <a:gd name="connsiteY135" fmla="*/ 252797 h 895572"/>
              <a:gd name="connsiteX136" fmla="*/ 324956 w 1090712"/>
              <a:gd name="connsiteY136" fmla="*/ 248283 h 895572"/>
              <a:gd name="connsiteX137" fmla="*/ 323056 w 1090712"/>
              <a:gd name="connsiteY137" fmla="*/ 239492 h 895572"/>
              <a:gd name="connsiteX138" fmla="*/ 320917 w 1090712"/>
              <a:gd name="connsiteY138" fmla="*/ 229275 h 895572"/>
              <a:gd name="connsiteX139" fmla="*/ 320442 w 1090712"/>
              <a:gd name="connsiteY139" fmla="*/ 223811 h 895572"/>
              <a:gd name="connsiteX140" fmla="*/ 319967 w 1090712"/>
              <a:gd name="connsiteY140" fmla="*/ 217633 h 895572"/>
              <a:gd name="connsiteX141" fmla="*/ 314740 w 1090712"/>
              <a:gd name="connsiteY141" fmla="*/ 217633 h 895572"/>
              <a:gd name="connsiteX142" fmla="*/ 302148 w 1090712"/>
              <a:gd name="connsiteY142" fmla="*/ 243056 h 895572"/>
              <a:gd name="connsiteX143" fmla="*/ 289793 w 1090712"/>
              <a:gd name="connsiteY143" fmla="*/ 267528 h 895572"/>
              <a:gd name="connsiteX144" fmla="*/ 277438 w 1090712"/>
              <a:gd name="connsiteY144" fmla="*/ 291049 h 895572"/>
              <a:gd name="connsiteX145" fmla="*/ 264371 w 1090712"/>
              <a:gd name="connsiteY145" fmla="*/ 312907 h 895572"/>
              <a:gd name="connsiteX146" fmla="*/ 267459 w 1090712"/>
              <a:gd name="connsiteY146" fmla="*/ 295088 h 895572"/>
              <a:gd name="connsiteX147" fmla="*/ 271023 w 1090712"/>
              <a:gd name="connsiteY147" fmla="*/ 279170 h 895572"/>
              <a:gd name="connsiteX148" fmla="*/ 274587 w 1090712"/>
              <a:gd name="connsiteY148" fmla="*/ 263964 h 895572"/>
              <a:gd name="connsiteX149" fmla="*/ 279101 w 1090712"/>
              <a:gd name="connsiteY149" fmla="*/ 250183 h 895572"/>
              <a:gd name="connsiteX150" fmla="*/ 284091 w 1090712"/>
              <a:gd name="connsiteY150" fmla="*/ 238066 h 895572"/>
              <a:gd name="connsiteX151" fmla="*/ 289318 w 1090712"/>
              <a:gd name="connsiteY151" fmla="*/ 226900 h 895572"/>
              <a:gd name="connsiteX152" fmla="*/ 292406 w 1090712"/>
              <a:gd name="connsiteY152" fmla="*/ 221673 h 895572"/>
              <a:gd name="connsiteX153" fmla="*/ 295495 w 1090712"/>
              <a:gd name="connsiteY153" fmla="*/ 217158 h 895572"/>
              <a:gd name="connsiteX154" fmla="*/ 298584 w 1090712"/>
              <a:gd name="connsiteY154" fmla="*/ 212406 h 895572"/>
              <a:gd name="connsiteX155" fmla="*/ 302148 w 1090712"/>
              <a:gd name="connsiteY155" fmla="*/ 208367 h 895572"/>
              <a:gd name="connsiteX156" fmla="*/ 305711 w 1090712"/>
              <a:gd name="connsiteY156" fmla="*/ 204328 h 895572"/>
              <a:gd name="connsiteX157" fmla="*/ 309275 w 1090712"/>
              <a:gd name="connsiteY157" fmla="*/ 200765 h 895572"/>
              <a:gd name="connsiteX158" fmla="*/ 313314 w 1090712"/>
              <a:gd name="connsiteY158" fmla="*/ 197201 h 895572"/>
              <a:gd name="connsiteX159" fmla="*/ 317354 w 1090712"/>
              <a:gd name="connsiteY159" fmla="*/ 194112 h 895572"/>
              <a:gd name="connsiteX160" fmla="*/ 321868 w 1090712"/>
              <a:gd name="connsiteY160" fmla="*/ 191498 h 895572"/>
              <a:gd name="connsiteX161" fmla="*/ 326382 w 1090712"/>
              <a:gd name="connsiteY161" fmla="*/ 188647 h 895572"/>
              <a:gd name="connsiteX162" fmla="*/ 330659 w 1090712"/>
              <a:gd name="connsiteY162" fmla="*/ 186509 h 895572"/>
              <a:gd name="connsiteX163" fmla="*/ 335648 w 1090712"/>
              <a:gd name="connsiteY163" fmla="*/ 184371 h 895572"/>
              <a:gd name="connsiteX164" fmla="*/ 340637 w 1090712"/>
              <a:gd name="connsiteY164" fmla="*/ 182470 h 895572"/>
              <a:gd name="connsiteX165" fmla="*/ 345864 w 1090712"/>
              <a:gd name="connsiteY165" fmla="*/ 181282 h 895572"/>
              <a:gd name="connsiteX166" fmla="*/ 351091 w 1090712"/>
              <a:gd name="connsiteY166" fmla="*/ 179856 h 895572"/>
              <a:gd name="connsiteX167" fmla="*/ 357031 w 1090712"/>
              <a:gd name="connsiteY167" fmla="*/ 178431 h 895572"/>
              <a:gd name="connsiteX168" fmla="*/ 368911 w 1090712"/>
              <a:gd name="connsiteY168" fmla="*/ 177243 h 895572"/>
              <a:gd name="connsiteX169" fmla="*/ 381978 w 1090712"/>
              <a:gd name="connsiteY169" fmla="*/ 176768 h 895572"/>
              <a:gd name="connsiteX170" fmla="*/ 609353 w 1090712"/>
              <a:gd name="connsiteY170" fmla="*/ 174629 h 895572"/>
              <a:gd name="connsiteX171" fmla="*/ 602463 w 1090712"/>
              <a:gd name="connsiteY171" fmla="*/ 180807 h 895572"/>
              <a:gd name="connsiteX172" fmla="*/ 596285 w 1090712"/>
              <a:gd name="connsiteY172" fmla="*/ 187459 h 895572"/>
              <a:gd name="connsiteX173" fmla="*/ 583931 w 1090712"/>
              <a:gd name="connsiteY173" fmla="*/ 201715 h 895572"/>
              <a:gd name="connsiteX174" fmla="*/ 571101 w 1090712"/>
              <a:gd name="connsiteY174" fmla="*/ 215495 h 895572"/>
              <a:gd name="connsiteX175" fmla="*/ 564686 w 1090712"/>
              <a:gd name="connsiteY175" fmla="*/ 222148 h 895572"/>
              <a:gd name="connsiteX176" fmla="*/ 558508 w 1090712"/>
              <a:gd name="connsiteY176" fmla="*/ 228325 h 895572"/>
              <a:gd name="connsiteX177" fmla="*/ 557558 w 1090712"/>
              <a:gd name="connsiteY177" fmla="*/ 223335 h 895572"/>
              <a:gd name="connsiteX178" fmla="*/ 557083 w 1090712"/>
              <a:gd name="connsiteY178" fmla="*/ 219059 h 895572"/>
              <a:gd name="connsiteX179" fmla="*/ 557083 w 1090712"/>
              <a:gd name="connsiteY179" fmla="*/ 215020 h 895572"/>
              <a:gd name="connsiteX180" fmla="*/ 557558 w 1090712"/>
              <a:gd name="connsiteY180" fmla="*/ 210981 h 895572"/>
              <a:gd name="connsiteX181" fmla="*/ 558508 w 1090712"/>
              <a:gd name="connsiteY181" fmla="*/ 207417 h 895572"/>
              <a:gd name="connsiteX182" fmla="*/ 560409 w 1090712"/>
              <a:gd name="connsiteY182" fmla="*/ 203853 h 895572"/>
              <a:gd name="connsiteX183" fmla="*/ 562072 w 1090712"/>
              <a:gd name="connsiteY183" fmla="*/ 200764 h 895572"/>
              <a:gd name="connsiteX184" fmla="*/ 564686 w 1090712"/>
              <a:gd name="connsiteY184" fmla="*/ 197676 h 895572"/>
              <a:gd name="connsiteX185" fmla="*/ 567774 w 1090712"/>
              <a:gd name="connsiteY185" fmla="*/ 194587 h 895572"/>
              <a:gd name="connsiteX186" fmla="*/ 571813 w 1090712"/>
              <a:gd name="connsiteY186" fmla="*/ 191973 h 895572"/>
              <a:gd name="connsiteX187" fmla="*/ 576328 w 1090712"/>
              <a:gd name="connsiteY187" fmla="*/ 188647 h 895572"/>
              <a:gd name="connsiteX188" fmla="*/ 581317 w 1090712"/>
              <a:gd name="connsiteY188" fmla="*/ 186034 h 895572"/>
              <a:gd name="connsiteX189" fmla="*/ 587019 w 1090712"/>
              <a:gd name="connsiteY189" fmla="*/ 183420 h 895572"/>
              <a:gd name="connsiteX190" fmla="*/ 593672 w 1090712"/>
              <a:gd name="connsiteY190" fmla="*/ 180332 h 895572"/>
              <a:gd name="connsiteX191" fmla="*/ 586544 w 1090712"/>
              <a:gd name="connsiteY191" fmla="*/ 0 h 895572"/>
              <a:gd name="connsiteX192" fmla="*/ 570150 w 1090712"/>
              <a:gd name="connsiteY192" fmla="*/ 2851 h 895572"/>
              <a:gd name="connsiteX193" fmla="*/ 553519 w 1090712"/>
              <a:gd name="connsiteY193" fmla="*/ 5940 h 895572"/>
              <a:gd name="connsiteX194" fmla="*/ 536650 w 1090712"/>
              <a:gd name="connsiteY194" fmla="*/ 10454 h 895572"/>
              <a:gd name="connsiteX195" fmla="*/ 520256 w 1090712"/>
              <a:gd name="connsiteY195" fmla="*/ 14731 h 895572"/>
              <a:gd name="connsiteX196" fmla="*/ 486993 w 1090712"/>
              <a:gd name="connsiteY196" fmla="*/ 24472 h 895572"/>
              <a:gd name="connsiteX197" fmla="*/ 469887 w 1090712"/>
              <a:gd name="connsiteY197" fmla="*/ 28986 h 895572"/>
              <a:gd name="connsiteX198" fmla="*/ 453493 w 1090712"/>
              <a:gd name="connsiteY198" fmla="*/ 33500 h 895572"/>
              <a:gd name="connsiteX199" fmla="*/ 438762 w 1090712"/>
              <a:gd name="connsiteY199" fmla="*/ 40153 h 895572"/>
              <a:gd name="connsiteX200" fmla="*/ 424507 w 1090712"/>
              <a:gd name="connsiteY200" fmla="*/ 47281 h 895572"/>
              <a:gd name="connsiteX201" fmla="*/ 417379 w 1090712"/>
              <a:gd name="connsiteY201" fmla="*/ 51320 h 895572"/>
              <a:gd name="connsiteX202" fmla="*/ 410727 w 1090712"/>
              <a:gd name="connsiteY202" fmla="*/ 55834 h 895572"/>
              <a:gd name="connsiteX203" fmla="*/ 403599 w 1090712"/>
              <a:gd name="connsiteY203" fmla="*/ 60111 h 895572"/>
              <a:gd name="connsiteX204" fmla="*/ 397422 w 1090712"/>
              <a:gd name="connsiteY204" fmla="*/ 65100 h 895572"/>
              <a:gd name="connsiteX205" fmla="*/ 390769 w 1090712"/>
              <a:gd name="connsiteY205" fmla="*/ 69852 h 895572"/>
              <a:gd name="connsiteX206" fmla="*/ 384592 w 1090712"/>
              <a:gd name="connsiteY206" fmla="*/ 75792 h 895572"/>
              <a:gd name="connsiteX207" fmla="*/ 378889 w 1090712"/>
              <a:gd name="connsiteY207" fmla="*/ 81494 h 895572"/>
              <a:gd name="connsiteX208" fmla="*/ 372950 w 1090712"/>
              <a:gd name="connsiteY208" fmla="*/ 87671 h 895572"/>
              <a:gd name="connsiteX209" fmla="*/ 367723 w 1090712"/>
              <a:gd name="connsiteY209" fmla="*/ 94324 h 895572"/>
              <a:gd name="connsiteX210" fmla="*/ 362733 w 1090712"/>
              <a:gd name="connsiteY210" fmla="*/ 101452 h 895572"/>
              <a:gd name="connsiteX211" fmla="*/ 357981 w 1090712"/>
              <a:gd name="connsiteY211" fmla="*/ 109055 h 895572"/>
              <a:gd name="connsiteX212" fmla="*/ 353467 w 1090712"/>
              <a:gd name="connsiteY212" fmla="*/ 117608 h 895572"/>
              <a:gd name="connsiteX213" fmla="*/ 409064 w 1090712"/>
              <a:gd name="connsiteY213" fmla="*/ 117608 h 895572"/>
              <a:gd name="connsiteX214" fmla="*/ 406925 w 1090712"/>
              <a:gd name="connsiteY214" fmla="*/ 119271 h 895572"/>
              <a:gd name="connsiteX215" fmla="*/ 404074 w 1090712"/>
              <a:gd name="connsiteY215" fmla="*/ 121647 h 895572"/>
              <a:gd name="connsiteX216" fmla="*/ 400510 w 1090712"/>
              <a:gd name="connsiteY216" fmla="*/ 123310 h 895572"/>
              <a:gd name="connsiteX217" fmla="*/ 397422 w 1090712"/>
              <a:gd name="connsiteY217" fmla="*/ 125211 h 895572"/>
              <a:gd name="connsiteX218" fmla="*/ 393383 w 1090712"/>
              <a:gd name="connsiteY218" fmla="*/ 126399 h 895572"/>
              <a:gd name="connsiteX219" fmla="*/ 389581 w 1090712"/>
              <a:gd name="connsiteY219" fmla="*/ 127824 h 895572"/>
              <a:gd name="connsiteX220" fmla="*/ 385542 w 1090712"/>
              <a:gd name="connsiteY220" fmla="*/ 128299 h 895572"/>
              <a:gd name="connsiteX221" fmla="*/ 381503 w 1090712"/>
              <a:gd name="connsiteY221" fmla="*/ 128774 h 895572"/>
              <a:gd name="connsiteX222" fmla="*/ 375326 w 1090712"/>
              <a:gd name="connsiteY222" fmla="*/ 130438 h 895572"/>
              <a:gd name="connsiteX223" fmla="*/ 368435 w 1090712"/>
              <a:gd name="connsiteY223" fmla="*/ 131863 h 895572"/>
              <a:gd name="connsiteX224" fmla="*/ 361783 w 1090712"/>
              <a:gd name="connsiteY224" fmla="*/ 133051 h 895572"/>
              <a:gd name="connsiteX225" fmla="*/ 355606 w 1090712"/>
              <a:gd name="connsiteY225" fmla="*/ 134001 h 895572"/>
              <a:gd name="connsiteX226" fmla="*/ 342300 w 1090712"/>
              <a:gd name="connsiteY226" fmla="*/ 135427 h 895572"/>
              <a:gd name="connsiteX227" fmla="*/ 329471 w 1090712"/>
              <a:gd name="connsiteY227" fmla="*/ 137090 h 895572"/>
              <a:gd name="connsiteX228" fmla="*/ 322818 w 1090712"/>
              <a:gd name="connsiteY228" fmla="*/ 138040 h 895572"/>
              <a:gd name="connsiteX229" fmla="*/ 316403 w 1090712"/>
              <a:gd name="connsiteY229" fmla="*/ 139704 h 895572"/>
              <a:gd name="connsiteX230" fmla="*/ 310226 w 1090712"/>
              <a:gd name="connsiteY230" fmla="*/ 141604 h 895572"/>
              <a:gd name="connsiteX231" fmla="*/ 304048 w 1090712"/>
              <a:gd name="connsiteY231" fmla="*/ 144218 h 895572"/>
              <a:gd name="connsiteX232" fmla="*/ 298346 w 1090712"/>
              <a:gd name="connsiteY232" fmla="*/ 147307 h 895572"/>
              <a:gd name="connsiteX233" fmla="*/ 292406 w 1090712"/>
              <a:gd name="connsiteY233" fmla="*/ 151346 h 895572"/>
              <a:gd name="connsiteX234" fmla="*/ 286704 w 1090712"/>
              <a:gd name="connsiteY234" fmla="*/ 156335 h 895572"/>
              <a:gd name="connsiteX235" fmla="*/ 281240 w 1090712"/>
              <a:gd name="connsiteY235" fmla="*/ 162037 h 895572"/>
              <a:gd name="connsiteX236" fmla="*/ 262232 w 1090712"/>
              <a:gd name="connsiteY236" fmla="*/ 182945 h 895572"/>
              <a:gd name="connsiteX237" fmla="*/ 242987 w 1090712"/>
              <a:gd name="connsiteY237" fmla="*/ 203378 h 895572"/>
              <a:gd name="connsiteX238" fmla="*/ 203547 w 1090712"/>
              <a:gd name="connsiteY238" fmla="*/ 244006 h 895572"/>
              <a:gd name="connsiteX239" fmla="*/ 183827 w 1090712"/>
              <a:gd name="connsiteY239" fmla="*/ 264439 h 895572"/>
              <a:gd name="connsiteX240" fmla="*/ 164345 w 1090712"/>
              <a:gd name="connsiteY240" fmla="*/ 285822 h 895572"/>
              <a:gd name="connsiteX241" fmla="*/ 144862 w 1090712"/>
              <a:gd name="connsiteY241" fmla="*/ 307443 h 895572"/>
              <a:gd name="connsiteX242" fmla="*/ 126093 w 1090712"/>
              <a:gd name="connsiteY242" fmla="*/ 329777 h 895572"/>
              <a:gd name="connsiteX243" fmla="*/ 122054 w 1090712"/>
              <a:gd name="connsiteY243" fmla="*/ 335004 h 895572"/>
              <a:gd name="connsiteX244" fmla="*/ 118015 w 1090712"/>
              <a:gd name="connsiteY244" fmla="*/ 340468 h 895572"/>
              <a:gd name="connsiteX245" fmla="*/ 110887 w 1090712"/>
              <a:gd name="connsiteY245" fmla="*/ 352110 h 895572"/>
              <a:gd name="connsiteX246" fmla="*/ 104709 w 1090712"/>
              <a:gd name="connsiteY246" fmla="*/ 363514 h 895572"/>
              <a:gd name="connsiteX247" fmla="*/ 99007 w 1090712"/>
              <a:gd name="connsiteY247" fmla="*/ 375156 h 895572"/>
              <a:gd name="connsiteX248" fmla="*/ 87840 w 1090712"/>
              <a:gd name="connsiteY248" fmla="*/ 400103 h 895572"/>
              <a:gd name="connsiteX249" fmla="*/ 82138 w 1090712"/>
              <a:gd name="connsiteY249" fmla="*/ 412458 h 895572"/>
              <a:gd name="connsiteX250" fmla="*/ 75723 w 1090712"/>
              <a:gd name="connsiteY250" fmla="*/ 425050 h 895572"/>
              <a:gd name="connsiteX251" fmla="*/ 75723 w 1090712"/>
              <a:gd name="connsiteY251" fmla="*/ 429802 h 895572"/>
              <a:gd name="connsiteX252" fmla="*/ 76674 w 1090712"/>
              <a:gd name="connsiteY252" fmla="*/ 436217 h 895572"/>
              <a:gd name="connsiteX253" fmla="*/ 77149 w 1090712"/>
              <a:gd name="connsiteY253" fmla="*/ 439306 h 895572"/>
              <a:gd name="connsiteX254" fmla="*/ 78574 w 1090712"/>
              <a:gd name="connsiteY254" fmla="*/ 442395 h 895572"/>
              <a:gd name="connsiteX255" fmla="*/ 79762 w 1090712"/>
              <a:gd name="connsiteY255" fmla="*/ 445008 h 895572"/>
              <a:gd name="connsiteX256" fmla="*/ 81663 w 1090712"/>
              <a:gd name="connsiteY256" fmla="*/ 447147 h 895572"/>
              <a:gd name="connsiteX257" fmla="*/ 94018 w 1090712"/>
              <a:gd name="connsiteY257" fmla="*/ 468055 h 895572"/>
              <a:gd name="connsiteX258" fmla="*/ 106848 w 1090712"/>
              <a:gd name="connsiteY258" fmla="*/ 488963 h 895572"/>
              <a:gd name="connsiteX259" fmla="*/ 113975 w 1090712"/>
              <a:gd name="connsiteY259" fmla="*/ 499654 h 895572"/>
              <a:gd name="connsiteX260" fmla="*/ 121103 w 1090712"/>
              <a:gd name="connsiteY260" fmla="*/ 510346 h 895572"/>
              <a:gd name="connsiteX261" fmla="*/ 128706 w 1090712"/>
              <a:gd name="connsiteY261" fmla="*/ 520562 h 895572"/>
              <a:gd name="connsiteX262" fmla="*/ 137259 w 1090712"/>
              <a:gd name="connsiteY262" fmla="*/ 531254 h 895572"/>
              <a:gd name="connsiteX263" fmla="*/ 149614 w 1090712"/>
              <a:gd name="connsiteY263" fmla="*/ 514385 h 895572"/>
              <a:gd name="connsiteX264" fmla="*/ 162206 w 1090712"/>
              <a:gd name="connsiteY264" fmla="*/ 498466 h 895572"/>
              <a:gd name="connsiteX265" fmla="*/ 174561 w 1090712"/>
              <a:gd name="connsiteY265" fmla="*/ 483260 h 895572"/>
              <a:gd name="connsiteX266" fmla="*/ 180739 w 1090712"/>
              <a:gd name="connsiteY266" fmla="*/ 476133 h 895572"/>
              <a:gd name="connsiteX267" fmla="*/ 186916 w 1090712"/>
              <a:gd name="connsiteY267" fmla="*/ 469480 h 895572"/>
              <a:gd name="connsiteX268" fmla="*/ 182639 w 1090712"/>
              <a:gd name="connsiteY268" fmla="*/ 482310 h 895572"/>
              <a:gd name="connsiteX269" fmla="*/ 178125 w 1090712"/>
              <a:gd name="connsiteY269" fmla="*/ 495615 h 895572"/>
              <a:gd name="connsiteX270" fmla="*/ 172423 w 1090712"/>
              <a:gd name="connsiteY270" fmla="*/ 509871 h 895572"/>
              <a:gd name="connsiteX271" fmla="*/ 164820 w 1090712"/>
              <a:gd name="connsiteY271" fmla="*/ 525552 h 895572"/>
              <a:gd name="connsiteX272" fmla="*/ 156267 w 1090712"/>
              <a:gd name="connsiteY272" fmla="*/ 538381 h 895572"/>
              <a:gd name="connsiteX273" fmla="*/ 152703 w 1090712"/>
              <a:gd name="connsiteY273" fmla="*/ 544559 h 895572"/>
              <a:gd name="connsiteX274" fmla="*/ 148664 w 1090712"/>
              <a:gd name="connsiteY274" fmla="*/ 551449 h 895572"/>
              <a:gd name="connsiteX275" fmla="*/ 145100 w 1090712"/>
              <a:gd name="connsiteY275" fmla="*/ 558339 h 895572"/>
              <a:gd name="connsiteX276" fmla="*/ 142011 w 1090712"/>
              <a:gd name="connsiteY276" fmla="*/ 565467 h 895572"/>
              <a:gd name="connsiteX277" fmla="*/ 139398 w 1090712"/>
              <a:gd name="connsiteY277" fmla="*/ 573070 h 895572"/>
              <a:gd name="connsiteX278" fmla="*/ 137259 w 1090712"/>
              <a:gd name="connsiteY278" fmla="*/ 581623 h 895572"/>
              <a:gd name="connsiteX279" fmla="*/ 136309 w 1090712"/>
              <a:gd name="connsiteY279" fmla="*/ 583761 h 895572"/>
              <a:gd name="connsiteX280" fmla="*/ 135359 w 1090712"/>
              <a:gd name="connsiteY280" fmla="*/ 586137 h 895572"/>
              <a:gd name="connsiteX281" fmla="*/ 134883 w 1090712"/>
              <a:gd name="connsiteY281" fmla="*/ 590889 h 895572"/>
              <a:gd name="connsiteX282" fmla="*/ 134883 w 1090712"/>
              <a:gd name="connsiteY282" fmla="*/ 595879 h 895572"/>
              <a:gd name="connsiteX283" fmla="*/ 135359 w 1090712"/>
              <a:gd name="connsiteY283" fmla="*/ 601106 h 895572"/>
              <a:gd name="connsiteX284" fmla="*/ 136784 w 1090712"/>
              <a:gd name="connsiteY284" fmla="*/ 606095 h 895572"/>
              <a:gd name="connsiteX285" fmla="*/ 138447 w 1090712"/>
              <a:gd name="connsiteY285" fmla="*/ 611322 h 895572"/>
              <a:gd name="connsiteX286" fmla="*/ 140348 w 1090712"/>
              <a:gd name="connsiteY286" fmla="*/ 616311 h 895572"/>
              <a:gd name="connsiteX287" fmla="*/ 142486 w 1090712"/>
              <a:gd name="connsiteY287" fmla="*/ 620826 h 895572"/>
              <a:gd name="connsiteX288" fmla="*/ 148664 w 1090712"/>
              <a:gd name="connsiteY288" fmla="*/ 629616 h 895572"/>
              <a:gd name="connsiteX289" fmla="*/ 155554 w 1090712"/>
              <a:gd name="connsiteY289" fmla="*/ 637219 h 895572"/>
              <a:gd name="connsiteX290" fmla="*/ 162444 w 1090712"/>
              <a:gd name="connsiteY290" fmla="*/ 643872 h 895572"/>
              <a:gd name="connsiteX291" fmla="*/ 169572 w 1090712"/>
              <a:gd name="connsiteY291" fmla="*/ 649099 h 895572"/>
              <a:gd name="connsiteX292" fmla="*/ 177175 w 1090712"/>
              <a:gd name="connsiteY292" fmla="*/ 653613 h 895572"/>
              <a:gd name="connsiteX293" fmla="*/ 184778 w 1090712"/>
              <a:gd name="connsiteY293" fmla="*/ 657177 h 895572"/>
              <a:gd name="connsiteX294" fmla="*/ 192856 w 1090712"/>
              <a:gd name="connsiteY294" fmla="*/ 659553 h 895572"/>
              <a:gd name="connsiteX295" fmla="*/ 200934 w 1090712"/>
              <a:gd name="connsiteY295" fmla="*/ 661216 h 895572"/>
              <a:gd name="connsiteX296" fmla="*/ 209250 w 1090712"/>
              <a:gd name="connsiteY296" fmla="*/ 661691 h 895572"/>
              <a:gd name="connsiteX297" fmla="*/ 218278 w 1090712"/>
              <a:gd name="connsiteY297" fmla="*/ 661691 h 895572"/>
              <a:gd name="connsiteX298" fmla="*/ 227069 w 1090712"/>
              <a:gd name="connsiteY298" fmla="*/ 660266 h 895572"/>
              <a:gd name="connsiteX299" fmla="*/ 236335 w 1090712"/>
              <a:gd name="connsiteY299" fmla="*/ 658603 h 895572"/>
              <a:gd name="connsiteX300" fmla="*/ 245838 w 1090712"/>
              <a:gd name="connsiteY300" fmla="*/ 655514 h 895572"/>
              <a:gd name="connsiteX301" fmla="*/ 255580 w 1090712"/>
              <a:gd name="connsiteY301" fmla="*/ 652425 h 895572"/>
              <a:gd name="connsiteX302" fmla="*/ 265321 w 1090712"/>
              <a:gd name="connsiteY302" fmla="*/ 647911 h 895572"/>
              <a:gd name="connsiteX303" fmla="*/ 276013 w 1090712"/>
              <a:gd name="connsiteY303" fmla="*/ 642922 h 895572"/>
              <a:gd name="connsiteX304" fmla="*/ 288367 w 1090712"/>
              <a:gd name="connsiteY304" fmla="*/ 635081 h 895572"/>
              <a:gd name="connsiteX305" fmla="*/ 301910 w 1090712"/>
              <a:gd name="connsiteY305" fmla="*/ 627478 h 895572"/>
              <a:gd name="connsiteX306" fmla="*/ 315215 w 1090712"/>
              <a:gd name="connsiteY306" fmla="*/ 620350 h 895572"/>
              <a:gd name="connsiteX307" fmla="*/ 329471 w 1090712"/>
              <a:gd name="connsiteY307" fmla="*/ 613698 h 895572"/>
              <a:gd name="connsiteX308" fmla="*/ 343726 w 1090712"/>
              <a:gd name="connsiteY308" fmla="*/ 607283 h 895572"/>
              <a:gd name="connsiteX309" fmla="*/ 357981 w 1090712"/>
              <a:gd name="connsiteY309" fmla="*/ 602056 h 895572"/>
              <a:gd name="connsiteX310" fmla="*/ 371999 w 1090712"/>
              <a:gd name="connsiteY310" fmla="*/ 597066 h 895572"/>
              <a:gd name="connsiteX311" fmla="*/ 386730 w 1090712"/>
              <a:gd name="connsiteY311" fmla="*/ 592790 h 895572"/>
              <a:gd name="connsiteX312" fmla="*/ 394808 w 1090712"/>
              <a:gd name="connsiteY312" fmla="*/ 590414 h 895572"/>
              <a:gd name="connsiteX313" fmla="*/ 402411 w 1090712"/>
              <a:gd name="connsiteY313" fmla="*/ 587325 h 895572"/>
              <a:gd name="connsiteX314" fmla="*/ 409064 w 1090712"/>
              <a:gd name="connsiteY314" fmla="*/ 583761 h 895572"/>
              <a:gd name="connsiteX315" fmla="*/ 411677 w 1090712"/>
              <a:gd name="connsiteY315" fmla="*/ 581623 h 895572"/>
              <a:gd name="connsiteX316" fmla="*/ 414766 w 1090712"/>
              <a:gd name="connsiteY316" fmla="*/ 579247 h 895572"/>
              <a:gd name="connsiteX317" fmla="*/ 417142 w 1090712"/>
              <a:gd name="connsiteY317" fmla="*/ 577109 h 895572"/>
              <a:gd name="connsiteX318" fmla="*/ 419280 w 1090712"/>
              <a:gd name="connsiteY318" fmla="*/ 574495 h 895572"/>
              <a:gd name="connsiteX319" fmla="*/ 420943 w 1090712"/>
              <a:gd name="connsiteY319" fmla="*/ 571407 h 895572"/>
              <a:gd name="connsiteX320" fmla="*/ 422844 w 1090712"/>
              <a:gd name="connsiteY320" fmla="*/ 568318 h 895572"/>
              <a:gd name="connsiteX321" fmla="*/ 424269 w 1090712"/>
              <a:gd name="connsiteY321" fmla="*/ 565229 h 895572"/>
              <a:gd name="connsiteX322" fmla="*/ 424982 w 1090712"/>
              <a:gd name="connsiteY322" fmla="*/ 561665 h 895572"/>
              <a:gd name="connsiteX323" fmla="*/ 425457 w 1090712"/>
              <a:gd name="connsiteY323" fmla="*/ 557626 h 895572"/>
              <a:gd name="connsiteX324" fmla="*/ 425932 w 1090712"/>
              <a:gd name="connsiteY324" fmla="*/ 553587 h 895572"/>
              <a:gd name="connsiteX325" fmla="*/ 425932 w 1090712"/>
              <a:gd name="connsiteY325" fmla="*/ 413884 h 895572"/>
              <a:gd name="connsiteX326" fmla="*/ 425932 w 1090712"/>
              <a:gd name="connsiteY326" fmla="*/ 285347 h 895572"/>
              <a:gd name="connsiteX327" fmla="*/ 429496 w 1090712"/>
              <a:gd name="connsiteY327" fmla="*/ 300078 h 895572"/>
              <a:gd name="connsiteX328" fmla="*/ 433060 w 1090712"/>
              <a:gd name="connsiteY328" fmla="*/ 314096 h 895572"/>
              <a:gd name="connsiteX329" fmla="*/ 436149 w 1090712"/>
              <a:gd name="connsiteY329" fmla="*/ 328826 h 895572"/>
              <a:gd name="connsiteX330" fmla="*/ 438762 w 1090712"/>
              <a:gd name="connsiteY330" fmla="*/ 343082 h 895572"/>
              <a:gd name="connsiteX331" fmla="*/ 443752 w 1090712"/>
              <a:gd name="connsiteY331" fmla="*/ 370642 h 895572"/>
              <a:gd name="connsiteX332" fmla="*/ 447791 w 1090712"/>
              <a:gd name="connsiteY332" fmla="*/ 397015 h 895572"/>
              <a:gd name="connsiteX333" fmla="*/ 451830 w 1090712"/>
              <a:gd name="connsiteY333" fmla="*/ 421962 h 895572"/>
              <a:gd name="connsiteX334" fmla="*/ 454919 w 1090712"/>
              <a:gd name="connsiteY334" fmla="*/ 446434 h 895572"/>
              <a:gd name="connsiteX335" fmla="*/ 456106 w 1090712"/>
              <a:gd name="connsiteY335" fmla="*/ 458313 h 895572"/>
              <a:gd name="connsiteX336" fmla="*/ 457057 w 1090712"/>
              <a:gd name="connsiteY336" fmla="*/ 470430 h 895572"/>
              <a:gd name="connsiteX337" fmla="*/ 457532 w 1090712"/>
              <a:gd name="connsiteY337" fmla="*/ 482310 h 895572"/>
              <a:gd name="connsiteX338" fmla="*/ 457532 w 1090712"/>
              <a:gd name="connsiteY338" fmla="*/ 493952 h 895572"/>
              <a:gd name="connsiteX339" fmla="*/ 457532 w 1090712"/>
              <a:gd name="connsiteY339" fmla="*/ 506069 h 895572"/>
              <a:gd name="connsiteX340" fmla="*/ 456582 w 1090712"/>
              <a:gd name="connsiteY340" fmla="*/ 517473 h 895572"/>
              <a:gd name="connsiteX341" fmla="*/ 455869 w 1090712"/>
              <a:gd name="connsiteY341" fmla="*/ 529116 h 895572"/>
              <a:gd name="connsiteX342" fmla="*/ 453968 w 1090712"/>
              <a:gd name="connsiteY342" fmla="*/ 540757 h 895572"/>
              <a:gd name="connsiteX343" fmla="*/ 452305 w 1090712"/>
              <a:gd name="connsiteY343" fmla="*/ 552162 h 895572"/>
              <a:gd name="connsiteX344" fmla="*/ 449454 w 1090712"/>
              <a:gd name="connsiteY344" fmla="*/ 563804 h 895572"/>
              <a:gd name="connsiteX345" fmla="*/ 446365 w 1090712"/>
              <a:gd name="connsiteY345" fmla="*/ 575446 h 895572"/>
              <a:gd name="connsiteX346" fmla="*/ 442326 w 1090712"/>
              <a:gd name="connsiteY346" fmla="*/ 586850 h 895572"/>
              <a:gd name="connsiteX347" fmla="*/ 440188 w 1090712"/>
              <a:gd name="connsiteY347" fmla="*/ 591364 h 895572"/>
              <a:gd name="connsiteX348" fmla="*/ 437574 w 1090712"/>
              <a:gd name="connsiteY348" fmla="*/ 595403 h 895572"/>
              <a:gd name="connsiteX349" fmla="*/ 434486 w 1090712"/>
              <a:gd name="connsiteY349" fmla="*/ 598967 h 895572"/>
              <a:gd name="connsiteX350" fmla="*/ 431397 w 1090712"/>
              <a:gd name="connsiteY350" fmla="*/ 602531 h 895572"/>
              <a:gd name="connsiteX351" fmla="*/ 428071 w 1090712"/>
              <a:gd name="connsiteY351" fmla="*/ 605145 h 895572"/>
              <a:gd name="connsiteX352" fmla="*/ 424982 w 1090712"/>
              <a:gd name="connsiteY352" fmla="*/ 607283 h 895572"/>
              <a:gd name="connsiteX353" fmla="*/ 422369 w 1090712"/>
              <a:gd name="connsiteY353" fmla="*/ 608708 h 895572"/>
              <a:gd name="connsiteX354" fmla="*/ 420230 w 1090712"/>
              <a:gd name="connsiteY354" fmla="*/ 609659 h 895572"/>
              <a:gd name="connsiteX355" fmla="*/ 410727 w 1090712"/>
              <a:gd name="connsiteY355" fmla="*/ 610847 h 895572"/>
              <a:gd name="connsiteX356" fmla="*/ 401461 w 1090712"/>
              <a:gd name="connsiteY356" fmla="*/ 612748 h 895572"/>
              <a:gd name="connsiteX357" fmla="*/ 392670 w 1090712"/>
              <a:gd name="connsiteY357" fmla="*/ 614886 h 895572"/>
              <a:gd name="connsiteX358" fmla="*/ 383641 w 1090712"/>
              <a:gd name="connsiteY358" fmla="*/ 617262 h 895572"/>
              <a:gd name="connsiteX359" fmla="*/ 374850 w 1090712"/>
              <a:gd name="connsiteY359" fmla="*/ 620350 h 895572"/>
              <a:gd name="connsiteX360" fmla="*/ 365822 w 1090712"/>
              <a:gd name="connsiteY360" fmla="*/ 623914 h 895572"/>
              <a:gd name="connsiteX361" fmla="*/ 348478 w 1090712"/>
              <a:gd name="connsiteY361" fmla="*/ 631042 h 895572"/>
              <a:gd name="connsiteX362" fmla="*/ 331609 w 1090712"/>
              <a:gd name="connsiteY362" fmla="*/ 639358 h 895572"/>
              <a:gd name="connsiteX363" fmla="*/ 314740 w 1090712"/>
              <a:gd name="connsiteY363" fmla="*/ 647911 h 895572"/>
              <a:gd name="connsiteX364" fmla="*/ 281240 w 1090712"/>
              <a:gd name="connsiteY364" fmla="*/ 665255 h 895572"/>
              <a:gd name="connsiteX365" fmla="*/ 274587 w 1090712"/>
              <a:gd name="connsiteY365" fmla="*/ 669294 h 895572"/>
              <a:gd name="connsiteX366" fmla="*/ 267935 w 1090712"/>
              <a:gd name="connsiteY366" fmla="*/ 672858 h 895572"/>
              <a:gd name="connsiteX367" fmla="*/ 261757 w 1090712"/>
              <a:gd name="connsiteY367" fmla="*/ 675947 h 895572"/>
              <a:gd name="connsiteX368" fmla="*/ 255105 w 1090712"/>
              <a:gd name="connsiteY368" fmla="*/ 679035 h 895572"/>
              <a:gd name="connsiteX369" fmla="*/ 248927 w 1090712"/>
              <a:gd name="connsiteY369" fmla="*/ 681174 h 895572"/>
              <a:gd name="connsiteX370" fmla="*/ 242987 w 1090712"/>
              <a:gd name="connsiteY370" fmla="*/ 683075 h 895572"/>
              <a:gd name="connsiteX371" fmla="*/ 236810 w 1090712"/>
              <a:gd name="connsiteY371" fmla="*/ 684738 h 895572"/>
              <a:gd name="connsiteX372" fmla="*/ 231108 w 1090712"/>
              <a:gd name="connsiteY372" fmla="*/ 686163 h 895572"/>
              <a:gd name="connsiteX373" fmla="*/ 225406 w 1090712"/>
              <a:gd name="connsiteY373" fmla="*/ 687114 h 895572"/>
              <a:gd name="connsiteX374" fmla="*/ 219466 w 1090712"/>
              <a:gd name="connsiteY374" fmla="*/ 687589 h 895572"/>
              <a:gd name="connsiteX375" fmla="*/ 213764 w 1090712"/>
              <a:gd name="connsiteY375" fmla="*/ 687589 h 895572"/>
              <a:gd name="connsiteX376" fmla="*/ 208299 w 1090712"/>
              <a:gd name="connsiteY376" fmla="*/ 687589 h 895572"/>
              <a:gd name="connsiteX377" fmla="*/ 203072 w 1090712"/>
              <a:gd name="connsiteY377" fmla="*/ 687114 h 895572"/>
              <a:gd name="connsiteX378" fmla="*/ 197607 w 1090712"/>
              <a:gd name="connsiteY378" fmla="*/ 686163 h 895572"/>
              <a:gd name="connsiteX379" fmla="*/ 192380 w 1090712"/>
              <a:gd name="connsiteY379" fmla="*/ 684738 h 895572"/>
              <a:gd name="connsiteX380" fmla="*/ 186916 w 1090712"/>
              <a:gd name="connsiteY380" fmla="*/ 683550 h 895572"/>
              <a:gd name="connsiteX381" fmla="*/ 181689 w 1090712"/>
              <a:gd name="connsiteY381" fmla="*/ 681649 h 895572"/>
              <a:gd name="connsiteX382" fmla="*/ 176699 w 1090712"/>
              <a:gd name="connsiteY382" fmla="*/ 679986 h 895572"/>
              <a:gd name="connsiteX383" fmla="*/ 171472 w 1090712"/>
              <a:gd name="connsiteY383" fmla="*/ 677610 h 895572"/>
              <a:gd name="connsiteX384" fmla="*/ 166483 w 1090712"/>
              <a:gd name="connsiteY384" fmla="*/ 674996 h 895572"/>
              <a:gd name="connsiteX385" fmla="*/ 156742 w 1090712"/>
              <a:gd name="connsiteY385" fmla="*/ 669294 h 895572"/>
              <a:gd name="connsiteX386" fmla="*/ 147001 w 1090712"/>
              <a:gd name="connsiteY386" fmla="*/ 662167 h 895572"/>
              <a:gd name="connsiteX387" fmla="*/ 137735 w 1090712"/>
              <a:gd name="connsiteY387" fmla="*/ 654564 h 895572"/>
              <a:gd name="connsiteX388" fmla="*/ 127756 w 1090712"/>
              <a:gd name="connsiteY388" fmla="*/ 645535 h 895572"/>
              <a:gd name="connsiteX389" fmla="*/ 118490 w 1090712"/>
              <a:gd name="connsiteY389" fmla="*/ 636269 h 895572"/>
              <a:gd name="connsiteX390" fmla="*/ 109224 w 1090712"/>
              <a:gd name="connsiteY390" fmla="*/ 626053 h 895572"/>
              <a:gd name="connsiteX391" fmla="*/ 107323 w 1090712"/>
              <a:gd name="connsiteY391" fmla="*/ 623914 h 895572"/>
              <a:gd name="connsiteX392" fmla="*/ 106135 w 1090712"/>
              <a:gd name="connsiteY392" fmla="*/ 620350 h 895572"/>
              <a:gd name="connsiteX393" fmla="*/ 105185 w 1090712"/>
              <a:gd name="connsiteY393" fmla="*/ 616311 h 895572"/>
              <a:gd name="connsiteX394" fmla="*/ 105185 w 1090712"/>
              <a:gd name="connsiteY394" fmla="*/ 612272 h 895572"/>
              <a:gd name="connsiteX395" fmla="*/ 105185 w 1090712"/>
              <a:gd name="connsiteY395" fmla="*/ 608233 h 895572"/>
              <a:gd name="connsiteX396" fmla="*/ 106135 w 1090712"/>
              <a:gd name="connsiteY396" fmla="*/ 604194 h 895572"/>
              <a:gd name="connsiteX397" fmla="*/ 107323 w 1090712"/>
              <a:gd name="connsiteY397" fmla="*/ 600630 h 895572"/>
              <a:gd name="connsiteX398" fmla="*/ 109224 w 1090712"/>
              <a:gd name="connsiteY398" fmla="*/ 598017 h 895572"/>
              <a:gd name="connsiteX399" fmla="*/ 111837 w 1090712"/>
              <a:gd name="connsiteY399" fmla="*/ 591840 h 895572"/>
              <a:gd name="connsiteX400" fmla="*/ 113975 w 1090712"/>
              <a:gd name="connsiteY400" fmla="*/ 586137 h 895572"/>
              <a:gd name="connsiteX401" fmla="*/ 115401 w 1090712"/>
              <a:gd name="connsiteY401" fmla="*/ 579722 h 895572"/>
              <a:gd name="connsiteX402" fmla="*/ 115876 w 1090712"/>
              <a:gd name="connsiteY402" fmla="*/ 574020 h 895572"/>
              <a:gd name="connsiteX403" fmla="*/ 115876 w 1090712"/>
              <a:gd name="connsiteY403" fmla="*/ 568318 h 895572"/>
              <a:gd name="connsiteX404" fmla="*/ 115401 w 1090712"/>
              <a:gd name="connsiteY404" fmla="*/ 562378 h 895572"/>
              <a:gd name="connsiteX405" fmla="*/ 114451 w 1090712"/>
              <a:gd name="connsiteY405" fmla="*/ 557151 h 895572"/>
              <a:gd name="connsiteX406" fmla="*/ 112788 w 1090712"/>
              <a:gd name="connsiteY406" fmla="*/ 551449 h 895572"/>
              <a:gd name="connsiteX407" fmla="*/ 110412 w 1090712"/>
              <a:gd name="connsiteY407" fmla="*/ 545984 h 895572"/>
              <a:gd name="connsiteX408" fmla="*/ 108273 w 1090712"/>
              <a:gd name="connsiteY408" fmla="*/ 540757 h 895572"/>
              <a:gd name="connsiteX409" fmla="*/ 105185 w 1090712"/>
              <a:gd name="connsiteY409" fmla="*/ 535293 h 895572"/>
              <a:gd name="connsiteX410" fmla="*/ 102096 w 1090712"/>
              <a:gd name="connsiteY410" fmla="*/ 530066 h 895572"/>
              <a:gd name="connsiteX411" fmla="*/ 94968 w 1090712"/>
              <a:gd name="connsiteY411" fmla="*/ 519374 h 895572"/>
              <a:gd name="connsiteX412" fmla="*/ 86890 w 1090712"/>
              <a:gd name="connsiteY412" fmla="*/ 508683 h 895572"/>
              <a:gd name="connsiteX413" fmla="*/ 78812 w 1090712"/>
              <a:gd name="connsiteY413" fmla="*/ 497991 h 895572"/>
              <a:gd name="connsiteX414" fmla="*/ 70972 w 1090712"/>
              <a:gd name="connsiteY414" fmla="*/ 486824 h 895572"/>
              <a:gd name="connsiteX415" fmla="*/ 67408 w 1090712"/>
              <a:gd name="connsiteY415" fmla="*/ 481122 h 895572"/>
              <a:gd name="connsiteX416" fmla="*/ 64319 w 1090712"/>
              <a:gd name="connsiteY416" fmla="*/ 474707 h 895572"/>
              <a:gd name="connsiteX417" fmla="*/ 61230 w 1090712"/>
              <a:gd name="connsiteY417" fmla="*/ 469005 h 895572"/>
              <a:gd name="connsiteX418" fmla="*/ 58379 w 1090712"/>
              <a:gd name="connsiteY418" fmla="*/ 462828 h 895572"/>
              <a:gd name="connsiteX419" fmla="*/ 56716 w 1090712"/>
              <a:gd name="connsiteY419" fmla="*/ 456175 h 895572"/>
              <a:gd name="connsiteX420" fmla="*/ 54815 w 1090712"/>
              <a:gd name="connsiteY420" fmla="*/ 449998 h 895572"/>
              <a:gd name="connsiteX421" fmla="*/ 54103 w 1090712"/>
              <a:gd name="connsiteY421" fmla="*/ 443345 h 895572"/>
              <a:gd name="connsiteX422" fmla="*/ 53627 w 1090712"/>
              <a:gd name="connsiteY422" fmla="*/ 436455 h 895572"/>
              <a:gd name="connsiteX423" fmla="*/ 53627 w 1090712"/>
              <a:gd name="connsiteY423" fmla="*/ 429327 h 895572"/>
              <a:gd name="connsiteX424" fmla="*/ 54815 w 1090712"/>
              <a:gd name="connsiteY424" fmla="*/ 422675 h 895572"/>
              <a:gd name="connsiteX425" fmla="*/ 56716 w 1090712"/>
              <a:gd name="connsiteY425" fmla="*/ 415547 h 895572"/>
              <a:gd name="connsiteX426" fmla="*/ 59330 w 1090712"/>
              <a:gd name="connsiteY426" fmla="*/ 408182 h 895572"/>
              <a:gd name="connsiteX427" fmla="*/ 60280 w 1090712"/>
              <a:gd name="connsiteY427" fmla="*/ 403192 h 895572"/>
              <a:gd name="connsiteX428" fmla="*/ 61943 w 1090712"/>
              <a:gd name="connsiteY428" fmla="*/ 397965 h 895572"/>
              <a:gd name="connsiteX429" fmla="*/ 65507 w 1090712"/>
              <a:gd name="connsiteY429" fmla="*/ 387986 h 895572"/>
              <a:gd name="connsiteX430" fmla="*/ 69546 w 1090712"/>
              <a:gd name="connsiteY430" fmla="*/ 378720 h 895572"/>
              <a:gd name="connsiteX431" fmla="*/ 74535 w 1090712"/>
              <a:gd name="connsiteY431" fmla="*/ 369929 h 895572"/>
              <a:gd name="connsiteX432" fmla="*/ 79762 w 1090712"/>
              <a:gd name="connsiteY432" fmla="*/ 360901 h 895572"/>
              <a:gd name="connsiteX433" fmla="*/ 85940 w 1090712"/>
              <a:gd name="connsiteY433" fmla="*/ 352585 h 895572"/>
              <a:gd name="connsiteX434" fmla="*/ 98057 w 1090712"/>
              <a:gd name="connsiteY434" fmla="*/ 335479 h 895572"/>
              <a:gd name="connsiteX435" fmla="*/ 102571 w 1090712"/>
              <a:gd name="connsiteY435" fmla="*/ 328113 h 895572"/>
              <a:gd name="connsiteX436" fmla="*/ 106848 w 1090712"/>
              <a:gd name="connsiteY436" fmla="*/ 320986 h 895572"/>
              <a:gd name="connsiteX437" fmla="*/ 116827 w 1090712"/>
              <a:gd name="connsiteY437" fmla="*/ 307205 h 895572"/>
              <a:gd name="connsiteX438" fmla="*/ 127043 w 1090712"/>
              <a:gd name="connsiteY438" fmla="*/ 293188 h 895572"/>
              <a:gd name="connsiteX439" fmla="*/ 137735 w 1090712"/>
              <a:gd name="connsiteY439" fmla="*/ 279407 h 895572"/>
              <a:gd name="connsiteX440" fmla="*/ 159831 w 1090712"/>
              <a:gd name="connsiteY440" fmla="*/ 251847 h 895572"/>
              <a:gd name="connsiteX441" fmla="*/ 170522 w 1090712"/>
              <a:gd name="connsiteY441" fmla="*/ 238066 h 895572"/>
              <a:gd name="connsiteX442" fmla="*/ 181214 w 1090712"/>
              <a:gd name="connsiteY442" fmla="*/ 223336 h 895572"/>
              <a:gd name="connsiteX443" fmla="*/ 164820 w 1090712"/>
              <a:gd name="connsiteY443" fmla="*/ 223336 h 895572"/>
              <a:gd name="connsiteX444" fmla="*/ 137972 w 1090712"/>
              <a:gd name="connsiteY444" fmla="*/ 230226 h 895572"/>
              <a:gd name="connsiteX445" fmla="*/ 125142 w 1090712"/>
              <a:gd name="connsiteY445" fmla="*/ 233790 h 895572"/>
              <a:gd name="connsiteX446" fmla="*/ 112788 w 1090712"/>
              <a:gd name="connsiteY446" fmla="*/ 237591 h 895572"/>
              <a:gd name="connsiteX447" fmla="*/ 100195 w 1090712"/>
              <a:gd name="connsiteY447" fmla="*/ 241630 h 895572"/>
              <a:gd name="connsiteX448" fmla="*/ 87840 w 1090712"/>
              <a:gd name="connsiteY448" fmla="*/ 245669 h 895572"/>
              <a:gd name="connsiteX449" fmla="*/ 75723 w 1090712"/>
              <a:gd name="connsiteY449" fmla="*/ 250183 h 895572"/>
              <a:gd name="connsiteX450" fmla="*/ 64319 w 1090712"/>
              <a:gd name="connsiteY450" fmla="*/ 254935 h 895572"/>
              <a:gd name="connsiteX451" fmla="*/ 52677 w 1090712"/>
              <a:gd name="connsiteY451" fmla="*/ 260400 h 895572"/>
              <a:gd name="connsiteX452" fmla="*/ 41035 w 1090712"/>
              <a:gd name="connsiteY452" fmla="*/ 265627 h 895572"/>
              <a:gd name="connsiteX453" fmla="*/ 29868 w 1090712"/>
              <a:gd name="connsiteY453" fmla="*/ 271567 h 895572"/>
              <a:gd name="connsiteX454" fmla="*/ 18939 w 1090712"/>
              <a:gd name="connsiteY454" fmla="*/ 277744 h 895572"/>
              <a:gd name="connsiteX455" fmla="*/ 7772 w 1090712"/>
              <a:gd name="connsiteY455" fmla="*/ 284397 h 895572"/>
              <a:gd name="connsiteX456" fmla="*/ 0 w 1090712"/>
              <a:gd name="connsiteY456" fmla="*/ 289924 h 895572"/>
              <a:gd name="connsiteX457" fmla="*/ 0 w 1090712"/>
              <a:gd name="connsiteY457" fmla="*/ 895572 h 895572"/>
              <a:gd name="connsiteX458" fmla="*/ 125653 w 1090712"/>
              <a:gd name="connsiteY458" fmla="*/ 895572 h 895572"/>
              <a:gd name="connsiteX459" fmla="*/ 127756 w 1090712"/>
              <a:gd name="connsiteY459" fmla="*/ 892155 h 895572"/>
              <a:gd name="connsiteX460" fmla="*/ 131082 w 1090712"/>
              <a:gd name="connsiteY460" fmla="*/ 885502 h 895572"/>
              <a:gd name="connsiteX461" fmla="*/ 133696 w 1090712"/>
              <a:gd name="connsiteY461" fmla="*/ 878374 h 895572"/>
              <a:gd name="connsiteX462" fmla="*/ 135834 w 1090712"/>
              <a:gd name="connsiteY462" fmla="*/ 871722 h 895572"/>
              <a:gd name="connsiteX463" fmla="*/ 137735 w 1090712"/>
              <a:gd name="connsiteY463" fmla="*/ 864594 h 895572"/>
              <a:gd name="connsiteX464" fmla="*/ 138923 w 1090712"/>
              <a:gd name="connsiteY464" fmla="*/ 857466 h 895572"/>
              <a:gd name="connsiteX465" fmla="*/ 140348 w 1090712"/>
              <a:gd name="connsiteY465" fmla="*/ 850339 h 895572"/>
              <a:gd name="connsiteX466" fmla="*/ 141298 w 1090712"/>
              <a:gd name="connsiteY466" fmla="*/ 843211 h 895572"/>
              <a:gd name="connsiteX467" fmla="*/ 142011 w 1090712"/>
              <a:gd name="connsiteY467" fmla="*/ 828955 h 895572"/>
              <a:gd name="connsiteX468" fmla="*/ 142486 w 1090712"/>
              <a:gd name="connsiteY468" fmla="*/ 814225 h 895572"/>
              <a:gd name="connsiteX469" fmla="*/ 142486 w 1090712"/>
              <a:gd name="connsiteY469" fmla="*/ 799494 h 895572"/>
              <a:gd name="connsiteX470" fmla="*/ 142486 w 1090712"/>
              <a:gd name="connsiteY470" fmla="*/ 782625 h 895572"/>
              <a:gd name="connsiteX471" fmla="*/ 142486 w 1090712"/>
              <a:gd name="connsiteY471" fmla="*/ 771458 h 895572"/>
              <a:gd name="connsiteX472" fmla="*/ 143912 w 1090712"/>
              <a:gd name="connsiteY472" fmla="*/ 778586 h 895572"/>
              <a:gd name="connsiteX473" fmla="*/ 145100 w 1090712"/>
              <a:gd name="connsiteY473" fmla="*/ 784526 h 895572"/>
              <a:gd name="connsiteX474" fmla="*/ 147476 w 1090712"/>
              <a:gd name="connsiteY474" fmla="*/ 789753 h 895572"/>
              <a:gd name="connsiteX475" fmla="*/ 149614 w 1090712"/>
              <a:gd name="connsiteY475" fmla="*/ 794267 h 895572"/>
              <a:gd name="connsiteX476" fmla="*/ 152228 w 1090712"/>
              <a:gd name="connsiteY476" fmla="*/ 797831 h 895572"/>
              <a:gd name="connsiteX477" fmla="*/ 155554 w 1090712"/>
              <a:gd name="connsiteY477" fmla="*/ 801395 h 895572"/>
              <a:gd name="connsiteX478" fmla="*/ 158643 w 1090712"/>
              <a:gd name="connsiteY478" fmla="*/ 803533 h 895572"/>
              <a:gd name="connsiteX479" fmla="*/ 162206 w 1090712"/>
              <a:gd name="connsiteY479" fmla="*/ 805909 h 895572"/>
              <a:gd name="connsiteX480" fmla="*/ 165770 w 1090712"/>
              <a:gd name="connsiteY480" fmla="*/ 807572 h 895572"/>
              <a:gd name="connsiteX481" fmla="*/ 169572 w 1090712"/>
              <a:gd name="connsiteY481" fmla="*/ 808523 h 895572"/>
              <a:gd name="connsiteX482" fmla="*/ 174086 w 1090712"/>
              <a:gd name="connsiteY482" fmla="*/ 809473 h 895572"/>
              <a:gd name="connsiteX483" fmla="*/ 178600 w 1090712"/>
              <a:gd name="connsiteY483" fmla="*/ 810186 h 895572"/>
              <a:gd name="connsiteX484" fmla="*/ 187866 w 1090712"/>
              <a:gd name="connsiteY484" fmla="*/ 810661 h 895572"/>
              <a:gd name="connsiteX485" fmla="*/ 198083 w 1090712"/>
              <a:gd name="connsiteY485" fmla="*/ 810661 h 895572"/>
              <a:gd name="connsiteX486" fmla="*/ 236810 w 1090712"/>
              <a:gd name="connsiteY486" fmla="*/ 810661 h 895572"/>
              <a:gd name="connsiteX487" fmla="*/ 249640 w 1090712"/>
              <a:gd name="connsiteY487" fmla="*/ 811136 h 895572"/>
              <a:gd name="connsiteX488" fmla="*/ 263183 w 1090712"/>
              <a:gd name="connsiteY488" fmla="*/ 811611 h 895572"/>
              <a:gd name="connsiteX489" fmla="*/ 270310 w 1090712"/>
              <a:gd name="connsiteY489" fmla="*/ 811611 h 895572"/>
              <a:gd name="connsiteX490" fmla="*/ 276963 w 1090712"/>
              <a:gd name="connsiteY490" fmla="*/ 811136 h 895572"/>
              <a:gd name="connsiteX491" fmla="*/ 283140 w 1090712"/>
              <a:gd name="connsiteY491" fmla="*/ 810186 h 895572"/>
              <a:gd name="connsiteX492" fmla="*/ 289793 w 1090712"/>
              <a:gd name="connsiteY492" fmla="*/ 808523 h 895572"/>
              <a:gd name="connsiteX493" fmla="*/ 295495 w 1090712"/>
              <a:gd name="connsiteY493" fmla="*/ 806147 h 895572"/>
              <a:gd name="connsiteX494" fmla="*/ 301435 w 1090712"/>
              <a:gd name="connsiteY494" fmla="*/ 803058 h 895572"/>
              <a:gd name="connsiteX495" fmla="*/ 304524 w 1090712"/>
              <a:gd name="connsiteY495" fmla="*/ 801395 h 895572"/>
              <a:gd name="connsiteX496" fmla="*/ 307137 w 1090712"/>
              <a:gd name="connsiteY496" fmla="*/ 799256 h 895572"/>
              <a:gd name="connsiteX497" fmla="*/ 309275 w 1090712"/>
              <a:gd name="connsiteY497" fmla="*/ 796881 h 895572"/>
              <a:gd name="connsiteX498" fmla="*/ 312126 w 1090712"/>
              <a:gd name="connsiteY498" fmla="*/ 794267 h 895572"/>
              <a:gd name="connsiteX499" fmla="*/ 314265 w 1090712"/>
              <a:gd name="connsiteY499" fmla="*/ 791178 h 895572"/>
              <a:gd name="connsiteX500" fmla="*/ 316403 w 1090712"/>
              <a:gd name="connsiteY500" fmla="*/ 788090 h 895572"/>
              <a:gd name="connsiteX501" fmla="*/ 318304 w 1090712"/>
              <a:gd name="connsiteY501" fmla="*/ 784051 h 895572"/>
              <a:gd name="connsiteX502" fmla="*/ 319967 w 1090712"/>
              <a:gd name="connsiteY502" fmla="*/ 780012 h 895572"/>
              <a:gd name="connsiteX503" fmla="*/ 321868 w 1090712"/>
              <a:gd name="connsiteY503" fmla="*/ 775973 h 895572"/>
              <a:gd name="connsiteX504" fmla="*/ 323056 w 1090712"/>
              <a:gd name="connsiteY504" fmla="*/ 771221 h 895572"/>
              <a:gd name="connsiteX505" fmla="*/ 324481 w 1090712"/>
              <a:gd name="connsiteY505" fmla="*/ 765756 h 895572"/>
              <a:gd name="connsiteX506" fmla="*/ 325907 w 1090712"/>
              <a:gd name="connsiteY506" fmla="*/ 760529 h 895572"/>
              <a:gd name="connsiteX507" fmla="*/ 325907 w 1090712"/>
              <a:gd name="connsiteY507" fmla="*/ 827530 h 895572"/>
              <a:gd name="connsiteX508" fmla="*/ 310226 w 1090712"/>
              <a:gd name="connsiteY508" fmla="*/ 835608 h 895572"/>
              <a:gd name="connsiteX509" fmla="*/ 295970 w 1090712"/>
              <a:gd name="connsiteY509" fmla="*/ 843686 h 895572"/>
              <a:gd name="connsiteX510" fmla="*/ 282665 w 1090712"/>
              <a:gd name="connsiteY510" fmla="*/ 850339 h 895572"/>
              <a:gd name="connsiteX511" fmla="*/ 276488 w 1090712"/>
              <a:gd name="connsiteY511" fmla="*/ 852952 h 895572"/>
              <a:gd name="connsiteX512" fmla="*/ 270310 w 1090712"/>
              <a:gd name="connsiteY512" fmla="*/ 855565 h 895572"/>
              <a:gd name="connsiteX513" fmla="*/ 266271 w 1090712"/>
              <a:gd name="connsiteY513" fmla="*/ 857942 h 895572"/>
              <a:gd name="connsiteX514" fmla="*/ 262708 w 1090712"/>
              <a:gd name="connsiteY514" fmla="*/ 860080 h 895572"/>
              <a:gd name="connsiteX515" fmla="*/ 259619 w 1090712"/>
              <a:gd name="connsiteY515" fmla="*/ 862693 h 895572"/>
              <a:gd name="connsiteX516" fmla="*/ 256768 w 1090712"/>
              <a:gd name="connsiteY516" fmla="*/ 865544 h 895572"/>
              <a:gd name="connsiteX517" fmla="*/ 254154 w 1090712"/>
              <a:gd name="connsiteY517" fmla="*/ 868633 h 895572"/>
              <a:gd name="connsiteX518" fmla="*/ 252491 w 1090712"/>
              <a:gd name="connsiteY518" fmla="*/ 871722 h 895572"/>
              <a:gd name="connsiteX519" fmla="*/ 250590 w 1090712"/>
              <a:gd name="connsiteY519" fmla="*/ 874810 h 895572"/>
              <a:gd name="connsiteX520" fmla="*/ 249402 w 1090712"/>
              <a:gd name="connsiteY520" fmla="*/ 877899 h 895572"/>
              <a:gd name="connsiteX521" fmla="*/ 248452 w 1090712"/>
              <a:gd name="connsiteY521" fmla="*/ 880988 h 895572"/>
              <a:gd name="connsiteX522" fmla="*/ 247977 w 1090712"/>
              <a:gd name="connsiteY522" fmla="*/ 884076 h 895572"/>
              <a:gd name="connsiteX523" fmla="*/ 247977 w 1090712"/>
              <a:gd name="connsiteY523" fmla="*/ 887165 h 895572"/>
              <a:gd name="connsiteX524" fmla="*/ 248452 w 1090712"/>
              <a:gd name="connsiteY524" fmla="*/ 890016 h 895572"/>
              <a:gd name="connsiteX525" fmla="*/ 249402 w 1090712"/>
              <a:gd name="connsiteY525" fmla="*/ 893105 h 895572"/>
              <a:gd name="connsiteX526" fmla="*/ 250075 w 1090712"/>
              <a:gd name="connsiteY526" fmla="*/ 895572 h 895572"/>
              <a:gd name="connsiteX527" fmla="*/ 474750 w 1090712"/>
              <a:gd name="connsiteY527" fmla="*/ 895572 h 895572"/>
              <a:gd name="connsiteX528" fmla="*/ 475827 w 1090712"/>
              <a:gd name="connsiteY528" fmla="*/ 894768 h 895572"/>
              <a:gd name="connsiteX529" fmla="*/ 486993 w 1090712"/>
              <a:gd name="connsiteY529" fmla="*/ 882889 h 895572"/>
              <a:gd name="connsiteX530" fmla="*/ 497210 w 1090712"/>
              <a:gd name="connsiteY530" fmla="*/ 870296 h 895572"/>
              <a:gd name="connsiteX531" fmla="*/ 506951 w 1090712"/>
              <a:gd name="connsiteY531" fmla="*/ 857942 h 895572"/>
              <a:gd name="connsiteX532" fmla="*/ 515742 w 1090712"/>
              <a:gd name="connsiteY532" fmla="*/ 844636 h 895572"/>
              <a:gd name="connsiteX533" fmla="*/ 523820 w 1090712"/>
              <a:gd name="connsiteY533" fmla="*/ 831094 h 895572"/>
              <a:gd name="connsiteX534" fmla="*/ 531898 w 1090712"/>
              <a:gd name="connsiteY534" fmla="*/ 816838 h 895572"/>
              <a:gd name="connsiteX535" fmla="*/ 539026 w 1090712"/>
              <a:gd name="connsiteY535" fmla="*/ 802583 h 895572"/>
              <a:gd name="connsiteX536" fmla="*/ 545678 w 1090712"/>
              <a:gd name="connsiteY536" fmla="*/ 788565 h 895572"/>
              <a:gd name="connsiteX537" fmla="*/ 552331 w 1090712"/>
              <a:gd name="connsiteY537" fmla="*/ 773359 h 895572"/>
              <a:gd name="connsiteX538" fmla="*/ 558033 w 1090712"/>
              <a:gd name="connsiteY538" fmla="*/ 758628 h 895572"/>
              <a:gd name="connsiteX539" fmla="*/ 563498 w 1090712"/>
              <a:gd name="connsiteY539" fmla="*/ 743185 h 895572"/>
              <a:gd name="connsiteX540" fmla="*/ 568725 w 1090712"/>
              <a:gd name="connsiteY540" fmla="*/ 727979 h 895572"/>
              <a:gd name="connsiteX541" fmla="*/ 573714 w 1090712"/>
              <a:gd name="connsiteY541" fmla="*/ 712298 h 895572"/>
              <a:gd name="connsiteX542" fmla="*/ 577991 w 1090712"/>
              <a:gd name="connsiteY542" fmla="*/ 696855 h 895572"/>
              <a:gd name="connsiteX543" fmla="*/ 586544 w 1090712"/>
              <a:gd name="connsiteY543" fmla="*/ 665255 h 895572"/>
              <a:gd name="connsiteX544" fmla="*/ 586069 w 1090712"/>
              <a:gd name="connsiteY544" fmla="*/ 663117 h 895572"/>
              <a:gd name="connsiteX545" fmla="*/ 584881 w 1090712"/>
              <a:gd name="connsiteY545" fmla="*/ 660266 h 895572"/>
              <a:gd name="connsiteX546" fmla="*/ 582980 w 1090712"/>
              <a:gd name="connsiteY546" fmla="*/ 657177 h 895572"/>
              <a:gd name="connsiteX547" fmla="*/ 580367 w 1090712"/>
              <a:gd name="connsiteY547" fmla="*/ 654088 h 895572"/>
              <a:gd name="connsiteX548" fmla="*/ 574902 w 1090712"/>
              <a:gd name="connsiteY548" fmla="*/ 647911 h 895572"/>
              <a:gd name="connsiteX549" fmla="*/ 570150 w 1090712"/>
              <a:gd name="connsiteY549" fmla="*/ 642922 h 895572"/>
              <a:gd name="connsiteX550" fmla="*/ 565636 w 1090712"/>
              <a:gd name="connsiteY550" fmla="*/ 636744 h 895572"/>
              <a:gd name="connsiteX551" fmla="*/ 560647 w 1090712"/>
              <a:gd name="connsiteY551" fmla="*/ 631517 h 895572"/>
              <a:gd name="connsiteX552" fmla="*/ 555420 w 1090712"/>
              <a:gd name="connsiteY552" fmla="*/ 626053 h 895572"/>
              <a:gd name="connsiteX553" fmla="*/ 550193 w 1090712"/>
              <a:gd name="connsiteY553" fmla="*/ 621301 h 895572"/>
              <a:gd name="connsiteX554" fmla="*/ 544253 w 1090712"/>
              <a:gd name="connsiteY554" fmla="*/ 616787 h 895572"/>
              <a:gd name="connsiteX555" fmla="*/ 538075 w 1090712"/>
              <a:gd name="connsiteY555" fmla="*/ 612272 h 895572"/>
              <a:gd name="connsiteX556" fmla="*/ 525721 w 1090712"/>
              <a:gd name="connsiteY556" fmla="*/ 603719 h 895572"/>
              <a:gd name="connsiteX557" fmla="*/ 563023 w 1090712"/>
              <a:gd name="connsiteY557" fmla="*/ 619875 h 895572"/>
              <a:gd name="connsiteX558" fmla="*/ 581317 w 1090712"/>
              <a:gd name="connsiteY558" fmla="*/ 628191 h 895572"/>
              <a:gd name="connsiteX559" fmla="*/ 599374 w 1090712"/>
              <a:gd name="connsiteY559" fmla="*/ 636744 h 895572"/>
              <a:gd name="connsiteX560" fmla="*/ 607927 w 1090712"/>
              <a:gd name="connsiteY560" fmla="*/ 641259 h 895572"/>
              <a:gd name="connsiteX561" fmla="*/ 616718 w 1090712"/>
              <a:gd name="connsiteY561" fmla="*/ 646010 h 895572"/>
              <a:gd name="connsiteX562" fmla="*/ 625271 w 1090712"/>
              <a:gd name="connsiteY562" fmla="*/ 651000 h 895572"/>
              <a:gd name="connsiteX563" fmla="*/ 633349 w 1090712"/>
              <a:gd name="connsiteY563" fmla="*/ 656227 h 895572"/>
              <a:gd name="connsiteX564" fmla="*/ 641665 w 1090712"/>
              <a:gd name="connsiteY564" fmla="*/ 662167 h 895572"/>
              <a:gd name="connsiteX565" fmla="*/ 649268 w 1090712"/>
              <a:gd name="connsiteY565" fmla="*/ 668344 h 895572"/>
              <a:gd name="connsiteX566" fmla="*/ 656871 w 1090712"/>
              <a:gd name="connsiteY566" fmla="*/ 674996 h 895572"/>
              <a:gd name="connsiteX567" fmla="*/ 664474 w 1090712"/>
              <a:gd name="connsiteY567" fmla="*/ 682124 h 895572"/>
              <a:gd name="connsiteX568" fmla="*/ 668988 w 1090712"/>
              <a:gd name="connsiteY568" fmla="*/ 686163 h 895572"/>
              <a:gd name="connsiteX569" fmla="*/ 672790 w 1090712"/>
              <a:gd name="connsiteY569" fmla="*/ 690202 h 895572"/>
              <a:gd name="connsiteX570" fmla="*/ 677304 w 1090712"/>
              <a:gd name="connsiteY570" fmla="*/ 693291 h 895572"/>
              <a:gd name="connsiteX571" fmla="*/ 682293 w 1090712"/>
              <a:gd name="connsiteY571" fmla="*/ 696855 h 895572"/>
              <a:gd name="connsiteX572" fmla="*/ 686570 w 1090712"/>
              <a:gd name="connsiteY572" fmla="*/ 699468 h 895572"/>
              <a:gd name="connsiteX573" fmla="*/ 691559 w 1090712"/>
              <a:gd name="connsiteY573" fmla="*/ 702082 h 895572"/>
              <a:gd name="connsiteX574" fmla="*/ 696549 w 1090712"/>
              <a:gd name="connsiteY574" fmla="*/ 703983 h 895572"/>
              <a:gd name="connsiteX575" fmla="*/ 701300 w 1090712"/>
              <a:gd name="connsiteY575" fmla="*/ 705646 h 895572"/>
              <a:gd name="connsiteX576" fmla="*/ 706290 w 1090712"/>
              <a:gd name="connsiteY576" fmla="*/ 707071 h 895572"/>
              <a:gd name="connsiteX577" fmla="*/ 711042 w 1090712"/>
              <a:gd name="connsiteY577" fmla="*/ 708497 h 895572"/>
              <a:gd name="connsiteX578" fmla="*/ 716506 w 1090712"/>
              <a:gd name="connsiteY578" fmla="*/ 708734 h 895572"/>
              <a:gd name="connsiteX579" fmla="*/ 721258 w 1090712"/>
              <a:gd name="connsiteY579" fmla="*/ 708734 h 895572"/>
              <a:gd name="connsiteX580" fmla="*/ 726723 w 1090712"/>
              <a:gd name="connsiteY580" fmla="*/ 708497 h 895572"/>
              <a:gd name="connsiteX581" fmla="*/ 731712 w 1090712"/>
              <a:gd name="connsiteY581" fmla="*/ 707546 h 895572"/>
              <a:gd name="connsiteX582" fmla="*/ 736939 w 1090712"/>
              <a:gd name="connsiteY582" fmla="*/ 706121 h 895572"/>
              <a:gd name="connsiteX583" fmla="*/ 742166 w 1090712"/>
              <a:gd name="connsiteY583" fmla="*/ 704458 h 895572"/>
              <a:gd name="connsiteX584" fmla="*/ 749294 w 1090712"/>
              <a:gd name="connsiteY584" fmla="*/ 702082 h 895572"/>
              <a:gd name="connsiteX585" fmla="*/ 756184 w 1090712"/>
              <a:gd name="connsiteY585" fmla="*/ 699468 h 895572"/>
              <a:gd name="connsiteX586" fmla="*/ 762361 w 1090712"/>
              <a:gd name="connsiteY586" fmla="*/ 696380 h 895572"/>
              <a:gd name="connsiteX587" fmla="*/ 768063 w 1090712"/>
              <a:gd name="connsiteY587" fmla="*/ 692816 h 895572"/>
              <a:gd name="connsiteX588" fmla="*/ 773528 w 1090712"/>
              <a:gd name="connsiteY588" fmla="*/ 689252 h 895572"/>
              <a:gd name="connsiteX589" fmla="*/ 778755 w 1090712"/>
              <a:gd name="connsiteY589" fmla="*/ 684738 h 895572"/>
              <a:gd name="connsiteX590" fmla="*/ 783269 w 1090712"/>
              <a:gd name="connsiteY590" fmla="*/ 680461 h 895572"/>
              <a:gd name="connsiteX591" fmla="*/ 787308 w 1090712"/>
              <a:gd name="connsiteY591" fmla="*/ 674996 h 895572"/>
              <a:gd name="connsiteX592" fmla="*/ 791110 w 1090712"/>
              <a:gd name="connsiteY592" fmla="*/ 669769 h 895572"/>
              <a:gd name="connsiteX593" fmla="*/ 794436 w 1090712"/>
              <a:gd name="connsiteY593" fmla="*/ 663830 h 895572"/>
              <a:gd name="connsiteX594" fmla="*/ 797050 w 1090712"/>
              <a:gd name="connsiteY594" fmla="*/ 657652 h 895572"/>
              <a:gd name="connsiteX595" fmla="*/ 799188 w 1090712"/>
              <a:gd name="connsiteY595" fmla="*/ 651000 h 895572"/>
              <a:gd name="connsiteX596" fmla="*/ 801089 w 1090712"/>
              <a:gd name="connsiteY596" fmla="*/ 643872 h 895572"/>
              <a:gd name="connsiteX597" fmla="*/ 802277 w 1090712"/>
              <a:gd name="connsiteY597" fmla="*/ 636744 h 895572"/>
              <a:gd name="connsiteX598" fmla="*/ 803227 w 1090712"/>
              <a:gd name="connsiteY598" fmla="*/ 628666 h 895572"/>
              <a:gd name="connsiteX599" fmla="*/ 803227 w 1090712"/>
              <a:gd name="connsiteY599" fmla="*/ 620826 h 895572"/>
              <a:gd name="connsiteX600" fmla="*/ 801089 w 1090712"/>
              <a:gd name="connsiteY600" fmla="*/ 622489 h 895572"/>
              <a:gd name="connsiteX601" fmla="*/ 798238 w 1090712"/>
              <a:gd name="connsiteY601" fmla="*/ 623914 h 895572"/>
              <a:gd name="connsiteX602" fmla="*/ 793011 w 1090712"/>
              <a:gd name="connsiteY602" fmla="*/ 626053 h 895572"/>
              <a:gd name="connsiteX603" fmla="*/ 790397 w 1090712"/>
              <a:gd name="connsiteY603" fmla="*/ 627478 h 895572"/>
              <a:gd name="connsiteX604" fmla="*/ 788496 w 1090712"/>
              <a:gd name="connsiteY604" fmla="*/ 628191 h 895572"/>
              <a:gd name="connsiteX605" fmla="*/ 787308 w 1090712"/>
              <a:gd name="connsiteY605" fmla="*/ 630092 h 895572"/>
              <a:gd name="connsiteX606" fmla="*/ 786833 w 1090712"/>
              <a:gd name="connsiteY606" fmla="*/ 631755 h 895572"/>
              <a:gd name="connsiteX607" fmla="*/ 785408 w 1090712"/>
              <a:gd name="connsiteY607" fmla="*/ 635794 h 895572"/>
              <a:gd name="connsiteX608" fmla="*/ 784220 w 1090712"/>
              <a:gd name="connsiteY608" fmla="*/ 639833 h 895572"/>
              <a:gd name="connsiteX609" fmla="*/ 780656 w 1090712"/>
              <a:gd name="connsiteY609" fmla="*/ 646485 h 895572"/>
              <a:gd name="connsiteX610" fmla="*/ 776617 w 1090712"/>
              <a:gd name="connsiteY610" fmla="*/ 653138 h 895572"/>
              <a:gd name="connsiteX611" fmla="*/ 772103 w 1090712"/>
              <a:gd name="connsiteY611" fmla="*/ 659078 h 895572"/>
              <a:gd name="connsiteX612" fmla="*/ 762361 w 1090712"/>
              <a:gd name="connsiteY612" fmla="*/ 670007 h 895572"/>
              <a:gd name="connsiteX613" fmla="*/ 757847 w 1090712"/>
              <a:gd name="connsiteY613" fmla="*/ 675947 h 895572"/>
              <a:gd name="connsiteX614" fmla="*/ 753333 w 1090712"/>
              <a:gd name="connsiteY614" fmla="*/ 682124 h 895572"/>
              <a:gd name="connsiteX615" fmla="*/ 750244 w 1090712"/>
              <a:gd name="connsiteY615" fmla="*/ 684738 h 895572"/>
              <a:gd name="connsiteX616" fmla="*/ 747155 w 1090712"/>
              <a:gd name="connsiteY616" fmla="*/ 687589 h 895572"/>
              <a:gd name="connsiteX617" fmla="*/ 744067 w 1090712"/>
              <a:gd name="connsiteY617" fmla="*/ 689252 h 895572"/>
              <a:gd name="connsiteX618" fmla="*/ 740978 w 1090712"/>
              <a:gd name="connsiteY618" fmla="*/ 690915 h 895572"/>
              <a:gd name="connsiteX619" fmla="*/ 737890 w 1090712"/>
              <a:gd name="connsiteY619" fmla="*/ 691865 h 895572"/>
              <a:gd name="connsiteX620" fmla="*/ 734801 w 1090712"/>
              <a:gd name="connsiteY620" fmla="*/ 692816 h 895572"/>
              <a:gd name="connsiteX621" fmla="*/ 731950 w 1090712"/>
              <a:gd name="connsiteY621" fmla="*/ 693291 h 895572"/>
              <a:gd name="connsiteX622" fmla="*/ 728861 w 1090712"/>
              <a:gd name="connsiteY622" fmla="*/ 693291 h 895572"/>
              <a:gd name="connsiteX623" fmla="*/ 723634 w 1090712"/>
              <a:gd name="connsiteY623" fmla="*/ 692816 h 895572"/>
              <a:gd name="connsiteX624" fmla="*/ 718169 w 1090712"/>
              <a:gd name="connsiteY624" fmla="*/ 691390 h 895572"/>
              <a:gd name="connsiteX625" fmla="*/ 713418 w 1090712"/>
              <a:gd name="connsiteY625" fmla="*/ 689727 h 895572"/>
              <a:gd name="connsiteX626" fmla="*/ 708903 w 1090712"/>
              <a:gd name="connsiteY626" fmla="*/ 687826 h 895572"/>
              <a:gd name="connsiteX627" fmla="*/ 706765 w 1090712"/>
              <a:gd name="connsiteY627" fmla="*/ 687589 h 895572"/>
              <a:gd name="connsiteX628" fmla="*/ 704864 w 1090712"/>
              <a:gd name="connsiteY628" fmla="*/ 687114 h 895572"/>
              <a:gd name="connsiteX629" fmla="*/ 703201 w 1090712"/>
              <a:gd name="connsiteY629" fmla="*/ 686163 h 895572"/>
              <a:gd name="connsiteX630" fmla="*/ 701776 w 1090712"/>
              <a:gd name="connsiteY630" fmla="*/ 684738 h 895572"/>
              <a:gd name="connsiteX631" fmla="*/ 698687 w 1090712"/>
              <a:gd name="connsiteY631" fmla="*/ 681649 h 895572"/>
              <a:gd name="connsiteX632" fmla="*/ 696549 w 1090712"/>
              <a:gd name="connsiteY632" fmla="*/ 678085 h 895572"/>
              <a:gd name="connsiteX633" fmla="*/ 694648 w 1090712"/>
              <a:gd name="connsiteY633" fmla="*/ 673571 h 895572"/>
              <a:gd name="connsiteX634" fmla="*/ 693460 w 1090712"/>
              <a:gd name="connsiteY634" fmla="*/ 668819 h 895572"/>
              <a:gd name="connsiteX635" fmla="*/ 692510 w 1090712"/>
              <a:gd name="connsiteY635" fmla="*/ 664305 h 895572"/>
              <a:gd name="connsiteX636" fmla="*/ 692510 w 1090712"/>
              <a:gd name="connsiteY636" fmla="*/ 659790 h 895572"/>
              <a:gd name="connsiteX637" fmla="*/ 692510 w 1090712"/>
              <a:gd name="connsiteY637" fmla="*/ 647436 h 895572"/>
              <a:gd name="connsiteX638" fmla="*/ 693460 w 1090712"/>
              <a:gd name="connsiteY638" fmla="*/ 635319 h 895572"/>
              <a:gd name="connsiteX639" fmla="*/ 694173 w 1090712"/>
              <a:gd name="connsiteY639" fmla="*/ 624389 h 895572"/>
              <a:gd name="connsiteX640" fmla="*/ 695598 w 1090712"/>
              <a:gd name="connsiteY640" fmla="*/ 612748 h 895572"/>
              <a:gd name="connsiteX641" fmla="*/ 699162 w 1090712"/>
              <a:gd name="connsiteY641" fmla="*/ 591364 h 895572"/>
              <a:gd name="connsiteX642" fmla="*/ 703676 w 1090712"/>
              <a:gd name="connsiteY642" fmla="*/ 570456 h 895572"/>
              <a:gd name="connsiteX643" fmla="*/ 720070 w 1090712"/>
              <a:gd name="connsiteY643" fmla="*/ 574971 h 895572"/>
              <a:gd name="connsiteX644" fmla="*/ 736939 w 1090712"/>
              <a:gd name="connsiteY644" fmla="*/ 579247 h 895572"/>
              <a:gd name="connsiteX645" fmla="*/ 770677 w 1090712"/>
              <a:gd name="connsiteY645" fmla="*/ 589226 h 895572"/>
              <a:gd name="connsiteX646" fmla="*/ 788021 w 1090712"/>
              <a:gd name="connsiteY646" fmla="*/ 593503 h 895572"/>
              <a:gd name="connsiteX647" fmla="*/ 805365 w 1090712"/>
              <a:gd name="connsiteY647" fmla="*/ 597542 h 895572"/>
              <a:gd name="connsiteX648" fmla="*/ 823660 w 1090712"/>
              <a:gd name="connsiteY648" fmla="*/ 601106 h 895572"/>
              <a:gd name="connsiteX649" fmla="*/ 841954 w 1090712"/>
              <a:gd name="connsiteY649" fmla="*/ 603719 h 895572"/>
              <a:gd name="connsiteX650" fmla="*/ 861437 w 1090712"/>
              <a:gd name="connsiteY650" fmla="*/ 606570 h 895572"/>
              <a:gd name="connsiteX651" fmla="*/ 880682 w 1090712"/>
              <a:gd name="connsiteY651" fmla="*/ 608233 h 895572"/>
              <a:gd name="connsiteX652" fmla="*/ 889948 w 1090712"/>
              <a:gd name="connsiteY652" fmla="*/ 608708 h 895572"/>
              <a:gd name="connsiteX653" fmla="*/ 898976 w 1090712"/>
              <a:gd name="connsiteY653" fmla="*/ 608708 h 895572"/>
              <a:gd name="connsiteX654" fmla="*/ 908242 w 1090712"/>
              <a:gd name="connsiteY654" fmla="*/ 608708 h 895572"/>
              <a:gd name="connsiteX655" fmla="*/ 916795 w 1090712"/>
              <a:gd name="connsiteY655" fmla="*/ 608233 h 895572"/>
              <a:gd name="connsiteX656" fmla="*/ 925586 w 1090712"/>
              <a:gd name="connsiteY656" fmla="*/ 607283 h 895572"/>
              <a:gd name="connsiteX657" fmla="*/ 934140 w 1090712"/>
              <a:gd name="connsiteY657" fmla="*/ 606095 h 895572"/>
              <a:gd name="connsiteX658" fmla="*/ 942455 w 1090712"/>
              <a:gd name="connsiteY658" fmla="*/ 604669 h 895572"/>
              <a:gd name="connsiteX659" fmla="*/ 950533 w 1090712"/>
              <a:gd name="connsiteY659" fmla="*/ 603006 h 895572"/>
              <a:gd name="connsiteX660" fmla="*/ 958611 w 1090712"/>
              <a:gd name="connsiteY660" fmla="*/ 600630 h 895572"/>
              <a:gd name="connsiteX661" fmla="*/ 966452 w 1090712"/>
              <a:gd name="connsiteY661" fmla="*/ 598017 h 895572"/>
              <a:gd name="connsiteX662" fmla="*/ 974055 w 1090712"/>
              <a:gd name="connsiteY662" fmla="*/ 595403 h 895572"/>
              <a:gd name="connsiteX663" fmla="*/ 981658 w 1090712"/>
              <a:gd name="connsiteY663" fmla="*/ 591840 h 895572"/>
              <a:gd name="connsiteX664" fmla="*/ 989261 w 1090712"/>
              <a:gd name="connsiteY664" fmla="*/ 588276 h 895572"/>
              <a:gd name="connsiteX665" fmla="*/ 996388 w 1090712"/>
              <a:gd name="connsiteY665" fmla="*/ 584237 h 895572"/>
              <a:gd name="connsiteX666" fmla="*/ 1003041 w 1090712"/>
              <a:gd name="connsiteY666" fmla="*/ 579247 h 895572"/>
              <a:gd name="connsiteX667" fmla="*/ 1009694 w 1090712"/>
              <a:gd name="connsiteY667" fmla="*/ 574495 h 895572"/>
              <a:gd name="connsiteX668" fmla="*/ 1016346 w 1090712"/>
              <a:gd name="connsiteY668" fmla="*/ 569031 h 895572"/>
              <a:gd name="connsiteX669" fmla="*/ 1022998 w 1090712"/>
              <a:gd name="connsiteY669" fmla="*/ 562853 h 895572"/>
              <a:gd name="connsiteX670" fmla="*/ 1029176 w 1090712"/>
              <a:gd name="connsiteY670" fmla="*/ 556676 h 895572"/>
              <a:gd name="connsiteX671" fmla="*/ 1035116 w 1090712"/>
              <a:gd name="connsiteY671" fmla="*/ 549548 h 895572"/>
              <a:gd name="connsiteX672" fmla="*/ 1040818 w 1090712"/>
              <a:gd name="connsiteY672" fmla="*/ 541945 h 895572"/>
              <a:gd name="connsiteX673" fmla="*/ 1046520 w 1090712"/>
              <a:gd name="connsiteY673" fmla="*/ 534342 h 895572"/>
              <a:gd name="connsiteX674" fmla="*/ 1051985 w 1090712"/>
              <a:gd name="connsiteY674" fmla="*/ 526027 h 895572"/>
              <a:gd name="connsiteX675" fmla="*/ 1056737 w 1090712"/>
              <a:gd name="connsiteY675" fmla="*/ 516523 h 895572"/>
              <a:gd name="connsiteX676" fmla="*/ 1061726 w 1090712"/>
              <a:gd name="connsiteY676" fmla="*/ 507257 h 895572"/>
              <a:gd name="connsiteX677" fmla="*/ 1066715 w 1090712"/>
              <a:gd name="connsiteY677" fmla="*/ 497041 h 895572"/>
              <a:gd name="connsiteX678" fmla="*/ 1070992 w 1090712"/>
              <a:gd name="connsiteY678" fmla="*/ 486349 h 895572"/>
              <a:gd name="connsiteX679" fmla="*/ 1075506 w 1090712"/>
              <a:gd name="connsiteY679" fmla="*/ 475182 h 895572"/>
              <a:gd name="connsiteX680" fmla="*/ 1079070 w 1090712"/>
              <a:gd name="connsiteY680" fmla="*/ 462828 h 895572"/>
              <a:gd name="connsiteX681" fmla="*/ 1082634 w 1090712"/>
              <a:gd name="connsiteY681" fmla="*/ 449998 h 895572"/>
              <a:gd name="connsiteX682" fmla="*/ 1084772 w 1090712"/>
              <a:gd name="connsiteY682" fmla="*/ 437405 h 895572"/>
              <a:gd name="connsiteX683" fmla="*/ 1087148 w 1090712"/>
              <a:gd name="connsiteY683" fmla="*/ 425050 h 895572"/>
              <a:gd name="connsiteX684" fmla="*/ 1088811 w 1090712"/>
              <a:gd name="connsiteY684" fmla="*/ 411983 h 895572"/>
              <a:gd name="connsiteX685" fmla="*/ 1089762 w 1090712"/>
              <a:gd name="connsiteY685" fmla="*/ 399628 h 895572"/>
              <a:gd name="connsiteX686" fmla="*/ 1090712 w 1090712"/>
              <a:gd name="connsiteY686" fmla="*/ 386798 h 895572"/>
              <a:gd name="connsiteX687" fmla="*/ 1090712 w 1090712"/>
              <a:gd name="connsiteY687" fmla="*/ 373731 h 895572"/>
              <a:gd name="connsiteX688" fmla="*/ 1090712 w 1090712"/>
              <a:gd name="connsiteY688" fmla="*/ 360901 h 895572"/>
              <a:gd name="connsiteX689" fmla="*/ 1089762 w 1090712"/>
              <a:gd name="connsiteY689" fmla="*/ 348071 h 895572"/>
              <a:gd name="connsiteX690" fmla="*/ 1088811 w 1090712"/>
              <a:gd name="connsiteY690" fmla="*/ 335004 h 895572"/>
              <a:gd name="connsiteX691" fmla="*/ 1088099 w 1090712"/>
              <a:gd name="connsiteY691" fmla="*/ 321698 h 895572"/>
              <a:gd name="connsiteX692" fmla="*/ 1084772 w 1090712"/>
              <a:gd name="connsiteY692" fmla="*/ 295563 h 895572"/>
              <a:gd name="connsiteX693" fmla="*/ 1080971 w 1090712"/>
              <a:gd name="connsiteY693" fmla="*/ 268478 h 895572"/>
              <a:gd name="connsiteX694" fmla="*/ 1078595 w 1090712"/>
              <a:gd name="connsiteY694" fmla="*/ 258262 h 895572"/>
              <a:gd name="connsiteX695" fmla="*/ 1075981 w 1090712"/>
              <a:gd name="connsiteY695" fmla="*/ 248283 h 895572"/>
              <a:gd name="connsiteX696" fmla="*/ 1072417 w 1090712"/>
              <a:gd name="connsiteY696" fmla="*/ 238542 h 895572"/>
              <a:gd name="connsiteX697" fmla="*/ 1069329 w 1090712"/>
              <a:gd name="connsiteY697" fmla="*/ 229275 h 895572"/>
              <a:gd name="connsiteX698" fmla="*/ 1061251 w 1090712"/>
              <a:gd name="connsiteY698" fmla="*/ 210031 h 895572"/>
              <a:gd name="connsiteX699" fmla="*/ 1053173 w 1090712"/>
              <a:gd name="connsiteY699" fmla="*/ 190073 h 895572"/>
              <a:gd name="connsiteX700" fmla="*/ 1051034 w 1090712"/>
              <a:gd name="connsiteY700" fmla="*/ 186034 h 895572"/>
              <a:gd name="connsiteX701" fmla="*/ 1048896 w 1090712"/>
              <a:gd name="connsiteY701" fmla="*/ 182470 h 895572"/>
              <a:gd name="connsiteX702" fmla="*/ 1046045 w 1090712"/>
              <a:gd name="connsiteY702" fmla="*/ 179381 h 895572"/>
              <a:gd name="connsiteX703" fmla="*/ 1043906 w 1090712"/>
              <a:gd name="connsiteY703" fmla="*/ 176768 h 895572"/>
              <a:gd name="connsiteX704" fmla="*/ 1041293 w 1090712"/>
              <a:gd name="connsiteY704" fmla="*/ 174630 h 895572"/>
              <a:gd name="connsiteX705" fmla="*/ 1038680 w 1090712"/>
              <a:gd name="connsiteY705" fmla="*/ 172729 h 895572"/>
              <a:gd name="connsiteX706" fmla="*/ 1035828 w 1090712"/>
              <a:gd name="connsiteY706" fmla="*/ 171303 h 895572"/>
              <a:gd name="connsiteX707" fmla="*/ 1032740 w 1090712"/>
              <a:gd name="connsiteY707" fmla="*/ 170591 h 895572"/>
              <a:gd name="connsiteX708" fmla="*/ 1030126 w 1090712"/>
              <a:gd name="connsiteY708" fmla="*/ 170591 h 895572"/>
              <a:gd name="connsiteX709" fmla="*/ 1027038 w 1090712"/>
              <a:gd name="connsiteY709" fmla="*/ 170591 h 895572"/>
              <a:gd name="connsiteX710" fmla="*/ 1024424 w 1090712"/>
              <a:gd name="connsiteY710" fmla="*/ 171303 h 895572"/>
              <a:gd name="connsiteX711" fmla="*/ 1021335 w 1090712"/>
              <a:gd name="connsiteY711" fmla="*/ 172729 h 895572"/>
              <a:gd name="connsiteX712" fmla="*/ 1018247 w 1090712"/>
              <a:gd name="connsiteY712" fmla="*/ 174867 h 895572"/>
              <a:gd name="connsiteX713" fmla="*/ 1014920 w 1090712"/>
              <a:gd name="connsiteY713" fmla="*/ 177718 h 895572"/>
              <a:gd name="connsiteX714" fmla="*/ 1011832 w 1090712"/>
              <a:gd name="connsiteY714" fmla="*/ 180807 h 895572"/>
              <a:gd name="connsiteX715" fmla="*/ 1008743 w 1090712"/>
              <a:gd name="connsiteY715" fmla="*/ 184846 h 895572"/>
              <a:gd name="connsiteX716" fmla="*/ 991874 w 1090712"/>
              <a:gd name="connsiteY716" fmla="*/ 201240 h 895572"/>
              <a:gd name="connsiteX717" fmla="*/ 983321 w 1090712"/>
              <a:gd name="connsiteY717" fmla="*/ 209318 h 895572"/>
              <a:gd name="connsiteX718" fmla="*/ 974530 w 1090712"/>
              <a:gd name="connsiteY718" fmla="*/ 216683 h 895572"/>
              <a:gd name="connsiteX719" fmla="*/ 965739 w 1090712"/>
              <a:gd name="connsiteY719" fmla="*/ 223811 h 895572"/>
              <a:gd name="connsiteX720" fmla="*/ 956236 w 1090712"/>
              <a:gd name="connsiteY720" fmla="*/ 230226 h 895572"/>
              <a:gd name="connsiteX721" fmla="*/ 946494 w 1090712"/>
              <a:gd name="connsiteY721" fmla="*/ 235928 h 895572"/>
              <a:gd name="connsiteX722" fmla="*/ 941505 w 1090712"/>
              <a:gd name="connsiteY722" fmla="*/ 238066 h 895572"/>
              <a:gd name="connsiteX723" fmla="*/ 936753 w 1090712"/>
              <a:gd name="connsiteY723" fmla="*/ 240442 h 895572"/>
              <a:gd name="connsiteX724" fmla="*/ 932239 w 1090712"/>
              <a:gd name="connsiteY724" fmla="*/ 242581 h 895572"/>
              <a:gd name="connsiteX725" fmla="*/ 928675 w 1090712"/>
              <a:gd name="connsiteY725" fmla="*/ 245669 h 895572"/>
              <a:gd name="connsiteX726" fmla="*/ 925111 w 1090712"/>
              <a:gd name="connsiteY726" fmla="*/ 249233 h 895572"/>
              <a:gd name="connsiteX727" fmla="*/ 922022 w 1090712"/>
              <a:gd name="connsiteY727" fmla="*/ 252797 h 895572"/>
              <a:gd name="connsiteX728" fmla="*/ 919884 w 1090712"/>
              <a:gd name="connsiteY728" fmla="*/ 257311 h 895572"/>
              <a:gd name="connsiteX729" fmla="*/ 918934 w 1090712"/>
              <a:gd name="connsiteY729" fmla="*/ 259925 h 895572"/>
              <a:gd name="connsiteX730" fmla="*/ 918459 w 1090712"/>
              <a:gd name="connsiteY730" fmla="*/ 262538 h 895572"/>
              <a:gd name="connsiteX731" fmla="*/ 918459 w 1090712"/>
              <a:gd name="connsiteY731" fmla="*/ 265389 h 895572"/>
              <a:gd name="connsiteX732" fmla="*/ 918459 w 1090712"/>
              <a:gd name="connsiteY732" fmla="*/ 268003 h 895572"/>
              <a:gd name="connsiteX733" fmla="*/ 918934 w 1090712"/>
              <a:gd name="connsiteY733" fmla="*/ 271091 h 895572"/>
              <a:gd name="connsiteX734" fmla="*/ 919884 w 1090712"/>
              <a:gd name="connsiteY734" fmla="*/ 274180 h 895572"/>
              <a:gd name="connsiteX735" fmla="*/ 921547 w 1090712"/>
              <a:gd name="connsiteY735" fmla="*/ 282258 h 895572"/>
              <a:gd name="connsiteX736" fmla="*/ 922973 w 1090712"/>
              <a:gd name="connsiteY736" fmla="*/ 290574 h 895572"/>
              <a:gd name="connsiteX737" fmla="*/ 923923 w 1090712"/>
              <a:gd name="connsiteY737" fmla="*/ 299127 h 895572"/>
              <a:gd name="connsiteX738" fmla="*/ 924161 w 1090712"/>
              <a:gd name="connsiteY738" fmla="*/ 307443 h 895572"/>
              <a:gd name="connsiteX739" fmla="*/ 924161 w 1090712"/>
              <a:gd name="connsiteY739" fmla="*/ 315996 h 895572"/>
              <a:gd name="connsiteX740" fmla="*/ 923923 w 1090712"/>
              <a:gd name="connsiteY740" fmla="*/ 324550 h 895572"/>
              <a:gd name="connsiteX741" fmla="*/ 922973 w 1090712"/>
              <a:gd name="connsiteY741" fmla="*/ 332865 h 895572"/>
              <a:gd name="connsiteX742" fmla="*/ 922022 w 1090712"/>
              <a:gd name="connsiteY742" fmla="*/ 340943 h 895572"/>
              <a:gd name="connsiteX743" fmla="*/ 920597 w 1090712"/>
              <a:gd name="connsiteY743" fmla="*/ 349259 h 895572"/>
              <a:gd name="connsiteX744" fmla="*/ 918934 w 1090712"/>
              <a:gd name="connsiteY744" fmla="*/ 357812 h 895572"/>
              <a:gd name="connsiteX745" fmla="*/ 914420 w 1090712"/>
              <a:gd name="connsiteY745" fmla="*/ 374681 h 895572"/>
              <a:gd name="connsiteX746" fmla="*/ 909192 w 1090712"/>
              <a:gd name="connsiteY746" fmla="*/ 391075 h 895572"/>
              <a:gd name="connsiteX747" fmla="*/ 903253 w 1090712"/>
              <a:gd name="connsiteY747" fmla="*/ 408182 h 895572"/>
              <a:gd name="connsiteX748" fmla="*/ 903253 w 1090712"/>
              <a:gd name="connsiteY748" fmla="*/ 397965 h 895572"/>
              <a:gd name="connsiteX749" fmla="*/ 904203 w 1090712"/>
              <a:gd name="connsiteY749" fmla="*/ 387274 h 895572"/>
              <a:gd name="connsiteX750" fmla="*/ 906104 w 1090712"/>
              <a:gd name="connsiteY750" fmla="*/ 367078 h 895572"/>
              <a:gd name="connsiteX751" fmla="*/ 907767 w 1090712"/>
              <a:gd name="connsiteY751" fmla="*/ 347596 h 895572"/>
              <a:gd name="connsiteX752" fmla="*/ 908717 w 1090712"/>
              <a:gd name="connsiteY752" fmla="*/ 338567 h 895572"/>
              <a:gd name="connsiteX753" fmla="*/ 908717 w 1090712"/>
              <a:gd name="connsiteY753" fmla="*/ 329777 h 895572"/>
              <a:gd name="connsiteX754" fmla="*/ 908717 w 1090712"/>
              <a:gd name="connsiteY754" fmla="*/ 325738 h 895572"/>
              <a:gd name="connsiteX755" fmla="*/ 907767 w 1090712"/>
              <a:gd name="connsiteY755" fmla="*/ 322649 h 895572"/>
              <a:gd name="connsiteX756" fmla="*/ 906817 w 1090712"/>
              <a:gd name="connsiteY756" fmla="*/ 319560 h 895572"/>
              <a:gd name="connsiteX757" fmla="*/ 905154 w 1090712"/>
              <a:gd name="connsiteY757" fmla="*/ 316471 h 895572"/>
              <a:gd name="connsiteX758" fmla="*/ 903728 w 1090712"/>
              <a:gd name="connsiteY758" fmla="*/ 314096 h 895572"/>
              <a:gd name="connsiteX759" fmla="*/ 901590 w 1090712"/>
              <a:gd name="connsiteY759" fmla="*/ 311957 h 895572"/>
              <a:gd name="connsiteX760" fmla="*/ 897551 w 1090712"/>
              <a:gd name="connsiteY760" fmla="*/ 307443 h 895572"/>
              <a:gd name="connsiteX761" fmla="*/ 895412 w 1090712"/>
              <a:gd name="connsiteY761" fmla="*/ 309344 h 895572"/>
              <a:gd name="connsiteX762" fmla="*/ 892561 w 1090712"/>
              <a:gd name="connsiteY762" fmla="*/ 310769 h 895572"/>
              <a:gd name="connsiteX763" fmla="*/ 887334 w 1090712"/>
              <a:gd name="connsiteY763" fmla="*/ 313383 h 895572"/>
              <a:gd name="connsiteX764" fmla="*/ 884721 w 1090712"/>
              <a:gd name="connsiteY764" fmla="*/ 314096 h 895572"/>
              <a:gd name="connsiteX765" fmla="*/ 882820 w 1090712"/>
              <a:gd name="connsiteY765" fmla="*/ 315521 h 895572"/>
              <a:gd name="connsiteX766" fmla="*/ 881632 w 1090712"/>
              <a:gd name="connsiteY766" fmla="*/ 316947 h 895572"/>
              <a:gd name="connsiteX767" fmla="*/ 881157 w 1090712"/>
              <a:gd name="connsiteY767" fmla="*/ 318610 h 895572"/>
              <a:gd name="connsiteX768" fmla="*/ 872604 w 1090712"/>
              <a:gd name="connsiteY768" fmla="*/ 331915 h 895572"/>
              <a:gd name="connsiteX769" fmla="*/ 864288 w 1090712"/>
              <a:gd name="connsiteY769" fmla="*/ 346646 h 895572"/>
              <a:gd name="connsiteX770" fmla="*/ 856210 w 1090712"/>
              <a:gd name="connsiteY770" fmla="*/ 361376 h 895572"/>
              <a:gd name="connsiteX771" fmla="*/ 847656 w 1090712"/>
              <a:gd name="connsiteY771" fmla="*/ 374681 h 895572"/>
              <a:gd name="connsiteX772" fmla="*/ 841954 w 1090712"/>
              <a:gd name="connsiteY772" fmla="*/ 374681 h 895572"/>
              <a:gd name="connsiteX773" fmla="*/ 846468 w 1090712"/>
              <a:gd name="connsiteY773" fmla="*/ 357812 h 895572"/>
              <a:gd name="connsiteX774" fmla="*/ 850508 w 1090712"/>
              <a:gd name="connsiteY774" fmla="*/ 339518 h 895572"/>
              <a:gd name="connsiteX775" fmla="*/ 854784 w 1090712"/>
              <a:gd name="connsiteY775" fmla="*/ 319560 h 895572"/>
              <a:gd name="connsiteX776" fmla="*/ 858823 w 1090712"/>
              <a:gd name="connsiteY776" fmla="*/ 296514 h 895572"/>
              <a:gd name="connsiteX777" fmla="*/ 848132 w 1090712"/>
              <a:gd name="connsiteY777" fmla="*/ 303879 h 895572"/>
              <a:gd name="connsiteX778" fmla="*/ 840054 w 1090712"/>
              <a:gd name="connsiteY778" fmla="*/ 310294 h 895572"/>
              <a:gd name="connsiteX779" fmla="*/ 833163 w 1090712"/>
              <a:gd name="connsiteY779" fmla="*/ 316947 h 895572"/>
              <a:gd name="connsiteX780" fmla="*/ 825560 w 1090712"/>
              <a:gd name="connsiteY780" fmla="*/ 324550 h 895572"/>
              <a:gd name="connsiteX781" fmla="*/ 823185 w 1090712"/>
              <a:gd name="connsiteY781" fmla="*/ 326688 h 895572"/>
              <a:gd name="connsiteX782" fmla="*/ 821522 w 1090712"/>
              <a:gd name="connsiteY782" fmla="*/ 329301 h 895572"/>
              <a:gd name="connsiteX783" fmla="*/ 817007 w 1090712"/>
              <a:gd name="connsiteY783" fmla="*/ 335954 h 895572"/>
              <a:gd name="connsiteX784" fmla="*/ 812968 w 1090712"/>
              <a:gd name="connsiteY784" fmla="*/ 344032 h 895572"/>
              <a:gd name="connsiteX785" fmla="*/ 808929 w 1090712"/>
              <a:gd name="connsiteY785" fmla="*/ 352585 h 895572"/>
              <a:gd name="connsiteX786" fmla="*/ 809880 w 1090712"/>
              <a:gd name="connsiteY786" fmla="*/ 343557 h 895572"/>
              <a:gd name="connsiteX787" fmla="*/ 811305 w 1090712"/>
              <a:gd name="connsiteY787" fmla="*/ 335479 h 895572"/>
              <a:gd name="connsiteX788" fmla="*/ 812493 w 1090712"/>
              <a:gd name="connsiteY788" fmla="*/ 328826 h 895572"/>
              <a:gd name="connsiteX789" fmla="*/ 814394 w 1090712"/>
              <a:gd name="connsiteY789" fmla="*/ 323124 h 895572"/>
              <a:gd name="connsiteX790" fmla="*/ 816532 w 1090712"/>
              <a:gd name="connsiteY790" fmla="*/ 317659 h 895572"/>
              <a:gd name="connsiteX791" fmla="*/ 819146 w 1090712"/>
              <a:gd name="connsiteY791" fmla="*/ 313383 h 895572"/>
              <a:gd name="connsiteX792" fmla="*/ 822709 w 1090712"/>
              <a:gd name="connsiteY792" fmla="*/ 309344 h 895572"/>
              <a:gd name="connsiteX793" fmla="*/ 826748 w 1090712"/>
              <a:gd name="connsiteY793" fmla="*/ 306255 h 895572"/>
              <a:gd name="connsiteX794" fmla="*/ 832213 w 1090712"/>
              <a:gd name="connsiteY794" fmla="*/ 303166 h 895572"/>
              <a:gd name="connsiteX795" fmla="*/ 838390 w 1090712"/>
              <a:gd name="connsiteY795" fmla="*/ 300315 h 895572"/>
              <a:gd name="connsiteX796" fmla="*/ 845518 w 1090712"/>
              <a:gd name="connsiteY796" fmla="*/ 298177 h 895572"/>
              <a:gd name="connsiteX797" fmla="*/ 854071 w 1090712"/>
              <a:gd name="connsiteY797" fmla="*/ 295563 h 895572"/>
              <a:gd name="connsiteX798" fmla="*/ 875217 w 1090712"/>
              <a:gd name="connsiteY798" fmla="*/ 290574 h 895572"/>
              <a:gd name="connsiteX799" fmla="*/ 903253 w 1090712"/>
              <a:gd name="connsiteY799" fmla="*/ 285347 h 895572"/>
              <a:gd name="connsiteX800" fmla="*/ 886384 w 1090712"/>
              <a:gd name="connsiteY800" fmla="*/ 268478 h 895572"/>
              <a:gd name="connsiteX801" fmla="*/ 879731 w 1090712"/>
              <a:gd name="connsiteY801" fmla="*/ 270141 h 895572"/>
              <a:gd name="connsiteX802" fmla="*/ 873079 w 1090712"/>
              <a:gd name="connsiteY802" fmla="*/ 271091 h 895572"/>
              <a:gd name="connsiteX803" fmla="*/ 867376 w 1090712"/>
              <a:gd name="connsiteY803" fmla="*/ 271567 h 895572"/>
              <a:gd name="connsiteX804" fmla="*/ 862387 w 1090712"/>
              <a:gd name="connsiteY804" fmla="*/ 271091 h 895572"/>
              <a:gd name="connsiteX805" fmla="*/ 857398 w 1090712"/>
              <a:gd name="connsiteY805" fmla="*/ 269666 h 895572"/>
              <a:gd name="connsiteX806" fmla="*/ 853596 w 1090712"/>
              <a:gd name="connsiteY806" fmla="*/ 268003 h 895572"/>
              <a:gd name="connsiteX807" fmla="*/ 849557 w 1090712"/>
              <a:gd name="connsiteY807" fmla="*/ 265627 h 895572"/>
              <a:gd name="connsiteX808" fmla="*/ 846468 w 1090712"/>
              <a:gd name="connsiteY808" fmla="*/ 262538 h 895572"/>
              <a:gd name="connsiteX809" fmla="*/ 843380 w 1090712"/>
              <a:gd name="connsiteY809" fmla="*/ 259450 h 895572"/>
              <a:gd name="connsiteX810" fmla="*/ 840529 w 1090712"/>
              <a:gd name="connsiteY810" fmla="*/ 255411 h 895572"/>
              <a:gd name="connsiteX811" fmla="*/ 838390 w 1090712"/>
              <a:gd name="connsiteY811" fmla="*/ 251134 h 895572"/>
              <a:gd name="connsiteX812" fmla="*/ 836490 w 1090712"/>
              <a:gd name="connsiteY812" fmla="*/ 246620 h 895572"/>
              <a:gd name="connsiteX813" fmla="*/ 834827 w 1090712"/>
              <a:gd name="connsiteY813" fmla="*/ 241155 h 895572"/>
              <a:gd name="connsiteX814" fmla="*/ 833401 w 1090712"/>
              <a:gd name="connsiteY814" fmla="*/ 235453 h 895572"/>
              <a:gd name="connsiteX815" fmla="*/ 831263 w 1090712"/>
              <a:gd name="connsiteY815" fmla="*/ 223336 h 895572"/>
              <a:gd name="connsiteX816" fmla="*/ 897551 w 1090712"/>
              <a:gd name="connsiteY816" fmla="*/ 206942 h 895572"/>
              <a:gd name="connsiteX817" fmla="*/ 888997 w 1090712"/>
              <a:gd name="connsiteY817" fmla="*/ 194112 h 895572"/>
              <a:gd name="connsiteX818" fmla="*/ 880682 w 1090712"/>
              <a:gd name="connsiteY818" fmla="*/ 181282 h 895572"/>
              <a:gd name="connsiteX819" fmla="*/ 871416 w 1090712"/>
              <a:gd name="connsiteY819" fmla="*/ 168690 h 895572"/>
              <a:gd name="connsiteX820" fmla="*/ 866901 w 1090712"/>
              <a:gd name="connsiteY820" fmla="*/ 162988 h 895572"/>
              <a:gd name="connsiteX821" fmla="*/ 861437 w 1090712"/>
              <a:gd name="connsiteY821" fmla="*/ 157048 h 895572"/>
              <a:gd name="connsiteX822" fmla="*/ 856210 w 1090712"/>
              <a:gd name="connsiteY822" fmla="*/ 151821 h 895572"/>
              <a:gd name="connsiteX823" fmla="*/ 850745 w 1090712"/>
              <a:gd name="connsiteY823" fmla="*/ 146831 h 895572"/>
              <a:gd name="connsiteX824" fmla="*/ 844568 w 1090712"/>
              <a:gd name="connsiteY824" fmla="*/ 142555 h 895572"/>
              <a:gd name="connsiteX825" fmla="*/ 838390 w 1090712"/>
              <a:gd name="connsiteY825" fmla="*/ 138516 h 895572"/>
              <a:gd name="connsiteX826" fmla="*/ 831738 w 1090712"/>
              <a:gd name="connsiteY826" fmla="*/ 134952 h 895572"/>
              <a:gd name="connsiteX827" fmla="*/ 824610 w 1090712"/>
              <a:gd name="connsiteY827" fmla="*/ 132338 h 895572"/>
              <a:gd name="connsiteX828" fmla="*/ 817007 w 1090712"/>
              <a:gd name="connsiteY828" fmla="*/ 129963 h 895572"/>
              <a:gd name="connsiteX829" fmla="*/ 808929 w 1090712"/>
              <a:gd name="connsiteY829" fmla="*/ 128774 h 895572"/>
              <a:gd name="connsiteX830" fmla="*/ 806791 w 1090712"/>
              <a:gd name="connsiteY830" fmla="*/ 128299 h 895572"/>
              <a:gd name="connsiteX831" fmla="*/ 804652 w 1090712"/>
              <a:gd name="connsiteY831" fmla="*/ 127824 h 895572"/>
              <a:gd name="connsiteX832" fmla="*/ 802752 w 1090712"/>
              <a:gd name="connsiteY832" fmla="*/ 126399 h 895572"/>
              <a:gd name="connsiteX833" fmla="*/ 801089 w 1090712"/>
              <a:gd name="connsiteY833" fmla="*/ 125211 h 895572"/>
              <a:gd name="connsiteX834" fmla="*/ 799663 w 1090712"/>
              <a:gd name="connsiteY834" fmla="*/ 123310 h 895572"/>
              <a:gd name="connsiteX835" fmla="*/ 798713 w 1090712"/>
              <a:gd name="connsiteY835" fmla="*/ 121647 h 895572"/>
              <a:gd name="connsiteX836" fmla="*/ 798000 w 1090712"/>
              <a:gd name="connsiteY836" fmla="*/ 119271 h 895572"/>
              <a:gd name="connsiteX837" fmla="*/ 798000 w 1090712"/>
              <a:gd name="connsiteY837" fmla="*/ 117608 h 895572"/>
              <a:gd name="connsiteX838" fmla="*/ 785408 w 1090712"/>
              <a:gd name="connsiteY838" fmla="*/ 106916 h 895572"/>
              <a:gd name="connsiteX839" fmla="*/ 772578 w 1090712"/>
              <a:gd name="connsiteY839" fmla="*/ 95749 h 895572"/>
              <a:gd name="connsiteX840" fmla="*/ 747155 w 1090712"/>
              <a:gd name="connsiteY840" fmla="*/ 72703 h 895572"/>
              <a:gd name="connsiteX841" fmla="*/ 733850 w 1090712"/>
              <a:gd name="connsiteY841" fmla="*/ 61061 h 895572"/>
              <a:gd name="connsiteX842" fmla="*/ 720545 w 1090712"/>
              <a:gd name="connsiteY842" fmla="*/ 49894 h 895572"/>
              <a:gd name="connsiteX843" fmla="*/ 706765 w 1090712"/>
              <a:gd name="connsiteY843" fmla="*/ 38728 h 895572"/>
              <a:gd name="connsiteX844" fmla="*/ 692510 w 1090712"/>
              <a:gd name="connsiteY844" fmla="*/ 28036 h 895572"/>
              <a:gd name="connsiteX845" fmla="*/ 679442 w 1090712"/>
              <a:gd name="connsiteY845" fmla="*/ 21859 h 895572"/>
              <a:gd name="connsiteX846" fmla="*/ 666137 w 1090712"/>
              <a:gd name="connsiteY846" fmla="*/ 16632 h 895572"/>
              <a:gd name="connsiteX847" fmla="*/ 652832 w 1090712"/>
              <a:gd name="connsiteY847" fmla="*/ 11642 h 895572"/>
              <a:gd name="connsiteX848" fmla="*/ 639527 w 1090712"/>
              <a:gd name="connsiteY848" fmla="*/ 7603 h 895572"/>
              <a:gd name="connsiteX849" fmla="*/ 626222 w 1090712"/>
              <a:gd name="connsiteY849" fmla="*/ 4514 h 895572"/>
              <a:gd name="connsiteX850" fmla="*/ 612917 w 1090712"/>
              <a:gd name="connsiteY850" fmla="*/ 1901 h 895572"/>
              <a:gd name="connsiteX851" fmla="*/ 599374 w 1090712"/>
              <a:gd name="connsiteY851" fmla="*/ 475 h 89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Lst>
            <a:rect l="l" t="t" r="r" b="b"/>
            <a:pathLst>
              <a:path w="1090712" h="895572">
                <a:moveTo>
                  <a:pt x="603413" y="721327"/>
                </a:moveTo>
                <a:lnTo>
                  <a:pt x="578466" y="770746"/>
                </a:lnTo>
                <a:lnTo>
                  <a:pt x="553519" y="818264"/>
                </a:lnTo>
                <a:lnTo>
                  <a:pt x="528334" y="865069"/>
                </a:lnTo>
                <a:lnTo>
                  <a:pt x="511825" y="895572"/>
                </a:lnTo>
                <a:lnTo>
                  <a:pt x="624528" y="895572"/>
                </a:lnTo>
                <a:lnTo>
                  <a:pt x="624796" y="894768"/>
                </a:lnTo>
                <a:lnTo>
                  <a:pt x="625271" y="891679"/>
                </a:lnTo>
                <a:lnTo>
                  <a:pt x="625747" y="889066"/>
                </a:lnTo>
                <a:lnTo>
                  <a:pt x="625747" y="860555"/>
                </a:lnTo>
                <a:lnTo>
                  <a:pt x="624796" y="833945"/>
                </a:lnTo>
                <a:lnTo>
                  <a:pt x="624321" y="820877"/>
                </a:lnTo>
                <a:lnTo>
                  <a:pt x="623608" y="808047"/>
                </a:lnTo>
                <a:lnTo>
                  <a:pt x="621708" y="795218"/>
                </a:lnTo>
                <a:lnTo>
                  <a:pt x="620044" y="782625"/>
                </a:lnTo>
                <a:lnTo>
                  <a:pt x="616005" y="766707"/>
                </a:lnTo>
                <a:lnTo>
                  <a:pt x="611966" y="751976"/>
                </a:lnTo>
                <a:lnTo>
                  <a:pt x="607452" y="737245"/>
                </a:lnTo>
                <a:close/>
                <a:moveTo>
                  <a:pt x="698212" y="530778"/>
                </a:moveTo>
                <a:lnTo>
                  <a:pt x="693460" y="534818"/>
                </a:lnTo>
                <a:lnTo>
                  <a:pt x="688471" y="538857"/>
                </a:lnTo>
                <a:lnTo>
                  <a:pt x="678254" y="546935"/>
                </a:lnTo>
                <a:lnTo>
                  <a:pt x="669226" y="553587"/>
                </a:lnTo>
                <a:lnTo>
                  <a:pt x="663048" y="558814"/>
                </a:lnTo>
                <a:lnTo>
                  <a:pt x="663048" y="556676"/>
                </a:lnTo>
                <a:lnTo>
                  <a:pt x="663523" y="554538"/>
                </a:lnTo>
                <a:lnTo>
                  <a:pt x="665424" y="550498"/>
                </a:lnTo>
                <a:lnTo>
                  <a:pt x="668038" y="546459"/>
                </a:lnTo>
                <a:lnTo>
                  <a:pt x="671602" y="542420"/>
                </a:lnTo>
                <a:lnTo>
                  <a:pt x="676829" y="538857"/>
                </a:lnTo>
                <a:lnTo>
                  <a:pt x="682768" y="535768"/>
                </a:lnTo>
                <a:lnTo>
                  <a:pt x="689896" y="533154"/>
                </a:lnTo>
                <a:close/>
                <a:moveTo>
                  <a:pt x="654257" y="302216"/>
                </a:moveTo>
                <a:lnTo>
                  <a:pt x="651882" y="302691"/>
                </a:lnTo>
                <a:lnTo>
                  <a:pt x="649268" y="303166"/>
                </a:lnTo>
                <a:lnTo>
                  <a:pt x="647130" y="304354"/>
                </a:lnTo>
                <a:lnTo>
                  <a:pt x="644516" y="306255"/>
                </a:lnTo>
                <a:lnTo>
                  <a:pt x="642140" y="307918"/>
                </a:lnTo>
                <a:lnTo>
                  <a:pt x="640002" y="310294"/>
                </a:lnTo>
                <a:lnTo>
                  <a:pt x="638101" y="312432"/>
                </a:lnTo>
                <a:lnTo>
                  <a:pt x="636913" y="314571"/>
                </a:lnTo>
                <a:lnTo>
                  <a:pt x="635963" y="316946"/>
                </a:lnTo>
                <a:lnTo>
                  <a:pt x="635963" y="319085"/>
                </a:lnTo>
                <a:lnTo>
                  <a:pt x="636913" y="321223"/>
                </a:lnTo>
                <a:lnTo>
                  <a:pt x="637626" y="324074"/>
                </a:lnTo>
                <a:lnTo>
                  <a:pt x="639527" y="326688"/>
                </a:lnTo>
                <a:lnTo>
                  <a:pt x="643091" y="331677"/>
                </a:lnTo>
                <a:lnTo>
                  <a:pt x="647130" y="335954"/>
                </a:lnTo>
                <a:lnTo>
                  <a:pt x="655920" y="330727"/>
                </a:lnTo>
                <a:lnTo>
                  <a:pt x="663999" y="324787"/>
                </a:lnTo>
                <a:lnTo>
                  <a:pt x="679917" y="313383"/>
                </a:lnTo>
                <a:lnTo>
                  <a:pt x="676354" y="311007"/>
                </a:lnTo>
                <a:lnTo>
                  <a:pt x="672790" y="308393"/>
                </a:lnTo>
                <a:lnTo>
                  <a:pt x="668988" y="306730"/>
                </a:lnTo>
                <a:lnTo>
                  <a:pt x="664949" y="304829"/>
                </a:lnTo>
                <a:lnTo>
                  <a:pt x="660910" y="303641"/>
                </a:lnTo>
                <a:lnTo>
                  <a:pt x="657346" y="302691"/>
                </a:lnTo>
                <a:close/>
                <a:moveTo>
                  <a:pt x="696549" y="252322"/>
                </a:moveTo>
                <a:lnTo>
                  <a:pt x="696786" y="259925"/>
                </a:lnTo>
                <a:lnTo>
                  <a:pt x="698212" y="266102"/>
                </a:lnTo>
                <a:lnTo>
                  <a:pt x="700113" y="272042"/>
                </a:lnTo>
                <a:lnTo>
                  <a:pt x="701776" y="276794"/>
                </a:lnTo>
                <a:lnTo>
                  <a:pt x="704389" y="280833"/>
                </a:lnTo>
                <a:lnTo>
                  <a:pt x="707240" y="284397"/>
                </a:lnTo>
                <a:lnTo>
                  <a:pt x="710329" y="287010"/>
                </a:lnTo>
                <a:lnTo>
                  <a:pt x="713418" y="289624"/>
                </a:lnTo>
                <a:lnTo>
                  <a:pt x="716506" y="291524"/>
                </a:lnTo>
                <a:lnTo>
                  <a:pt x="719595" y="293187"/>
                </a:lnTo>
                <a:lnTo>
                  <a:pt x="725772" y="295088"/>
                </a:lnTo>
                <a:lnTo>
                  <a:pt x="731237" y="296514"/>
                </a:lnTo>
                <a:lnTo>
                  <a:pt x="734801" y="296751"/>
                </a:lnTo>
                <a:lnTo>
                  <a:pt x="722209" y="303879"/>
                </a:lnTo>
                <a:lnTo>
                  <a:pt x="710804" y="311007"/>
                </a:lnTo>
                <a:lnTo>
                  <a:pt x="688471" y="324787"/>
                </a:lnTo>
                <a:lnTo>
                  <a:pt x="667563" y="339043"/>
                </a:lnTo>
                <a:lnTo>
                  <a:pt x="646179" y="352823"/>
                </a:lnTo>
                <a:lnTo>
                  <a:pt x="620044" y="313383"/>
                </a:lnTo>
                <a:lnTo>
                  <a:pt x="617668" y="312432"/>
                </a:lnTo>
                <a:lnTo>
                  <a:pt x="615055" y="312432"/>
                </a:lnTo>
                <a:lnTo>
                  <a:pt x="612441" y="313383"/>
                </a:lnTo>
                <a:lnTo>
                  <a:pt x="609353" y="314095"/>
                </a:lnTo>
                <a:lnTo>
                  <a:pt x="602938" y="316946"/>
                </a:lnTo>
                <a:lnTo>
                  <a:pt x="599849" y="317659"/>
                </a:lnTo>
                <a:lnTo>
                  <a:pt x="596760" y="318610"/>
                </a:lnTo>
                <a:lnTo>
                  <a:pt x="607927" y="307205"/>
                </a:lnTo>
                <a:lnTo>
                  <a:pt x="618619" y="295088"/>
                </a:lnTo>
                <a:lnTo>
                  <a:pt x="623846" y="289386"/>
                </a:lnTo>
                <a:lnTo>
                  <a:pt x="629786" y="283921"/>
                </a:lnTo>
                <a:lnTo>
                  <a:pt x="635963" y="278694"/>
                </a:lnTo>
                <a:lnTo>
                  <a:pt x="642140" y="273705"/>
                </a:lnTo>
                <a:lnTo>
                  <a:pt x="648793" y="269191"/>
                </a:lnTo>
                <a:lnTo>
                  <a:pt x="655446" y="265627"/>
                </a:lnTo>
                <a:lnTo>
                  <a:pt x="662098" y="263013"/>
                </a:lnTo>
                <a:lnTo>
                  <a:pt x="668988" y="260400"/>
                </a:lnTo>
                <a:lnTo>
                  <a:pt x="682768" y="256361"/>
                </a:lnTo>
                <a:close/>
                <a:moveTo>
                  <a:pt x="1030602" y="200289"/>
                </a:moveTo>
                <a:lnTo>
                  <a:pt x="1027513" y="207892"/>
                </a:lnTo>
                <a:lnTo>
                  <a:pt x="1023949" y="214545"/>
                </a:lnTo>
                <a:lnTo>
                  <a:pt x="1019910" y="221197"/>
                </a:lnTo>
                <a:lnTo>
                  <a:pt x="1015396" y="226899"/>
                </a:lnTo>
                <a:lnTo>
                  <a:pt x="1011119" y="232839"/>
                </a:lnTo>
                <a:lnTo>
                  <a:pt x="1006130" y="237591"/>
                </a:lnTo>
                <a:lnTo>
                  <a:pt x="1001140" y="242105"/>
                </a:lnTo>
                <a:lnTo>
                  <a:pt x="996388" y="246144"/>
                </a:lnTo>
                <a:lnTo>
                  <a:pt x="990924" y="249708"/>
                </a:lnTo>
                <a:lnTo>
                  <a:pt x="985697" y="252797"/>
                </a:lnTo>
                <a:lnTo>
                  <a:pt x="980232" y="254935"/>
                </a:lnTo>
                <a:lnTo>
                  <a:pt x="975005" y="256836"/>
                </a:lnTo>
                <a:lnTo>
                  <a:pt x="969541" y="258262"/>
                </a:lnTo>
                <a:lnTo>
                  <a:pt x="963839" y="258499"/>
                </a:lnTo>
                <a:lnTo>
                  <a:pt x="958612" y="258499"/>
                </a:lnTo>
                <a:lnTo>
                  <a:pt x="953622" y="257786"/>
                </a:lnTo>
                <a:lnTo>
                  <a:pt x="970966" y="244006"/>
                </a:lnTo>
                <a:lnTo>
                  <a:pt x="990211" y="229275"/>
                </a:lnTo>
                <a:lnTo>
                  <a:pt x="1010169" y="214069"/>
                </a:lnTo>
                <a:lnTo>
                  <a:pt x="1020385" y="206942"/>
                </a:lnTo>
                <a:close/>
                <a:moveTo>
                  <a:pt x="389581" y="176768"/>
                </a:moveTo>
                <a:lnTo>
                  <a:pt x="397422" y="177243"/>
                </a:lnTo>
                <a:lnTo>
                  <a:pt x="414766" y="178906"/>
                </a:lnTo>
                <a:lnTo>
                  <a:pt x="405500" y="179856"/>
                </a:lnTo>
                <a:lnTo>
                  <a:pt x="396946" y="181995"/>
                </a:lnTo>
                <a:lnTo>
                  <a:pt x="389581" y="184371"/>
                </a:lnTo>
                <a:lnTo>
                  <a:pt x="381978" y="186984"/>
                </a:lnTo>
                <a:lnTo>
                  <a:pt x="375326" y="190548"/>
                </a:lnTo>
                <a:lnTo>
                  <a:pt x="368911" y="194112"/>
                </a:lnTo>
                <a:lnTo>
                  <a:pt x="363208" y="198626"/>
                </a:lnTo>
                <a:lnTo>
                  <a:pt x="357981" y="202903"/>
                </a:lnTo>
                <a:lnTo>
                  <a:pt x="352517" y="208367"/>
                </a:lnTo>
                <a:lnTo>
                  <a:pt x="348003" y="214070"/>
                </a:lnTo>
                <a:lnTo>
                  <a:pt x="343726" y="220247"/>
                </a:lnTo>
                <a:lnTo>
                  <a:pt x="339687" y="226662"/>
                </a:lnTo>
                <a:lnTo>
                  <a:pt x="335648" y="233790"/>
                </a:lnTo>
                <a:lnTo>
                  <a:pt x="332559" y="240917"/>
                </a:lnTo>
                <a:lnTo>
                  <a:pt x="328995" y="248758"/>
                </a:lnTo>
                <a:lnTo>
                  <a:pt x="325907" y="256836"/>
                </a:lnTo>
                <a:lnTo>
                  <a:pt x="325432" y="252797"/>
                </a:lnTo>
                <a:lnTo>
                  <a:pt x="324956" y="248283"/>
                </a:lnTo>
                <a:lnTo>
                  <a:pt x="323056" y="239492"/>
                </a:lnTo>
                <a:lnTo>
                  <a:pt x="320917" y="229275"/>
                </a:lnTo>
                <a:lnTo>
                  <a:pt x="320442" y="223811"/>
                </a:lnTo>
                <a:lnTo>
                  <a:pt x="319967" y="217633"/>
                </a:lnTo>
                <a:lnTo>
                  <a:pt x="314740" y="217633"/>
                </a:lnTo>
                <a:lnTo>
                  <a:pt x="302148" y="243056"/>
                </a:lnTo>
                <a:lnTo>
                  <a:pt x="289793" y="267528"/>
                </a:lnTo>
                <a:lnTo>
                  <a:pt x="277438" y="291049"/>
                </a:lnTo>
                <a:lnTo>
                  <a:pt x="264371" y="312907"/>
                </a:lnTo>
                <a:lnTo>
                  <a:pt x="267459" y="295088"/>
                </a:lnTo>
                <a:lnTo>
                  <a:pt x="271023" y="279170"/>
                </a:lnTo>
                <a:lnTo>
                  <a:pt x="274587" y="263964"/>
                </a:lnTo>
                <a:lnTo>
                  <a:pt x="279101" y="250183"/>
                </a:lnTo>
                <a:lnTo>
                  <a:pt x="284091" y="238066"/>
                </a:lnTo>
                <a:lnTo>
                  <a:pt x="289318" y="226900"/>
                </a:lnTo>
                <a:lnTo>
                  <a:pt x="292406" y="221673"/>
                </a:lnTo>
                <a:lnTo>
                  <a:pt x="295495" y="217158"/>
                </a:lnTo>
                <a:lnTo>
                  <a:pt x="298584" y="212406"/>
                </a:lnTo>
                <a:lnTo>
                  <a:pt x="302148" y="208367"/>
                </a:lnTo>
                <a:lnTo>
                  <a:pt x="305711" y="204328"/>
                </a:lnTo>
                <a:lnTo>
                  <a:pt x="309275" y="200765"/>
                </a:lnTo>
                <a:lnTo>
                  <a:pt x="313314" y="197201"/>
                </a:lnTo>
                <a:lnTo>
                  <a:pt x="317354" y="194112"/>
                </a:lnTo>
                <a:lnTo>
                  <a:pt x="321868" y="191498"/>
                </a:lnTo>
                <a:lnTo>
                  <a:pt x="326382" y="188647"/>
                </a:lnTo>
                <a:lnTo>
                  <a:pt x="330659" y="186509"/>
                </a:lnTo>
                <a:lnTo>
                  <a:pt x="335648" y="184371"/>
                </a:lnTo>
                <a:lnTo>
                  <a:pt x="340637" y="182470"/>
                </a:lnTo>
                <a:lnTo>
                  <a:pt x="345864" y="181282"/>
                </a:lnTo>
                <a:lnTo>
                  <a:pt x="351091" y="179856"/>
                </a:lnTo>
                <a:lnTo>
                  <a:pt x="357031" y="178431"/>
                </a:lnTo>
                <a:lnTo>
                  <a:pt x="368911" y="177243"/>
                </a:lnTo>
                <a:lnTo>
                  <a:pt x="381978" y="176768"/>
                </a:lnTo>
                <a:close/>
                <a:moveTo>
                  <a:pt x="609353" y="174629"/>
                </a:moveTo>
                <a:lnTo>
                  <a:pt x="602463" y="180807"/>
                </a:lnTo>
                <a:lnTo>
                  <a:pt x="596285" y="187459"/>
                </a:lnTo>
                <a:lnTo>
                  <a:pt x="583931" y="201715"/>
                </a:lnTo>
                <a:lnTo>
                  <a:pt x="571101" y="215495"/>
                </a:lnTo>
                <a:lnTo>
                  <a:pt x="564686" y="222148"/>
                </a:lnTo>
                <a:lnTo>
                  <a:pt x="558508" y="228325"/>
                </a:lnTo>
                <a:lnTo>
                  <a:pt x="557558" y="223335"/>
                </a:lnTo>
                <a:lnTo>
                  <a:pt x="557083" y="219059"/>
                </a:lnTo>
                <a:lnTo>
                  <a:pt x="557083" y="215020"/>
                </a:lnTo>
                <a:lnTo>
                  <a:pt x="557558" y="210981"/>
                </a:lnTo>
                <a:lnTo>
                  <a:pt x="558508" y="207417"/>
                </a:lnTo>
                <a:lnTo>
                  <a:pt x="560409" y="203853"/>
                </a:lnTo>
                <a:lnTo>
                  <a:pt x="562072" y="200764"/>
                </a:lnTo>
                <a:lnTo>
                  <a:pt x="564686" y="197676"/>
                </a:lnTo>
                <a:lnTo>
                  <a:pt x="567774" y="194587"/>
                </a:lnTo>
                <a:lnTo>
                  <a:pt x="571813" y="191973"/>
                </a:lnTo>
                <a:lnTo>
                  <a:pt x="576328" y="188647"/>
                </a:lnTo>
                <a:lnTo>
                  <a:pt x="581317" y="186034"/>
                </a:lnTo>
                <a:lnTo>
                  <a:pt x="587019" y="183420"/>
                </a:lnTo>
                <a:lnTo>
                  <a:pt x="593672" y="180332"/>
                </a:lnTo>
                <a:close/>
                <a:moveTo>
                  <a:pt x="586544" y="0"/>
                </a:moveTo>
                <a:lnTo>
                  <a:pt x="570150" y="2851"/>
                </a:lnTo>
                <a:lnTo>
                  <a:pt x="553519" y="5940"/>
                </a:lnTo>
                <a:lnTo>
                  <a:pt x="536650" y="10454"/>
                </a:lnTo>
                <a:lnTo>
                  <a:pt x="520256" y="14731"/>
                </a:lnTo>
                <a:lnTo>
                  <a:pt x="486993" y="24472"/>
                </a:lnTo>
                <a:lnTo>
                  <a:pt x="469887" y="28986"/>
                </a:lnTo>
                <a:lnTo>
                  <a:pt x="453493" y="33500"/>
                </a:lnTo>
                <a:lnTo>
                  <a:pt x="438762" y="40153"/>
                </a:lnTo>
                <a:lnTo>
                  <a:pt x="424507" y="47281"/>
                </a:lnTo>
                <a:lnTo>
                  <a:pt x="417379" y="51320"/>
                </a:lnTo>
                <a:lnTo>
                  <a:pt x="410727" y="55834"/>
                </a:lnTo>
                <a:lnTo>
                  <a:pt x="403599" y="60111"/>
                </a:lnTo>
                <a:lnTo>
                  <a:pt x="397422" y="65100"/>
                </a:lnTo>
                <a:lnTo>
                  <a:pt x="390769" y="69852"/>
                </a:lnTo>
                <a:lnTo>
                  <a:pt x="384592" y="75792"/>
                </a:lnTo>
                <a:lnTo>
                  <a:pt x="378889" y="81494"/>
                </a:lnTo>
                <a:lnTo>
                  <a:pt x="372950" y="87671"/>
                </a:lnTo>
                <a:lnTo>
                  <a:pt x="367723" y="94324"/>
                </a:lnTo>
                <a:lnTo>
                  <a:pt x="362733" y="101452"/>
                </a:lnTo>
                <a:lnTo>
                  <a:pt x="357981" y="109055"/>
                </a:lnTo>
                <a:lnTo>
                  <a:pt x="353467" y="117608"/>
                </a:lnTo>
                <a:lnTo>
                  <a:pt x="409064" y="117608"/>
                </a:lnTo>
                <a:lnTo>
                  <a:pt x="406925" y="119271"/>
                </a:lnTo>
                <a:lnTo>
                  <a:pt x="404074" y="121647"/>
                </a:lnTo>
                <a:lnTo>
                  <a:pt x="400510" y="123310"/>
                </a:lnTo>
                <a:lnTo>
                  <a:pt x="397422" y="125211"/>
                </a:lnTo>
                <a:lnTo>
                  <a:pt x="393383" y="126399"/>
                </a:lnTo>
                <a:lnTo>
                  <a:pt x="389581" y="127824"/>
                </a:lnTo>
                <a:lnTo>
                  <a:pt x="385542" y="128299"/>
                </a:lnTo>
                <a:lnTo>
                  <a:pt x="381503" y="128774"/>
                </a:lnTo>
                <a:lnTo>
                  <a:pt x="375326" y="130438"/>
                </a:lnTo>
                <a:lnTo>
                  <a:pt x="368435" y="131863"/>
                </a:lnTo>
                <a:lnTo>
                  <a:pt x="361783" y="133051"/>
                </a:lnTo>
                <a:lnTo>
                  <a:pt x="355606" y="134001"/>
                </a:lnTo>
                <a:lnTo>
                  <a:pt x="342300" y="135427"/>
                </a:lnTo>
                <a:lnTo>
                  <a:pt x="329471" y="137090"/>
                </a:lnTo>
                <a:lnTo>
                  <a:pt x="322818" y="138040"/>
                </a:lnTo>
                <a:lnTo>
                  <a:pt x="316403" y="139704"/>
                </a:lnTo>
                <a:lnTo>
                  <a:pt x="310226" y="141604"/>
                </a:lnTo>
                <a:lnTo>
                  <a:pt x="304048" y="144218"/>
                </a:lnTo>
                <a:lnTo>
                  <a:pt x="298346" y="147307"/>
                </a:lnTo>
                <a:lnTo>
                  <a:pt x="292406" y="151346"/>
                </a:lnTo>
                <a:lnTo>
                  <a:pt x="286704" y="156335"/>
                </a:lnTo>
                <a:lnTo>
                  <a:pt x="281240" y="162037"/>
                </a:lnTo>
                <a:lnTo>
                  <a:pt x="262232" y="182945"/>
                </a:lnTo>
                <a:lnTo>
                  <a:pt x="242987" y="203378"/>
                </a:lnTo>
                <a:lnTo>
                  <a:pt x="203547" y="244006"/>
                </a:lnTo>
                <a:lnTo>
                  <a:pt x="183827" y="264439"/>
                </a:lnTo>
                <a:lnTo>
                  <a:pt x="164345" y="285822"/>
                </a:lnTo>
                <a:lnTo>
                  <a:pt x="144862" y="307443"/>
                </a:lnTo>
                <a:lnTo>
                  <a:pt x="126093" y="329777"/>
                </a:lnTo>
                <a:lnTo>
                  <a:pt x="122054" y="335004"/>
                </a:lnTo>
                <a:lnTo>
                  <a:pt x="118015" y="340468"/>
                </a:lnTo>
                <a:lnTo>
                  <a:pt x="110887" y="352110"/>
                </a:lnTo>
                <a:lnTo>
                  <a:pt x="104709" y="363514"/>
                </a:lnTo>
                <a:lnTo>
                  <a:pt x="99007" y="375156"/>
                </a:lnTo>
                <a:lnTo>
                  <a:pt x="87840" y="400103"/>
                </a:lnTo>
                <a:lnTo>
                  <a:pt x="82138" y="412458"/>
                </a:lnTo>
                <a:lnTo>
                  <a:pt x="75723" y="425050"/>
                </a:lnTo>
                <a:lnTo>
                  <a:pt x="75723" y="429802"/>
                </a:lnTo>
                <a:lnTo>
                  <a:pt x="76674" y="436217"/>
                </a:lnTo>
                <a:lnTo>
                  <a:pt x="77149" y="439306"/>
                </a:lnTo>
                <a:lnTo>
                  <a:pt x="78574" y="442395"/>
                </a:lnTo>
                <a:lnTo>
                  <a:pt x="79762" y="445008"/>
                </a:lnTo>
                <a:lnTo>
                  <a:pt x="81663" y="447147"/>
                </a:lnTo>
                <a:lnTo>
                  <a:pt x="94018" y="468055"/>
                </a:lnTo>
                <a:lnTo>
                  <a:pt x="106848" y="488963"/>
                </a:lnTo>
                <a:lnTo>
                  <a:pt x="113975" y="499654"/>
                </a:lnTo>
                <a:lnTo>
                  <a:pt x="121103" y="510346"/>
                </a:lnTo>
                <a:lnTo>
                  <a:pt x="128706" y="520562"/>
                </a:lnTo>
                <a:lnTo>
                  <a:pt x="137259" y="531254"/>
                </a:lnTo>
                <a:lnTo>
                  <a:pt x="149614" y="514385"/>
                </a:lnTo>
                <a:lnTo>
                  <a:pt x="162206" y="498466"/>
                </a:lnTo>
                <a:lnTo>
                  <a:pt x="174561" y="483260"/>
                </a:lnTo>
                <a:lnTo>
                  <a:pt x="180739" y="476133"/>
                </a:lnTo>
                <a:lnTo>
                  <a:pt x="186916" y="469480"/>
                </a:lnTo>
                <a:lnTo>
                  <a:pt x="182639" y="482310"/>
                </a:lnTo>
                <a:lnTo>
                  <a:pt x="178125" y="495615"/>
                </a:lnTo>
                <a:lnTo>
                  <a:pt x="172423" y="509871"/>
                </a:lnTo>
                <a:lnTo>
                  <a:pt x="164820" y="525552"/>
                </a:lnTo>
                <a:lnTo>
                  <a:pt x="156267" y="538381"/>
                </a:lnTo>
                <a:lnTo>
                  <a:pt x="152703" y="544559"/>
                </a:lnTo>
                <a:lnTo>
                  <a:pt x="148664" y="551449"/>
                </a:lnTo>
                <a:lnTo>
                  <a:pt x="145100" y="558339"/>
                </a:lnTo>
                <a:lnTo>
                  <a:pt x="142011" y="565467"/>
                </a:lnTo>
                <a:lnTo>
                  <a:pt x="139398" y="573070"/>
                </a:lnTo>
                <a:lnTo>
                  <a:pt x="137259" y="581623"/>
                </a:lnTo>
                <a:lnTo>
                  <a:pt x="136309" y="583761"/>
                </a:lnTo>
                <a:lnTo>
                  <a:pt x="135359" y="586137"/>
                </a:lnTo>
                <a:lnTo>
                  <a:pt x="134883" y="590889"/>
                </a:lnTo>
                <a:lnTo>
                  <a:pt x="134883" y="595879"/>
                </a:lnTo>
                <a:lnTo>
                  <a:pt x="135359" y="601106"/>
                </a:lnTo>
                <a:lnTo>
                  <a:pt x="136784" y="606095"/>
                </a:lnTo>
                <a:lnTo>
                  <a:pt x="138447" y="611322"/>
                </a:lnTo>
                <a:lnTo>
                  <a:pt x="140348" y="616311"/>
                </a:lnTo>
                <a:lnTo>
                  <a:pt x="142486" y="620826"/>
                </a:lnTo>
                <a:lnTo>
                  <a:pt x="148664" y="629616"/>
                </a:lnTo>
                <a:lnTo>
                  <a:pt x="155554" y="637219"/>
                </a:lnTo>
                <a:lnTo>
                  <a:pt x="162444" y="643872"/>
                </a:lnTo>
                <a:lnTo>
                  <a:pt x="169572" y="649099"/>
                </a:lnTo>
                <a:lnTo>
                  <a:pt x="177175" y="653613"/>
                </a:lnTo>
                <a:lnTo>
                  <a:pt x="184778" y="657177"/>
                </a:lnTo>
                <a:lnTo>
                  <a:pt x="192856" y="659553"/>
                </a:lnTo>
                <a:lnTo>
                  <a:pt x="200934" y="661216"/>
                </a:lnTo>
                <a:lnTo>
                  <a:pt x="209250" y="661691"/>
                </a:lnTo>
                <a:lnTo>
                  <a:pt x="218278" y="661691"/>
                </a:lnTo>
                <a:lnTo>
                  <a:pt x="227069" y="660266"/>
                </a:lnTo>
                <a:lnTo>
                  <a:pt x="236335" y="658603"/>
                </a:lnTo>
                <a:lnTo>
                  <a:pt x="245838" y="655514"/>
                </a:lnTo>
                <a:lnTo>
                  <a:pt x="255580" y="652425"/>
                </a:lnTo>
                <a:lnTo>
                  <a:pt x="265321" y="647911"/>
                </a:lnTo>
                <a:lnTo>
                  <a:pt x="276013" y="642922"/>
                </a:lnTo>
                <a:lnTo>
                  <a:pt x="288367" y="635081"/>
                </a:lnTo>
                <a:lnTo>
                  <a:pt x="301910" y="627478"/>
                </a:lnTo>
                <a:lnTo>
                  <a:pt x="315215" y="620350"/>
                </a:lnTo>
                <a:lnTo>
                  <a:pt x="329471" y="613698"/>
                </a:lnTo>
                <a:lnTo>
                  <a:pt x="343726" y="607283"/>
                </a:lnTo>
                <a:lnTo>
                  <a:pt x="357981" y="602056"/>
                </a:lnTo>
                <a:lnTo>
                  <a:pt x="371999" y="597066"/>
                </a:lnTo>
                <a:lnTo>
                  <a:pt x="386730" y="592790"/>
                </a:lnTo>
                <a:lnTo>
                  <a:pt x="394808" y="590414"/>
                </a:lnTo>
                <a:lnTo>
                  <a:pt x="402411" y="587325"/>
                </a:lnTo>
                <a:lnTo>
                  <a:pt x="409064" y="583761"/>
                </a:lnTo>
                <a:lnTo>
                  <a:pt x="411677" y="581623"/>
                </a:lnTo>
                <a:lnTo>
                  <a:pt x="414766" y="579247"/>
                </a:lnTo>
                <a:lnTo>
                  <a:pt x="417142" y="577109"/>
                </a:lnTo>
                <a:lnTo>
                  <a:pt x="419280" y="574495"/>
                </a:lnTo>
                <a:lnTo>
                  <a:pt x="420943" y="571407"/>
                </a:lnTo>
                <a:lnTo>
                  <a:pt x="422844" y="568318"/>
                </a:lnTo>
                <a:lnTo>
                  <a:pt x="424269" y="565229"/>
                </a:lnTo>
                <a:lnTo>
                  <a:pt x="424982" y="561665"/>
                </a:lnTo>
                <a:lnTo>
                  <a:pt x="425457" y="557626"/>
                </a:lnTo>
                <a:lnTo>
                  <a:pt x="425932" y="553587"/>
                </a:lnTo>
                <a:lnTo>
                  <a:pt x="425932" y="413884"/>
                </a:lnTo>
                <a:lnTo>
                  <a:pt x="425932" y="285347"/>
                </a:lnTo>
                <a:lnTo>
                  <a:pt x="429496" y="300078"/>
                </a:lnTo>
                <a:lnTo>
                  <a:pt x="433060" y="314096"/>
                </a:lnTo>
                <a:lnTo>
                  <a:pt x="436149" y="328826"/>
                </a:lnTo>
                <a:lnTo>
                  <a:pt x="438762" y="343082"/>
                </a:lnTo>
                <a:lnTo>
                  <a:pt x="443752" y="370642"/>
                </a:lnTo>
                <a:lnTo>
                  <a:pt x="447791" y="397015"/>
                </a:lnTo>
                <a:lnTo>
                  <a:pt x="451830" y="421962"/>
                </a:lnTo>
                <a:lnTo>
                  <a:pt x="454919" y="446434"/>
                </a:lnTo>
                <a:lnTo>
                  <a:pt x="456106" y="458313"/>
                </a:lnTo>
                <a:lnTo>
                  <a:pt x="457057" y="470430"/>
                </a:lnTo>
                <a:lnTo>
                  <a:pt x="457532" y="482310"/>
                </a:lnTo>
                <a:lnTo>
                  <a:pt x="457532" y="493952"/>
                </a:lnTo>
                <a:lnTo>
                  <a:pt x="457532" y="506069"/>
                </a:lnTo>
                <a:lnTo>
                  <a:pt x="456582" y="517473"/>
                </a:lnTo>
                <a:lnTo>
                  <a:pt x="455869" y="529116"/>
                </a:lnTo>
                <a:lnTo>
                  <a:pt x="453968" y="540757"/>
                </a:lnTo>
                <a:lnTo>
                  <a:pt x="452305" y="552162"/>
                </a:lnTo>
                <a:lnTo>
                  <a:pt x="449454" y="563804"/>
                </a:lnTo>
                <a:lnTo>
                  <a:pt x="446365" y="575446"/>
                </a:lnTo>
                <a:lnTo>
                  <a:pt x="442326" y="586850"/>
                </a:lnTo>
                <a:lnTo>
                  <a:pt x="440188" y="591364"/>
                </a:lnTo>
                <a:lnTo>
                  <a:pt x="437574" y="595403"/>
                </a:lnTo>
                <a:lnTo>
                  <a:pt x="434486" y="598967"/>
                </a:lnTo>
                <a:lnTo>
                  <a:pt x="431397" y="602531"/>
                </a:lnTo>
                <a:lnTo>
                  <a:pt x="428071" y="605145"/>
                </a:lnTo>
                <a:lnTo>
                  <a:pt x="424982" y="607283"/>
                </a:lnTo>
                <a:lnTo>
                  <a:pt x="422369" y="608708"/>
                </a:lnTo>
                <a:lnTo>
                  <a:pt x="420230" y="609659"/>
                </a:lnTo>
                <a:lnTo>
                  <a:pt x="410727" y="610847"/>
                </a:lnTo>
                <a:lnTo>
                  <a:pt x="401461" y="612748"/>
                </a:lnTo>
                <a:lnTo>
                  <a:pt x="392670" y="614886"/>
                </a:lnTo>
                <a:lnTo>
                  <a:pt x="383641" y="617262"/>
                </a:lnTo>
                <a:lnTo>
                  <a:pt x="374850" y="620350"/>
                </a:lnTo>
                <a:lnTo>
                  <a:pt x="365822" y="623914"/>
                </a:lnTo>
                <a:lnTo>
                  <a:pt x="348478" y="631042"/>
                </a:lnTo>
                <a:lnTo>
                  <a:pt x="331609" y="639358"/>
                </a:lnTo>
                <a:lnTo>
                  <a:pt x="314740" y="647911"/>
                </a:lnTo>
                <a:lnTo>
                  <a:pt x="281240" y="665255"/>
                </a:lnTo>
                <a:lnTo>
                  <a:pt x="274587" y="669294"/>
                </a:lnTo>
                <a:lnTo>
                  <a:pt x="267935" y="672858"/>
                </a:lnTo>
                <a:lnTo>
                  <a:pt x="261757" y="675947"/>
                </a:lnTo>
                <a:lnTo>
                  <a:pt x="255105" y="679035"/>
                </a:lnTo>
                <a:lnTo>
                  <a:pt x="248927" y="681174"/>
                </a:lnTo>
                <a:lnTo>
                  <a:pt x="242987" y="683075"/>
                </a:lnTo>
                <a:lnTo>
                  <a:pt x="236810" y="684738"/>
                </a:lnTo>
                <a:lnTo>
                  <a:pt x="231108" y="686163"/>
                </a:lnTo>
                <a:lnTo>
                  <a:pt x="225406" y="687114"/>
                </a:lnTo>
                <a:lnTo>
                  <a:pt x="219466" y="687589"/>
                </a:lnTo>
                <a:lnTo>
                  <a:pt x="213764" y="687589"/>
                </a:lnTo>
                <a:lnTo>
                  <a:pt x="208299" y="687589"/>
                </a:lnTo>
                <a:lnTo>
                  <a:pt x="203072" y="687114"/>
                </a:lnTo>
                <a:lnTo>
                  <a:pt x="197607" y="686163"/>
                </a:lnTo>
                <a:lnTo>
                  <a:pt x="192380" y="684738"/>
                </a:lnTo>
                <a:lnTo>
                  <a:pt x="186916" y="683550"/>
                </a:lnTo>
                <a:lnTo>
                  <a:pt x="181689" y="681649"/>
                </a:lnTo>
                <a:lnTo>
                  <a:pt x="176699" y="679986"/>
                </a:lnTo>
                <a:lnTo>
                  <a:pt x="171472" y="677610"/>
                </a:lnTo>
                <a:lnTo>
                  <a:pt x="166483" y="674996"/>
                </a:lnTo>
                <a:lnTo>
                  <a:pt x="156742" y="669294"/>
                </a:lnTo>
                <a:lnTo>
                  <a:pt x="147001" y="662167"/>
                </a:lnTo>
                <a:lnTo>
                  <a:pt x="137735" y="654564"/>
                </a:lnTo>
                <a:lnTo>
                  <a:pt x="127756" y="645535"/>
                </a:lnTo>
                <a:lnTo>
                  <a:pt x="118490" y="636269"/>
                </a:lnTo>
                <a:lnTo>
                  <a:pt x="109224" y="626053"/>
                </a:lnTo>
                <a:lnTo>
                  <a:pt x="107323" y="623914"/>
                </a:lnTo>
                <a:lnTo>
                  <a:pt x="106135" y="620350"/>
                </a:lnTo>
                <a:lnTo>
                  <a:pt x="105185" y="616311"/>
                </a:lnTo>
                <a:lnTo>
                  <a:pt x="105185" y="612272"/>
                </a:lnTo>
                <a:lnTo>
                  <a:pt x="105185" y="608233"/>
                </a:lnTo>
                <a:lnTo>
                  <a:pt x="106135" y="604194"/>
                </a:lnTo>
                <a:lnTo>
                  <a:pt x="107323" y="600630"/>
                </a:lnTo>
                <a:lnTo>
                  <a:pt x="109224" y="598017"/>
                </a:lnTo>
                <a:lnTo>
                  <a:pt x="111837" y="591840"/>
                </a:lnTo>
                <a:lnTo>
                  <a:pt x="113975" y="586137"/>
                </a:lnTo>
                <a:lnTo>
                  <a:pt x="115401" y="579722"/>
                </a:lnTo>
                <a:lnTo>
                  <a:pt x="115876" y="574020"/>
                </a:lnTo>
                <a:lnTo>
                  <a:pt x="115876" y="568318"/>
                </a:lnTo>
                <a:lnTo>
                  <a:pt x="115401" y="562378"/>
                </a:lnTo>
                <a:lnTo>
                  <a:pt x="114451" y="557151"/>
                </a:lnTo>
                <a:lnTo>
                  <a:pt x="112788" y="551449"/>
                </a:lnTo>
                <a:lnTo>
                  <a:pt x="110412" y="545984"/>
                </a:lnTo>
                <a:lnTo>
                  <a:pt x="108273" y="540757"/>
                </a:lnTo>
                <a:lnTo>
                  <a:pt x="105185" y="535293"/>
                </a:lnTo>
                <a:lnTo>
                  <a:pt x="102096" y="530066"/>
                </a:lnTo>
                <a:lnTo>
                  <a:pt x="94968" y="519374"/>
                </a:lnTo>
                <a:lnTo>
                  <a:pt x="86890" y="508683"/>
                </a:lnTo>
                <a:lnTo>
                  <a:pt x="78812" y="497991"/>
                </a:lnTo>
                <a:lnTo>
                  <a:pt x="70972" y="486824"/>
                </a:lnTo>
                <a:lnTo>
                  <a:pt x="67408" y="481122"/>
                </a:lnTo>
                <a:lnTo>
                  <a:pt x="64319" y="474707"/>
                </a:lnTo>
                <a:lnTo>
                  <a:pt x="61230" y="469005"/>
                </a:lnTo>
                <a:lnTo>
                  <a:pt x="58379" y="462828"/>
                </a:lnTo>
                <a:lnTo>
                  <a:pt x="56716" y="456175"/>
                </a:lnTo>
                <a:lnTo>
                  <a:pt x="54815" y="449998"/>
                </a:lnTo>
                <a:lnTo>
                  <a:pt x="54103" y="443345"/>
                </a:lnTo>
                <a:lnTo>
                  <a:pt x="53627" y="436455"/>
                </a:lnTo>
                <a:lnTo>
                  <a:pt x="53627" y="429327"/>
                </a:lnTo>
                <a:lnTo>
                  <a:pt x="54815" y="422675"/>
                </a:lnTo>
                <a:lnTo>
                  <a:pt x="56716" y="415547"/>
                </a:lnTo>
                <a:lnTo>
                  <a:pt x="59330" y="408182"/>
                </a:lnTo>
                <a:lnTo>
                  <a:pt x="60280" y="403192"/>
                </a:lnTo>
                <a:lnTo>
                  <a:pt x="61943" y="397965"/>
                </a:lnTo>
                <a:lnTo>
                  <a:pt x="65507" y="387986"/>
                </a:lnTo>
                <a:lnTo>
                  <a:pt x="69546" y="378720"/>
                </a:lnTo>
                <a:lnTo>
                  <a:pt x="74535" y="369929"/>
                </a:lnTo>
                <a:lnTo>
                  <a:pt x="79762" y="360901"/>
                </a:lnTo>
                <a:lnTo>
                  <a:pt x="85940" y="352585"/>
                </a:lnTo>
                <a:lnTo>
                  <a:pt x="98057" y="335479"/>
                </a:lnTo>
                <a:lnTo>
                  <a:pt x="102571" y="328113"/>
                </a:lnTo>
                <a:lnTo>
                  <a:pt x="106848" y="320986"/>
                </a:lnTo>
                <a:lnTo>
                  <a:pt x="116827" y="307205"/>
                </a:lnTo>
                <a:lnTo>
                  <a:pt x="127043" y="293188"/>
                </a:lnTo>
                <a:lnTo>
                  <a:pt x="137735" y="279407"/>
                </a:lnTo>
                <a:lnTo>
                  <a:pt x="159831" y="251847"/>
                </a:lnTo>
                <a:lnTo>
                  <a:pt x="170522" y="238066"/>
                </a:lnTo>
                <a:lnTo>
                  <a:pt x="181214" y="223336"/>
                </a:lnTo>
                <a:lnTo>
                  <a:pt x="164820" y="223336"/>
                </a:lnTo>
                <a:lnTo>
                  <a:pt x="137972" y="230226"/>
                </a:lnTo>
                <a:lnTo>
                  <a:pt x="125142" y="233790"/>
                </a:lnTo>
                <a:lnTo>
                  <a:pt x="112788" y="237591"/>
                </a:lnTo>
                <a:lnTo>
                  <a:pt x="100195" y="241630"/>
                </a:lnTo>
                <a:lnTo>
                  <a:pt x="87840" y="245669"/>
                </a:lnTo>
                <a:lnTo>
                  <a:pt x="75723" y="250183"/>
                </a:lnTo>
                <a:lnTo>
                  <a:pt x="64319" y="254935"/>
                </a:lnTo>
                <a:lnTo>
                  <a:pt x="52677" y="260400"/>
                </a:lnTo>
                <a:lnTo>
                  <a:pt x="41035" y="265627"/>
                </a:lnTo>
                <a:lnTo>
                  <a:pt x="29868" y="271567"/>
                </a:lnTo>
                <a:lnTo>
                  <a:pt x="18939" y="277744"/>
                </a:lnTo>
                <a:lnTo>
                  <a:pt x="7772" y="284397"/>
                </a:lnTo>
                <a:lnTo>
                  <a:pt x="0" y="289924"/>
                </a:lnTo>
                <a:lnTo>
                  <a:pt x="0" y="895572"/>
                </a:lnTo>
                <a:lnTo>
                  <a:pt x="125653" y="895572"/>
                </a:lnTo>
                <a:lnTo>
                  <a:pt x="127756" y="892155"/>
                </a:lnTo>
                <a:lnTo>
                  <a:pt x="131082" y="885502"/>
                </a:lnTo>
                <a:lnTo>
                  <a:pt x="133696" y="878374"/>
                </a:lnTo>
                <a:lnTo>
                  <a:pt x="135834" y="871722"/>
                </a:lnTo>
                <a:lnTo>
                  <a:pt x="137735" y="864594"/>
                </a:lnTo>
                <a:lnTo>
                  <a:pt x="138923" y="857466"/>
                </a:lnTo>
                <a:lnTo>
                  <a:pt x="140348" y="850339"/>
                </a:lnTo>
                <a:lnTo>
                  <a:pt x="141298" y="843211"/>
                </a:lnTo>
                <a:lnTo>
                  <a:pt x="142011" y="828955"/>
                </a:lnTo>
                <a:lnTo>
                  <a:pt x="142486" y="814225"/>
                </a:lnTo>
                <a:lnTo>
                  <a:pt x="142486" y="799494"/>
                </a:lnTo>
                <a:lnTo>
                  <a:pt x="142486" y="782625"/>
                </a:lnTo>
                <a:lnTo>
                  <a:pt x="142486" y="771458"/>
                </a:lnTo>
                <a:lnTo>
                  <a:pt x="143912" y="778586"/>
                </a:lnTo>
                <a:lnTo>
                  <a:pt x="145100" y="784526"/>
                </a:lnTo>
                <a:lnTo>
                  <a:pt x="147476" y="789753"/>
                </a:lnTo>
                <a:lnTo>
                  <a:pt x="149614" y="794267"/>
                </a:lnTo>
                <a:lnTo>
                  <a:pt x="152228" y="797831"/>
                </a:lnTo>
                <a:lnTo>
                  <a:pt x="155554" y="801395"/>
                </a:lnTo>
                <a:lnTo>
                  <a:pt x="158643" y="803533"/>
                </a:lnTo>
                <a:lnTo>
                  <a:pt x="162206" y="805909"/>
                </a:lnTo>
                <a:lnTo>
                  <a:pt x="165770" y="807572"/>
                </a:lnTo>
                <a:lnTo>
                  <a:pt x="169572" y="808523"/>
                </a:lnTo>
                <a:lnTo>
                  <a:pt x="174086" y="809473"/>
                </a:lnTo>
                <a:lnTo>
                  <a:pt x="178600" y="810186"/>
                </a:lnTo>
                <a:lnTo>
                  <a:pt x="187866" y="810661"/>
                </a:lnTo>
                <a:lnTo>
                  <a:pt x="198083" y="810661"/>
                </a:lnTo>
                <a:lnTo>
                  <a:pt x="236810" y="810661"/>
                </a:lnTo>
                <a:lnTo>
                  <a:pt x="249640" y="811136"/>
                </a:lnTo>
                <a:lnTo>
                  <a:pt x="263183" y="811611"/>
                </a:lnTo>
                <a:lnTo>
                  <a:pt x="270310" y="811611"/>
                </a:lnTo>
                <a:lnTo>
                  <a:pt x="276963" y="811136"/>
                </a:lnTo>
                <a:lnTo>
                  <a:pt x="283140" y="810186"/>
                </a:lnTo>
                <a:lnTo>
                  <a:pt x="289793" y="808523"/>
                </a:lnTo>
                <a:lnTo>
                  <a:pt x="295495" y="806147"/>
                </a:lnTo>
                <a:lnTo>
                  <a:pt x="301435" y="803058"/>
                </a:lnTo>
                <a:lnTo>
                  <a:pt x="304524" y="801395"/>
                </a:lnTo>
                <a:lnTo>
                  <a:pt x="307137" y="799256"/>
                </a:lnTo>
                <a:lnTo>
                  <a:pt x="309275" y="796881"/>
                </a:lnTo>
                <a:lnTo>
                  <a:pt x="312126" y="794267"/>
                </a:lnTo>
                <a:lnTo>
                  <a:pt x="314265" y="791178"/>
                </a:lnTo>
                <a:lnTo>
                  <a:pt x="316403" y="788090"/>
                </a:lnTo>
                <a:lnTo>
                  <a:pt x="318304" y="784051"/>
                </a:lnTo>
                <a:lnTo>
                  <a:pt x="319967" y="780012"/>
                </a:lnTo>
                <a:lnTo>
                  <a:pt x="321868" y="775973"/>
                </a:lnTo>
                <a:lnTo>
                  <a:pt x="323056" y="771221"/>
                </a:lnTo>
                <a:lnTo>
                  <a:pt x="324481" y="765756"/>
                </a:lnTo>
                <a:lnTo>
                  <a:pt x="325907" y="760529"/>
                </a:lnTo>
                <a:lnTo>
                  <a:pt x="325907" y="827530"/>
                </a:lnTo>
                <a:lnTo>
                  <a:pt x="310226" y="835608"/>
                </a:lnTo>
                <a:lnTo>
                  <a:pt x="295970" y="843686"/>
                </a:lnTo>
                <a:lnTo>
                  <a:pt x="282665" y="850339"/>
                </a:lnTo>
                <a:lnTo>
                  <a:pt x="276488" y="852952"/>
                </a:lnTo>
                <a:lnTo>
                  <a:pt x="270310" y="855565"/>
                </a:lnTo>
                <a:lnTo>
                  <a:pt x="266271" y="857942"/>
                </a:lnTo>
                <a:lnTo>
                  <a:pt x="262708" y="860080"/>
                </a:lnTo>
                <a:lnTo>
                  <a:pt x="259619" y="862693"/>
                </a:lnTo>
                <a:lnTo>
                  <a:pt x="256768" y="865544"/>
                </a:lnTo>
                <a:lnTo>
                  <a:pt x="254154" y="868633"/>
                </a:lnTo>
                <a:lnTo>
                  <a:pt x="252491" y="871722"/>
                </a:lnTo>
                <a:lnTo>
                  <a:pt x="250590" y="874810"/>
                </a:lnTo>
                <a:lnTo>
                  <a:pt x="249402" y="877899"/>
                </a:lnTo>
                <a:lnTo>
                  <a:pt x="248452" y="880988"/>
                </a:lnTo>
                <a:lnTo>
                  <a:pt x="247977" y="884076"/>
                </a:lnTo>
                <a:lnTo>
                  <a:pt x="247977" y="887165"/>
                </a:lnTo>
                <a:lnTo>
                  <a:pt x="248452" y="890016"/>
                </a:lnTo>
                <a:lnTo>
                  <a:pt x="249402" y="893105"/>
                </a:lnTo>
                <a:lnTo>
                  <a:pt x="250075" y="895572"/>
                </a:lnTo>
                <a:lnTo>
                  <a:pt x="474750" y="895572"/>
                </a:lnTo>
                <a:lnTo>
                  <a:pt x="475827" y="894768"/>
                </a:lnTo>
                <a:lnTo>
                  <a:pt x="486993" y="882889"/>
                </a:lnTo>
                <a:lnTo>
                  <a:pt x="497210" y="870296"/>
                </a:lnTo>
                <a:lnTo>
                  <a:pt x="506951" y="857942"/>
                </a:lnTo>
                <a:lnTo>
                  <a:pt x="515742" y="844636"/>
                </a:lnTo>
                <a:lnTo>
                  <a:pt x="523820" y="831094"/>
                </a:lnTo>
                <a:lnTo>
                  <a:pt x="531898" y="816838"/>
                </a:lnTo>
                <a:lnTo>
                  <a:pt x="539026" y="802583"/>
                </a:lnTo>
                <a:lnTo>
                  <a:pt x="545678" y="788565"/>
                </a:lnTo>
                <a:lnTo>
                  <a:pt x="552331" y="773359"/>
                </a:lnTo>
                <a:lnTo>
                  <a:pt x="558033" y="758628"/>
                </a:lnTo>
                <a:lnTo>
                  <a:pt x="563498" y="743185"/>
                </a:lnTo>
                <a:lnTo>
                  <a:pt x="568725" y="727979"/>
                </a:lnTo>
                <a:lnTo>
                  <a:pt x="573714" y="712298"/>
                </a:lnTo>
                <a:lnTo>
                  <a:pt x="577991" y="696855"/>
                </a:lnTo>
                <a:lnTo>
                  <a:pt x="586544" y="665255"/>
                </a:lnTo>
                <a:lnTo>
                  <a:pt x="586069" y="663117"/>
                </a:lnTo>
                <a:lnTo>
                  <a:pt x="584881" y="660266"/>
                </a:lnTo>
                <a:lnTo>
                  <a:pt x="582980" y="657177"/>
                </a:lnTo>
                <a:lnTo>
                  <a:pt x="580367" y="654088"/>
                </a:lnTo>
                <a:lnTo>
                  <a:pt x="574902" y="647911"/>
                </a:lnTo>
                <a:lnTo>
                  <a:pt x="570150" y="642922"/>
                </a:lnTo>
                <a:lnTo>
                  <a:pt x="565636" y="636744"/>
                </a:lnTo>
                <a:lnTo>
                  <a:pt x="560647" y="631517"/>
                </a:lnTo>
                <a:lnTo>
                  <a:pt x="555420" y="626053"/>
                </a:lnTo>
                <a:lnTo>
                  <a:pt x="550193" y="621301"/>
                </a:lnTo>
                <a:lnTo>
                  <a:pt x="544253" y="616787"/>
                </a:lnTo>
                <a:lnTo>
                  <a:pt x="538075" y="612272"/>
                </a:lnTo>
                <a:lnTo>
                  <a:pt x="525721" y="603719"/>
                </a:lnTo>
                <a:lnTo>
                  <a:pt x="563023" y="619875"/>
                </a:lnTo>
                <a:lnTo>
                  <a:pt x="581317" y="628191"/>
                </a:lnTo>
                <a:lnTo>
                  <a:pt x="599374" y="636744"/>
                </a:lnTo>
                <a:lnTo>
                  <a:pt x="607927" y="641259"/>
                </a:lnTo>
                <a:lnTo>
                  <a:pt x="616718" y="646010"/>
                </a:lnTo>
                <a:lnTo>
                  <a:pt x="625271" y="651000"/>
                </a:lnTo>
                <a:lnTo>
                  <a:pt x="633349" y="656227"/>
                </a:lnTo>
                <a:lnTo>
                  <a:pt x="641665" y="662167"/>
                </a:lnTo>
                <a:lnTo>
                  <a:pt x="649268" y="668344"/>
                </a:lnTo>
                <a:lnTo>
                  <a:pt x="656871" y="674996"/>
                </a:lnTo>
                <a:lnTo>
                  <a:pt x="664474" y="682124"/>
                </a:lnTo>
                <a:lnTo>
                  <a:pt x="668988" y="686163"/>
                </a:lnTo>
                <a:lnTo>
                  <a:pt x="672790" y="690202"/>
                </a:lnTo>
                <a:lnTo>
                  <a:pt x="677304" y="693291"/>
                </a:lnTo>
                <a:lnTo>
                  <a:pt x="682293" y="696855"/>
                </a:lnTo>
                <a:lnTo>
                  <a:pt x="686570" y="699468"/>
                </a:lnTo>
                <a:lnTo>
                  <a:pt x="691559" y="702082"/>
                </a:lnTo>
                <a:lnTo>
                  <a:pt x="696549" y="703983"/>
                </a:lnTo>
                <a:lnTo>
                  <a:pt x="701300" y="705646"/>
                </a:lnTo>
                <a:lnTo>
                  <a:pt x="706290" y="707071"/>
                </a:lnTo>
                <a:lnTo>
                  <a:pt x="711042" y="708497"/>
                </a:lnTo>
                <a:lnTo>
                  <a:pt x="716506" y="708734"/>
                </a:lnTo>
                <a:lnTo>
                  <a:pt x="721258" y="708734"/>
                </a:lnTo>
                <a:lnTo>
                  <a:pt x="726723" y="708497"/>
                </a:lnTo>
                <a:lnTo>
                  <a:pt x="731712" y="707546"/>
                </a:lnTo>
                <a:lnTo>
                  <a:pt x="736939" y="706121"/>
                </a:lnTo>
                <a:lnTo>
                  <a:pt x="742166" y="704458"/>
                </a:lnTo>
                <a:lnTo>
                  <a:pt x="749294" y="702082"/>
                </a:lnTo>
                <a:lnTo>
                  <a:pt x="756184" y="699468"/>
                </a:lnTo>
                <a:lnTo>
                  <a:pt x="762361" y="696380"/>
                </a:lnTo>
                <a:lnTo>
                  <a:pt x="768063" y="692816"/>
                </a:lnTo>
                <a:lnTo>
                  <a:pt x="773528" y="689252"/>
                </a:lnTo>
                <a:lnTo>
                  <a:pt x="778755" y="684738"/>
                </a:lnTo>
                <a:lnTo>
                  <a:pt x="783269" y="680461"/>
                </a:lnTo>
                <a:lnTo>
                  <a:pt x="787308" y="674996"/>
                </a:lnTo>
                <a:lnTo>
                  <a:pt x="791110" y="669769"/>
                </a:lnTo>
                <a:lnTo>
                  <a:pt x="794436" y="663830"/>
                </a:lnTo>
                <a:lnTo>
                  <a:pt x="797050" y="657652"/>
                </a:lnTo>
                <a:lnTo>
                  <a:pt x="799188" y="651000"/>
                </a:lnTo>
                <a:lnTo>
                  <a:pt x="801089" y="643872"/>
                </a:lnTo>
                <a:lnTo>
                  <a:pt x="802277" y="636744"/>
                </a:lnTo>
                <a:lnTo>
                  <a:pt x="803227" y="628666"/>
                </a:lnTo>
                <a:lnTo>
                  <a:pt x="803227" y="620826"/>
                </a:lnTo>
                <a:lnTo>
                  <a:pt x="801089" y="622489"/>
                </a:lnTo>
                <a:lnTo>
                  <a:pt x="798238" y="623914"/>
                </a:lnTo>
                <a:lnTo>
                  <a:pt x="793011" y="626053"/>
                </a:lnTo>
                <a:lnTo>
                  <a:pt x="790397" y="627478"/>
                </a:lnTo>
                <a:lnTo>
                  <a:pt x="788496" y="628191"/>
                </a:lnTo>
                <a:lnTo>
                  <a:pt x="787308" y="630092"/>
                </a:lnTo>
                <a:lnTo>
                  <a:pt x="786833" y="631755"/>
                </a:lnTo>
                <a:lnTo>
                  <a:pt x="785408" y="635794"/>
                </a:lnTo>
                <a:lnTo>
                  <a:pt x="784220" y="639833"/>
                </a:lnTo>
                <a:lnTo>
                  <a:pt x="780656" y="646485"/>
                </a:lnTo>
                <a:lnTo>
                  <a:pt x="776617" y="653138"/>
                </a:lnTo>
                <a:lnTo>
                  <a:pt x="772103" y="659078"/>
                </a:lnTo>
                <a:lnTo>
                  <a:pt x="762361" y="670007"/>
                </a:lnTo>
                <a:lnTo>
                  <a:pt x="757847" y="675947"/>
                </a:lnTo>
                <a:lnTo>
                  <a:pt x="753333" y="682124"/>
                </a:lnTo>
                <a:lnTo>
                  <a:pt x="750244" y="684738"/>
                </a:lnTo>
                <a:lnTo>
                  <a:pt x="747155" y="687589"/>
                </a:lnTo>
                <a:lnTo>
                  <a:pt x="744067" y="689252"/>
                </a:lnTo>
                <a:lnTo>
                  <a:pt x="740978" y="690915"/>
                </a:lnTo>
                <a:lnTo>
                  <a:pt x="737890" y="691865"/>
                </a:lnTo>
                <a:lnTo>
                  <a:pt x="734801" y="692816"/>
                </a:lnTo>
                <a:lnTo>
                  <a:pt x="731950" y="693291"/>
                </a:lnTo>
                <a:lnTo>
                  <a:pt x="728861" y="693291"/>
                </a:lnTo>
                <a:lnTo>
                  <a:pt x="723634" y="692816"/>
                </a:lnTo>
                <a:lnTo>
                  <a:pt x="718169" y="691390"/>
                </a:lnTo>
                <a:lnTo>
                  <a:pt x="713418" y="689727"/>
                </a:lnTo>
                <a:lnTo>
                  <a:pt x="708903" y="687826"/>
                </a:lnTo>
                <a:lnTo>
                  <a:pt x="706765" y="687589"/>
                </a:lnTo>
                <a:lnTo>
                  <a:pt x="704864" y="687114"/>
                </a:lnTo>
                <a:lnTo>
                  <a:pt x="703201" y="686163"/>
                </a:lnTo>
                <a:lnTo>
                  <a:pt x="701776" y="684738"/>
                </a:lnTo>
                <a:lnTo>
                  <a:pt x="698687" y="681649"/>
                </a:lnTo>
                <a:lnTo>
                  <a:pt x="696549" y="678085"/>
                </a:lnTo>
                <a:lnTo>
                  <a:pt x="694648" y="673571"/>
                </a:lnTo>
                <a:lnTo>
                  <a:pt x="693460" y="668819"/>
                </a:lnTo>
                <a:lnTo>
                  <a:pt x="692510" y="664305"/>
                </a:lnTo>
                <a:lnTo>
                  <a:pt x="692510" y="659790"/>
                </a:lnTo>
                <a:lnTo>
                  <a:pt x="692510" y="647436"/>
                </a:lnTo>
                <a:lnTo>
                  <a:pt x="693460" y="635319"/>
                </a:lnTo>
                <a:lnTo>
                  <a:pt x="694173" y="624389"/>
                </a:lnTo>
                <a:lnTo>
                  <a:pt x="695598" y="612748"/>
                </a:lnTo>
                <a:lnTo>
                  <a:pt x="699162" y="591364"/>
                </a:lnTo>
                <a:lnTo>
                  <a:pt x="703676" y="570456"/>
                </a:lnTo>
                <a:lnTo>
                  <a:pt x="720070" y="574971"/>
                </a:lnTo>
                <a:lnTo>
                  <a:pt x="736939" y="579247"/>
                </a:lnTo>
                <a:lnTo>
                  <a:pt x="770677" y="589226"/>
                </a:lnTo>
                <a:lnTo>
                  <a:pt x="788021" y="593503"/>
                </a:lnTo>
                <a:lnTo>
                  <a:pt x="805365" y="597542"/>
                </a:lnTo>
                <a:lnTo>
                  <a:pt x="823660" y="601106"/>
                </a:lnTo>
                <a:lnTo>
                  <a:pt x="841954" y="603719"/>
                </a:lnTo>
                <a:lnTo>
                  <a:pt x="861437" y="606570"/>
                </a:lnTo>
                <a:lnTo>
                  <a:pt x="880682" y="608233"/>
                </a:lnTo>
                <a:lnTo>
                  <a:pt x="889948" y="608708"/>
                </a:lnTo>
                <a:lnTo>
                  <a:pt x="898976" y="608708"/>
                </a:lnTo>
                <a:lnTo>
                  <a:pt x="908242" y="608708"/>
                </a:lnTo>
                <a:lnTo>
                  <a:pt x="916795" y="608233"/>
                </a:lnTo>
                <a:lnTo>
                  <a:pt x="925586" y="607283"/>
                </a:lnTo>
                <a:lnTo>
                  <a:pt x="934140" y="606095"/>
                </a:lnTo>
                <a:lnTo>
                  <a:pt x="942455" y="604669"/>
                </a:lnTo>
                <a:lnTo>
                  <a:pt x="950533" y="603006"/>
                </a:lnTo>
                <a:lnTo>
                  <a:pt x="958611" y="600630"/>
                </a:lnTo>
                <a:lnTo>
                  <a:pt x="966452" y="598017"/>
                </a:lnTo>
                <a:lnTo>
                  <a:pt x="974055" y="595403"/>
                </a:lnTo>
                <a:lnTo>
                  <a:pt x="981658" y="591840"/>
                </a:lnTo>
                <a:lnTo>
                  <a:pt x="989261" y="588276"/>
                </a:lnTo>
                <a:lnTo>
                  <a:pt x="996388" y="584237"/>
                </a:lnTo>
                <a:lnTo>
                  <a:pt x="1003041" y="579247"/>
                </a:lnTo>
                <a:lnTo>
                  <a:pt x="1009694" y="574495"/>
                </a:lnTo>
                <a:lnTo>
                  <a:pt x="1016346" y="569031"/>
                </a:lnTo>
                <a:lnTo>
                  <a:pt x="1022998" y="562853"/>
                </a:lnTo>
                <a:lnTo>
                  <a:pt x="1029176" y="556676"/>
                </a:lnTo>
                <a:lnTo>
                  <a:pt x="1035116" y="549548"/>
                </a:lnTo>
                <a:lnTo>
                  <a:pt x="1040818" y="541945"/>
                </a:lnTo>
                <a:lnTo>
                  <a:pt x="1046520" y="534342"/>
                </a:lnTo>
                <a:lnTo>
                  <a:pt x="1051985" y="526027"/>
                </a:lnTo>
                <a:lnTo>
                  <a:pt x="1056737" y="516523"/>
                </a:lnTo>
                <a:lnTo>
                  <a:pt x="1061726" y="507257"/>
                </a:lnTo>
                <a:lnTo>
                  <a:pt x="1066715" y="497041"/>
                </a:lnTo>
                <a:lnTo>
                  <a:pt x="1070992" y="486349"/>
                </a:lnTo>
                <a:lnTo>
                  <a:pt x="1075506" y="475182"/>
                </a:lnTo>
                <a:lnTo>
                  <a:pt x="1079070" y="462828"/>
                </a:lnTo>
                <a:lnTo>
                  <a:pt x="1082634" y="449998"/>
                </a:lnTo>
                <a:lnTo>
                  <a:pt x="1084772" y="437405"/>
                </a:lnTo>
                <a:lnTo>
                  <a:pt x="1087148" y="425050"/>
                </a:lnTo>
                <a:lnTo>
                  <a:pt x="1088811" y="411983"/>
                </a:lnTo>
                <a:lnTo>
                  <a:pt x="1089762" y="399628"/>
                </a:lnTo>
                <a:lnTo>
                  <a:pt x="1090712" y="386798"/>
                </a:lnTo>
                <a:lnTo>
                  <a:pt x="1090712" y="373731"/>
                </a:lnTo>
                <a:lnTo>
                  <a:pt x="1090712" y="360901"/>
                </a:lnTo>
                <a:lnTo>
                  <a:pt x="1089762" y="348071"/>
                </a:lnTo>
                <a:lnTo>
                  <a:pt x="1088811" y="335004"/>
                </a:lnTo>
                <a:lnTo>
                  <a:pt x="1088099" y="321698"/>
                </a:lnTo>
                <a:lnTo>
                  <a:pt x="1084772" y="295563"/>
                </a:lnTo>
                <a:lnTo>
                  <a:pt x="1080971" y="268478"/>
                </a:lnTo>
                <a:lnTo>
                  <a:pt x="1078595" y="258262"/>
                </a:lnTo>
                <a:lnTo>
                  <a:pt x="1075981" y="248283"/>
                </a:lnTo>
                <a:lnTo>
                  <a:pt x="1072417" y="238542"/>
                </a:lnTo>
                <a:lnTo>
                  <a:pt x="1069329" y="229275"/>
                </a:lnTo>
                <a:lnTo>
                  <a:pt x="1061251" y="210031"/>
                </a:lnTo>
                <a:lnTo>
                  <a:pt x="1053173" y="190073"/>
                </a:lnTo>
                <a:lnTo>
                  <a:pt x="1051034" y="186034"/>
                </a:lnTo>
                <a:lnTo>
                  <a:pt x="1048896" y="182470"/>
                </a:lnTo>
                <a:lnTo>
                  <a:pt x="1046045" y="179381"/>
                </a:lnTo>
                <a:lnTo>
                  <a:pt x="1043906" y="176768"/>
                </a:lnTo>
                <a:lnTo>
                  <a:pt x="1041293" y="174630"/>
                </a:lnTo>
                <a:lnTo>
                  <a:pt x="1038680" y="172729"/>
                </a:lnTo>
                <a:lnTo>
                  <a:pt x="1035828" y="171303"/>
                </a:lnTo>
                <a:lnTo>
                  <a:pt x="1032740" y="170591"/>
                </a:lnTo>
                <a:lnTo>
                  <a:pt x="1030126" y="170591"/>
                </a:lnTo>
                <a:lnTo>
                  <a:pt x="1027038" y="170591"/>
                </a:lnTo>
                <a:lnTo>
                  <a:pt x="1024424" y="171303"/>
                </a:lnTo>
                <a:lnTo>
                  <a:pt x="1021335" y="172729"/>
                </a:lnTo>
                <a:lnTo>
                  <a:pt x="1018247" y="174867"/>
                </a:lnTo>
                <a:lnTo>
                  <a:pt x="1014920" y="177718"/>
                </a:lnTo>
                <a:lnTo>
                  <a:pt x="1011832" y="180807"/>
                </a:lnTo>
                <a:lnTo>
                  <a:pt x="1008743" y="184846"/>
                </a:lnTo>
                <a:lnTo>
                  <a:pt x="991874" y="201240"/>
                </a:lnTo>
                <a:lnTo>
                  <a:pt x="983321" y="209318"/>
                </a:lnTo>
                <a:lnTo>
                  <a:pt x="974530" y="216683"/>
                </a:lnTo>
                <a:lnTo>
                  <a:pt x="965739" y="223811"/>
                </a:lnTo>
                <a:lnTo>
                  <a:pt x="956236" y="230226"/>
                </a:lnTo>
                <a:lnTo>
                  <a:pt x="946494" y="235928"/>
                </a:lnTo>
                <a:lnTo>
                  <a:pt x="941505" y="238066"/>
                </a:lnTo>
                <a:lnTo>
                  <a:pt x="936753" y="240442"/>
                </a:lnTo>
                <a:lnTo>
                  <a:pt x="932239" y="242581"/>
                </a:lnTo>
                <a:lnTo>
                  <a:pt x="928675" y="245669"/>
                </a:lnTo>
                <a:lnTo>
                  <a:pt x="925111" y="249233"/>
                </a:lnTo>
                <a:lnTo>
                  <a:pt x="922022" y="252797"/>
                </a:lnTo>
                <a:lnTo>
                  <a:pt x="919884" y="257311"/>
                </a:lnTo>
                <a:lnTo>
                  <a:pt x="918934" y="259925"/>
                </a:lnTo>
                <a:lnTo>
                  <a:pt x="918459" y="262538"/>
                </a:lnTo>
                <a:lnTo>
                  <a:pt x="918459" y="265389"/>
                </a:lnTo>
                <a:lnTo>
                  <a:pt x="918459" y="268003"/>
                </a:lnTo>
                <a:lnTo>
                  <a:pt x="918934" y="271091"/>
                </a:lnTo>
                <a:lnTo>
                  <a:pt x="919884" y="274180"/>
                </a:lnTo>
                <a:lnTo>
                  <a:pt x="921547" y="282258"/>
                </a:lnTo>
                <a:lnTo>
                  <a:pt x="922973" y="290574"/>
                </a:lnTo>
                <a:lnTo>
                  <a:pt x="923923" y="299127"/>
                </a:lnTo>
                <a:lnTo>
                  <a:pt x="924161" y="307443"/>
                </a:lnTo>
                <a:lnTo>
                  <a:pt x="924161" y="315996"/>
                </a:lnTo>
                <a:lnTo>
                  <a:pt x="923923" y="324550"/>
                </a:lnTo>
                <a:lnTo>
                  <a:pt x="922973" y="332865"/>
                </a:lnTo>
                <a:lnTo>
                  <a:pt x="922022" y="340943"/>
                </a:lnTo>
                <a:lnTo>
                  <a:pt x="920597" y="349259"/>
                </a:lnTo>
                <a:lnTo>
                  <a:pt x="918934" y="357812"/>
                </a:lnTo>
                <a:lnTo>
                  <a:pt x="914420" y="374681"/>
                </a:lnTo>
                <a:lnTo>
                  <a:pt x="909192" y="391075"/>
                </a:lnTo>
                <a:lnTo>
                  <a:pt x="903253" y="408182"/>
                </a:lnTo>
                <a:lnTo>
                  <a:pt x="903253" y="397965"/>
                </a:lnTo>
                <a:lnTo>
                  <a:pt x="904203" y="387274"/>
                </a:lnTo>
                <a:lnTo>
                  <a:pt x="906104" y="367078"/>
                </a:lnTo>
                <a:lnTo>
                  <a:pt x="907767" y="347596"/>
                </a:lnTo>
                <a:lnTo>
                  <a:pt x="908717" y="338567"/>
                </a:lnTo>
                <a:lnTo>
                  <a:pt x="908717" y="329777"/>
                </a:lnTo>
                <a:lnTo>
                  <a:pt x="908717" y="325738"/>
                </a:lnTo>
                <a:lnTo>
                  <a:pt x="907767" y="322649"/>
                </a:lnTo>
                <a:lnTo>
                  <a:pt x="906817" y="319560"/>
                </a:lnTo>
                <a:lnTo>
                  <a:pt x="905154" y="316471"/>
                </a:lnTo>
                <a:lnTo>
                  <a:pt x="903728" y="314096"/>
                </a:lnTo>
                <a:lnTo>
                  <a:pt x="901590" y="311957"/>
                </a:lnTo>
                <a:lnTo>
                  <a:pt x="897551" y="307443"/>
                </a:lnTo>
                <a:lnTo>
                  <a:pt x="895412" y="309344"/>
                </a:lnTo>
                <a:lnTo>
                  <a:pt x="892561" y="310769"/>
                </a:lnTo>
                <a:lnTo>
                  <a:pt x="887334" y="313383"/>
                </a:lnTo>
                <a:lnTo>
                  <a:pt x="884721" y="314096"/>
                </a:lnTo>
                <a:lnTo>
                  <a:pt x="882820" y="315521"/>
                </a:lnTo>
                <a:lnTo>
                  <a:pt x="881632" y="316947"/>
                </a:lnTo>
                <a:lnTo>
                  <a:pt x="881157" y="318610"/>
                </a:lnTo>
                <a:lnTo>
                  <a:pt x="872604" y="331915"/>
                </a:lnTo>
                <a:lnTo>
                  <a:pt x="864288" y="346646"/>
                </a:lnTo>
                <a:lnTo>
                  <a:pt x="856210" y="361376"/>
                </a:lnTo>
                <a:lnTo>
                  <a:pt x="847656" y="374681"/>
                </a:lnTo>
                <a:lnTo>
                  <a:pt x="841954" y="374681"/>
                </a:lnTo>
                <a:lnTo>
                  <a:pt x="846468" y="357812"/>
                </a:lnTo>
                <a:lnTo>
                  <a:pt x="850508" y="339518"/>
                </a:lnTo>
                <a:lnTo>
                  <a:pt x="854784" y="319560"/>
                </a:lnTo>
                <a:lnTo>
                  <a:pt x="858823" y="296514"/>
                </a:lnTo>
                <a:lnTo>
                  <a:pt x="848132" y="303879"/>
                </a:lnTo>
                <a:lnTo>
                  <a:pt x="840054" y="310294"/>
                </a:lnTo>
                <a:lnTo>
                  <a:pt x="833163" y="316947"/>
                </a:lnTo>
                <a:lnTo>
                  <a:pt x="825560" y="324550"/>
                </a:lnTo>
                <a:lnTo>
                  <a:pt x="823185" y="326688"/>
                </a:lnTo>
                <a:lnTo>
                  <a:pt x="821522" y="329301"/>
                </a:lnTo>
                <a:lnTo>
                  <a:pt x="817007" y="335954"/>
                </a:lnTo>
                <a:lnTo>
                  <a:pt x="812968" y="344032"/>
                </a:lnTo>
                <a:lnTo>
                  <a:pt x="808929" y="352585"/>
                </a:lnTo>
                <a:lnTo>
                  <a:pt x="809880" y="343557"/>
                </a:lnTo>
                <a:lnTo>
                  <a:pt x="811305" y="335479"/>
                </a:lnTo>
                <a:lnTo>
                  <a:pt x="812493" y="328826"/>
                </a:lnTo>
                <a:lnTo>
                  <a:pt x="814394" y="323124"/>
                </a:lnTo>
                <a:lnTo>
                  <a:pt x="816532" y="317659"/>
                </a:lnTo>
                <a:lnTo>
                  <a:pt x="819146" y="313383"/>
                </a:lnTo>
                <a:lnTo>
                  <a:pt x="822709" y="309344"/>
                </a:lnTo>
                <a:lnTo>
                  <a:pt x="826748" y="306255"/>
                </a:lnTo>
                <a:lnTo>
                  <a:pt x="832213" y="303166"/>
                </a:lnTo>
                <a:lnTo>
                  <a:pt x="838390" y="300315"/>
                </a:lnTo>
                <a:lnTo>
                  <a:pt x="845518" y="298177"/>
                </a:lnTo>
                <a:lnTo>
                  <a:pt x="854071" y="295563"/>
                </a:lnTo>
                <a:lnTo>
                  <a:pt x="875217" y="290574"/>
                </a:lnTo>
                <a:lnTo>
                  <a:pt x="903253" y="285347"/>
                </a:lnTo>
                <a:lnTo>
                  <a:pt x="886384" y="268478"/>
                </a:lnTo>
                <a:lnTo>
                  <a:pt x="879731" y="270141"/>
                </a:lnTo>
                <a:lnTo>
                  <a:pt x="873079" y="271091"/>
                </a:lnTo>
                <a:lnTo>
                  <a:pt x="867376" y="271567"/>
                </a:lnTo>
                <a:lnTo>
                  <a:pt x="862387" y="271091"/>
                </a:lnTo>
                <a:lnTo>
                  <a:pt x="857398" y="269666"/>
                </a:lnTo>
                <a:lnTo>
                  <a:pt x="853596" y="268003"/>
                </a:lnTo>
                <a:lnTo>
                  <a:pt x="849557" y="265627"/>
                </a:lnTo>
                <a:lnTo>
                  <a:pt x="846468" y="262538"/>
                </a:lnTo>
                <a:lnTo>
                  <a:pt x="843380" y="259450"/>
                </a:lnTo>
                <a:lnTo>
                  <a:pt x="840529" y="255411"/>
                </a:lnTo>
                <a:lnTo>
                  <a:pt x="838390" y="251134"/>
                </a:lnTo>
                <a:lnTo>
                  <a:pt x="836490" y="246620"/>
                </a:lnTo>
                <a:lnTo>
                  <a:pt x="834827" y="241155"/>
                </a:lnTo>
                <a:lnTo>
                  <a:pt x="833401" y="235453"/>
                </a:lnTo>
                <a:lnTo>
                  <a:pt x="831263" y="223336"/>
                </a:lnTo>
                <a:lnTo>
                  <a:pt x="897551" y="206942"/>
                </a:lnTo>
                <a:lnTo>
                  <a:pt x="888997" y="194112"/>
                </a:lnTo>
                <a:lnTo>
                  <a:pt x="880682" y="181282"/>
                </a:lnTo>
                <a:lnTo>
                  <a:pt x="871416" y="168690"/>
                </a:lnTo>
                <a:lnTo>
                  <a:pt x="866901" y="162988"/>
                </a:lnTo>
                <a:lnTo>
                  <a:pt x="861437" y="157048"/>
                </a:lnTo>
                <a:lnTo>
                  <a:pt x="856210" y="151821"/>
                </a:lnTo>
                <a:lnTo>
                  <a:pt x="850745" y="146831"/>
                </a:lnTo>
                <a:lnTo>
                  <a:pt x="844568" y="142555"/>
                </a:lnTo>
                <a:lnTo>
                  <a:pt x="838390" y="138516"/>
                </a:lnTo>
                <a:lnTo>
                  <a:pt x="831738" y="134952"/>
                </a:lnTo>
                <a:lnTo>
                  <a:pt x="824610" y="132338"/>
                </a:lnTo>
                <a:lnTo>
                  <a:pt x="817007" y="129963"/>
                </a:lnTo>
                <a:lnTo>
                  <a:pt x="808929" y="128774"/>
                </a:lnTo>
                <a:lnTo>
                  <a:pt x="806791" y="128299"/>
                </a:lnTo>
                <a:lnTo>
                  <a:pt x="804652" y="127824"/>
                </a:lnTo>
                <a:lnTo>
                  <a:pt x="802752" y="126399"/>
                </a:lnTo>
                <a:lnTo>
                  <a:pt x="801089" y="125211"/>
                </a:lnTo>
                <a:lnTo>
                  <a:pt x="799663" y="123310"/>
                </a:lnTo>
                <a:lnTo>
                  <a:pt x="798713" y="121647"/>
                </a:lnTo>
                <a:lnTo>
                  <a:pt x="798000" y="119271"/>
                </a:lnTo>
                <a:lnTo>
                  <a:pt x="798000" y="117608"/>
                </a:lnTo>
                <a:lnTo>
                  <a:pt x="785408" y="106916"/>
                </a:lnTo>
                <a:lnTo>
                  <a:pt x="772578" y="95749"/>
                </a:lnTo>
                <a:lnTo>
                  <a:pt x="747155" y="72703"/>
                </a:lnTo>
                <a:lnTo>
                  <a:pt x="733850" y="61061"/>
                </a:lnTo>
                <a:lnTo>
                  <a:pt x="720545" y="49894"/>
                </a:lnTo>
                <a:lnTo>
                  <a:pt x="706765" y="38728"/>
                </a:lnTo>
                <a:lnTo>
                  <a:pt x="692510" y="28036"/>
                </a:lnTo>
                <a:lnTo>
                  <a:pt x="679442" y="21859"/>
                </a:lnTo>
                <a:lnTo>
                  <a:pt x="666137" y="16632"/>
                </a:lnTo>
                <a:lnTo>
                  <a:pt x="652832" y="11642"/>
                </a:lnTo>
                <a:lnTo>
                  <a:pt x="639527" y="7603"/>
                </a:lnTo>
                <a:lnTo>
                  <a:pt x="626222" y="4514"/>
                </a:lnTo>
                <a:lnTo>
                  <a:pt x="612917" y="1901"/>
                </a:lnTo>
                <a:lnTo>
                  <a:pt x="599374" y="475"/>
                </a:lnTo>
                <a:close/>
              </a:path>
            </a:pathLst>
          </a:custGeom>
          <a:solidFill>
            <a:schemeClr val="bg1">
              <a:alpha val="25000"/>
            </a:schemeClr>
          </a:solidFill>
          <a:ln>
            <a:noFill/>
          </a:ln>
        </p:spPr>
        <p:txBody>
          <a:bodyPr vert="horz" wrap="square" lIns="91440" tIns="45720" rIns="91440" bIns="45720" numCol="1" anchor="t" anchorCtr="0" compatLnSpc="1">
            <a:prstTxWarp prst="textNoShape">
              <a:avLst/>
            </a:prstTxWarp>
            <a:noAutofit/>
          </a:bodyPr>
          <a:lstStyle/>
          <a:p>
            <a:endParaRPr lang="en-IN"/>
          </a:p>
        </p:txBody>
      </p:sp>
      <p:sp>
        <p:nvSpPr>
          <p:cNvPr id="7" name="Rectangle 6"/>
          <p:cNvSpPr/>
          <p:nvPr/>
        </p:nvSpPr>
        <p:spPr>
          <a:xfrm>
            <a:off x="9108" y="1237136"/>
            <a:ext cx="5325034" cy="1588127"/>
          </a:xfrm>
          <a:prstGeom prst="rect">
            <a:avLst/>
          </a:prstGeom>
        </p:spPr>
        <p:txBody>
          <a:bodyPr wrap="square" lIns="274320">
            <a:spAutoFit/>
          </a:bodyPr>
          <a:lstStyle/>
          <a:p>
            <a:pPr defTabSz="932472" fontAlgn="base">
              <a:lnSpc>
                <a:spcPct val="90000"/>
              </a:lnSpc>
              <a:spcBef>
                <a:spcPct val="0"/>
              </a:spcBef>
              <a:spcAft>
                <a:spcPct val="0"/>
              </a:spcAft>
            </a:pPr>
            <a:r>
              <a:rPr lang="en-US" sz="5400" dirty="0">
                <a:solidFill>
                  <a:schemeClr val="bg1"/>
                </a:solidFill>
                <a:latin typeface="+mj-lt"/>
                <a:ea typeface="Segoe UI" pitchFamily="34" charset="0"/>
                <a:cs typeface="Segoe UI" pitchFamily="34" charset="0"/>
              </a:rPr>
              <a:t>Collect and load big data</a:t>
            </a:r>
          </a:p>
        </p:txBody>
      </p:sp>
      <p:sp>
        <p:nvSpPr>
          <p:cNvPr id="2" name="Slide Number Placeholder 1"/>
          <p:cNvSpPr>
            <a:spLocks noGrp="1"/>
          </p:cNvSpPr>
          <p:nvPr>
            <p:ph type="sldNum" sz="quarter" idx="11"/>
          </p:nvPr>
        </p:nvSpPr>
        <p:spPr/>
        <p:txBody>
          <a:bodyPr/>
          <a:lstStyle/>
          <a:p>
            <a:pPr>
              <a:defRPr/>
            </a:pPr>
            <a:fld id="{F8A0AC42-AA1D-4944-8D96-660DE70C7E1B}" type="slidenum">
              <a:rPr lang="en-IN" smtClean="0"/>
              <a:pPr>
                <a:defRPr/>
              </a:pPr>
              <a:t>9</a:t>
            </a:fld>
            <a:endParaRPr lang="en-IN" dirty="0"/>
          </a:p>
        </p:txBody>
      </p:sp>
      <p:sp>
        <p:nvSpPr>
          <p:cNvPr id="10" name="TextBox 9"/>
          <p:cNvSpPr txBox="1"/>
          <p:nvPr/>
        </p:nvSpPr>
        <p:spPr>
          <a:xfrm>
            <a:off x="5325034" y="4591994"/>
            <a:ext cx="6684403" cy="1874520"/>
          </a:xfrm>
          <a:prstGeom prst="rect">
            <a:avLst/>
          </a:prstGeom>
          <a:noFill/>
        </p:spPr>
        <p:txBody>
          <a:bodyPr wrap="square" lIns="274320" tIns="146304" rIns="182880" bIns="146304" rtlCol="0">
            <a:noAutofit/>
          </a:bodyPr>
          <a:lstStyle/>
          <a:p>
            <a:pPr marL="53975" lvl="1" defTabSz="932133" fontAlgn="base">
              <a:spcBef>
                <a:spcPts val="1200"/>
              </a:spcBef>
              <a:buClr>
                <a:srgbClr val="68217A">
                  <a:lumMod val="50000"/>
                </a:srgbClr>
              </a:buClr>
            </a:pPr>
            <a:r>
              <a:rPr lang="en-US" sz="3200" dirty="0">
                <a:ln>
                  <a:solidFill>
                    <a:srgbClr val="FFFFFF">
                      <a:alpha val="0"/>
                    </a:srgbClr>
                  </a:solidFill>
                </a:ln>
                <a:solidFill>
                  <a:srgbClr val="68217A"/>
                </a:solidFill>
                <a:latin typeface="Segoe UI Light"/>
                <a:ea typeface="Segoe UI" pitchFamily="34" charset="0"/>
                <a:cs typeface="Segoe UI" pitchFamily="34" charset="0"/>
              </a:rPr>
              <a:t>Data processing</a:t>
            </a:r>
          </a:p>
          <a:p>
            <a:pPr marL="569913" lvl="1" indent="-457200" defTabSz="932133" fontAlgn="base">
              <a:buClr>
                <a:schemeClr val="accent3">
                  <a:lumMod val="50000"/>
                </a:schemeClr>
              </a:buClr>
              <a:buBlip>
                <a:blip r:embed="rId3"/>
              </a:buBlip>
            </a:pPr>
            <a:r>
              <a:rPr lang="en-US"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re-processing data</a:t>
            </a:r>
          </a:p>
          <a:p>
            <a:pPr marL="569913" lvl="1" indent="-457200" defTabSz="932133" fontAlgn="base">
              <a:buClr>
                <a:schemeClr val="accent3">
                  <a:lumMod val="50000"/>
                </a:schemeClr>
              </a:buClr>
              <a:buBlip>
                <a:blip r:embed="rId3"/>
              </a:buBlip>
            </a:pPr>
            <a:r>
              <a:rPr lang="en-US"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erialization and compression</a:t>
            </a:r>
          </a:p>
          <a:p>
            <a:pPr marL="569913" lvl="1" indent="-457200" defTabSz="932133" fontAlgn="base">
              <a:buClr>
                <a:schemeClr val="accent3">
                  <a:lumMod val="50000"/>
                </a:schemeClr>
              </a:buClr>
              <a:buBlip>
                <a:blip r:embed="rId3"/>
              </a:buBlip>
            </a:pPr>
            <a:r>
              <a:rPr lang="en-US"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hoosing tools and technologies</a:t>
            </a:r>
          </a:p>
        </p:txBody>
      </p:sp>
      <p:sp>
        <p:nvSpPr>
          <p:cNvPr id="11" name="TextBox 10"/>
          <p:cNvSpPr txBox="1"/>
          <p:nvPr/>
        </p:nvSpPr>
        <p:spPr>
          <a:xfrm>
            <a:off x="5325034" y="3178005"/>
            <a:ext cx="6684403" cy="1419040"/>
          </a:xfrm>
          <a:prstGeom prst="rect">
            <a:avLst/>
          </a:prstGeom>
          <a:noFill/>
        </p:spPr>
        <p:txBody>
          <a:bodyPr wrap="square" lIns="274320" tIns="146304" rIns="182880" bIns="146304" rtlCol="0">
            <a:noAutofit/>
          </a:bodyPr>
          <a:lstStyle/>
          <a:p>
            <a:pPr marL="53975" lvl="1" defTabSz="932133" fontAlgn="base">
              <a:spcBef>
                <a:spcPts val="1200"/>
              </a:spcBef>
              <a:buClr>
                <a:srgbClr val="68217A">
                  <a:lumMod val="50000"/>
                </a:srgbClr>
              </a:buClr>
            </a:pPr>
            <a:r>
              <a:rPr lang="en-US" sz="3200" dirty="0">
                <a:ln>
                  <a:solidFill>
                    <a:srgbClr val="FFFFFF">
                      <a:alpha val="0"/>
                    </a:srgbClr>
                  </a:solidFill>
                </a:ln>
                <a:solidFill>
                  <a:srgbClr val="68217A"/>
                </a:solidFill>
                <a:latin typeface="Segoe UI Light"/>
                <a:ea typeface="Segoe UI" pitchFamily="34" charset="0"/>
                <a:cs typeface="Segoe UI" pitchFamily="34" charset="0"/>
              </a:rPr>
              <a:t>Administration</a:t>
            </a:r>
          </a:p>
          <a:p>
            <a:pPr marL="569913" lvl="1" indent="-457200" defTabSz="932133" fontAlgn="base">
              <a:buClr>
                <a:srgbClr val="68217A">
                  <a:lumMod val="50000"/>
                </a:srgbClr>
              </a:buClr>
              <a:buBlip>
                <a:blip r:embed="rId3"/>
              </a:buBlip>
            </a:pPr>
            <a:r>
              <a:rPr lang="en-US"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liability</a:t>
            </a:r>
          </a:p>
          <a:p>
            <a:pPr marL="569913" lvl="1" indent="-457200" defTabSz="932133" fontAlgn="base">
              <a:buClr>
                <a:srgbClr val="68217A">
                  <a:lumMod val="50000"/>
                </a:srgbClr>
              </a:buClr>
              <a:buBlip>
                <a:blip r:embed="rId3"/>
              </a:buBlip>
            </a:pPr>
            <a:r>
              <a:rPr lang="en-US" sz="2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ecurity</a:t>
            </a:r>
          </a:p>
        </p:txBody>
      </p:sp>
      <p:sp>
        <p:nvSpPr>
          <p:cNvPr id="12" name="Rectangle 11"/>
          <p:cNvSpPr/>
          <p:nvPr/>
        </p:nvSpPr>
        <p:spPr bwMode="auto">
          <a:xfrm>
            <a:off x="5638800" y="1237136"/>
            <a:ext cx="5524499" cy="3359909"/>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3347298094"/>
      </p:ext>
    </p:extLst>
  </p:cSld>
  <p:clrMapOvr>
    <a:masterClrMapping/>
  </p:clrMapOvr>
  <p:transition spd="med">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D424397D6E0894893C9D2AD539082A1" ma:contentTypeVersion="" ma:contentTypeDescription="Create a new document." ma:contentTypeScope="" ma:versionID="fa67eed0b1c11a6ab8b712d27c495645">
  <xsd:schema xmlns:xsd="http://www.w3.org/2001/XMLSchema" xmlns:xs="http://www.w3.org/2001/XMLSchema" xmlns:p="http://schemas.microsoft.com/office/2006/metadata/properties" xmlns:ns2="25E3F5CF-758E-45C1-A863-45555F69257B" xmlns:ns3="27aa9422-7f1f-4c84-9cdf-302b1a67e513" targetNamespace="http://schemas.microsoft.com/office/2006/metadata/properties" ma:root="true" ma:fieldsID="5abbb3f3526fffb9fd065abe145feb7d" ns2:_="" ns3:_="">
    <xsd:import namespace="25E3F5CF-758E-45C1-A863-45555F69257B"/>
    <xsd:import namespace="27aa9422-7f1f-4c84-9cdf-302b1a67e513"/>
    <xsd:element name="properties">
      <xsd:complexType>
        <xsd:sequence>
          <xsd:element name="documentManagement">
            <xsd:complexType>
              <xsd:all>
                <xsd:element ref="ns2:Content_x0020_Type"/>
                <xsd:element ref="ns2:Module" minOccurs="0"/>
                <xsd:element ref="ns2:Status" minOccurs="0"/>
                <xsd:element ref="ns3:SharedWithUsers" minOccurs="0"/>
                <xsd:element ref="ns3:SharingHintHash"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E3F5CF-758E-45C1-A863-45555F69257B" elementFormDefault="qualified">
    <xsd:import namespace="http://schemas.microsoft.com/office/2006/documentManagement/types"/>
    <xsd:import namespace="http://schemas.microsoft.com/office/infopath/2007/PartnerControls"/>
    <xsd:element name="Content_x0020_Type" ma:index="8" ma:displayName="Content Type" ma:format="Dropdown" ma:internalName="Content_x0020_Type">
      <xsd:simpleType>
        <xsd:restriction base="dms:Choice">
          <xsd:enumeration value="Assessment"/>
          <xsd:enumeration value="Assessment Policheck"/>
          <xsd:enumeration value="Break Slides"/>
          <xsd:enumeration value="CC File"/>
          <xsd:enumeration value="CC Policheck"/>
          <xsd:enumeration value="Instructor Image"/>
          <xsd:enumeration value="Outline"/>
          <xsd:enumeration value="Slide Presentation"/>
          <xsd:enumeration value="Slide Presentation Policheck"/>
          <xsd:enumeration value="SME Recruitment"/>
        </xsd:restriction>
      </xsd:simpleType>
    </xsd:element>
    <xsd:element name="Module" ma:index="9" nillable="true" ma:displayName="Module" ma:decimals="0" ma:internalName="Module" ma:percentage="FALSE">
      <xsd:simpleType>
        <xsd:restriction base="dms:Number">
          <xsd:maxInclusive value="40"/>
          <xsd:minInclusive value="1"/>
        </xsd:restriction>
      </xsd:simpleType>
    </xsd:element>
    <xsd:element name="Status" ma:index="10" nillable="true" ma:displayName="Status" ma:default="Draft" ma:format="Dropdown" ma:internalName="Status">
      <xsd:simpleType>
        <xsd:restriction base="dms:Choice">
          <xsd:enumeration value="Draft"/>
          <xsd:enumeration value="Final"/>
        </xsd:restriction>
      </xsd:simpleType>
    </xsd:element>
  </xsd:schema>
  <xsd:schema xmlns:xsd="http://www.w3.org/2001/XMLSchema" xmlns:xs="http://www.w3.org/2001/XMLSchema" xmlns:dms="http://schemas.microsoft.com/office/2006/documentManagement/types" xmlns:pc="http://schemas.microsoft.com/office/infopath/2007/PartnerControls" targetNamespace="27aa9422-7f1f-4c84-9cdf-302b1a67e513"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12" nillable="true" ma:displayName="Sharing Hint Hash" ma:internalName="SharingHintHash" ma:readOnly="true">
      <xsd:simpleType>
        <xsd:restriction base="dms:Text"/>
      </xsd:simpleType>
    </xsd:element>
    <xsd:element name="SharedWithDetails" ma:index="13"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odule xmlns="25E3F5CF-758E-45C1-A863-45555F69257B">2</Module>
    <Content_x0020_Type xmlns="25E3F5CF-758E-45C1-A863-45555F69257B">Slide Presentation</Content_x0020_Type>
    <Status xmlns="25E3F5CF-758E-45C1-A863-45555F69257B">Final</Status>
    <SharedWithUsers xmlns="27aa9422-7f1f-4c84-9cdf-302b1a67e513">
      <UserInfo>
        <DisplayName/>
        <AccountId xsi:nil="true"/>
        <AccountType/>
      </UserInfo>
    </SharedWithUsers>
  </documentManagement>
</p:properties>
</file>

<file path=customXml/itemProps1.xml><?xml version="1.0" encoding="utf-8"?>
<ds:datastoreItem xmlns:ds="http://schemas.openxmlformats.org/officeDocument/2006/customXml" ds:itemID="{B8760CC0-B33E-4B85-8725-D6D4F6FA15D8}"/>
</file>

<file path=customXml/itemProps2.xml><?xml version="1.0" encoding="utf-8"?>
<ds:datastoreItem xmlns:ds="http://schemas.openxmlformats.org/officeDocument/2006/customXml" ds:itemID="{27894BDD-B75D-44D9-B7CB-AA03E5FB61F2}"/>
</file>

<file path=customXml/itemProps3.xml><?xml version="1.0" encoding="utf-8"?>
<ds:datastoreItem xmlns:ds="http://schemas.openxmlformats.org/officeDocument/2006/customXml" ds:itemID="{36018EA3-F969-4FD4-8DD0-0A1EA4004324}"/>
</file>

<file path=docProps/app.xml><?xml version="1.0" encoding="utf-8"?>
<Properties xmlns="http://schemas.openxmlformats.org/officeDocument/2006/extended-properties" xmlns:vt="http://schemas.openxmlformats.org/officeDocument/2006/docPropsVTypes">
  <Template>MSVID_TT_BRAND_16-9_WHITE_Dec2013_PRELIM</Template>
  <TotalTime>0</TotalTime>
  <Words>2344</Words>
  <Application>Microsoft Office PowerPoint</Application>
  <PresentationFormat>Custom</PresentationFormat>
  <Paragraphs>308</Paragraphs>
  <Slides>22</Slides>
  <Notes>16</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6" baseType="lpstr">
      <vt:lpstr>MS PGothic</vt:lpstr>
      <vt:lpstr>MS PGothic</vt:lpstr>
      <vt:lpstr>Arial</vt:lpstr>
      <vt:lpstr>Calibri</vt:lpstr>
      <vt:lpstr>Consolas</vt:lpstr>
      <vt:lpstr>Segoe</vt:lpstr>
      <vt:lpstr>Segoe Semibold</vt:lpstr>
      <vt:lpstr>Segoe UI</vt:lpstr>
      <vt:lpstr>Segoe UI Light</vt:lpstr>
      <vt:lpstr>Segoe UI Semibold</vt:lpstr>
      <vt:lpstr>Times New Roman</vt:lpstr>
      <vt:lpstr>Wingdings</vt:lpstr>
      <vt:lpstr>Theme1</vt:lpstr>
      <vt:lpstr>think-cell Slide</vt:lpstr>
      <vt:lpstr>PowerPoint Presentation</vt:lpstr>
      <vt:lpstr>PowerPoint Presentation</vt:lpstr>
      <vt:lpstr>Collect and load big data</vt:lpstr>
      <vt:lpstr>Blob storage concepts</vt:lpstr>
      <vt:lpstr>Data types and sources</vt:lpstr>
      <vt:lpstr>PowerPoint Presentation</vt:lpstr>
      <vt:lpstr>Reliability</vt:lpstr>
      <vt:lpstr>Security</vt:lpstr>
      <vt:lpstr>PowerPoint Presentation</vt:lpstr>
      <vt:lpstr>Serialization and compression</vt:lpstr>
      <vt:lpstr>Interactive data ingestion</vt:lpstr>
      <vt:lpstr>Handling streaming data</vt:lpstr>
      <vt:lpstr>Loading relational data</vt:lpstr>
      <vt:lpstr>PowerPoint Presentation</vt:lpstr>
      <vt:lpstr>HDInsight cluster architecture</vt:lpstr>
      <vt:lpstr>HDInsight service entry points</vt:lpstr>
      <vt:lpstr>PowerPoint Presentation</vt:lpstr>
      <vt:lpstr>Cluster customization options</vt:lpstr>
      <vt:lpstr>PowerPoint Presentation</vt:lpstr>
      <vt:lpstr>Visual Studio tooling</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5-02-24T18:01:50Z</dcterms:created>
  <dcterms:modified xsi:type="dcterms:W3CDTF">2015-04-02T19:13: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424397D6E0894893C9D2AD539082A1</vt:lpwstr>
  </property>
</Properties>
</file>